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ink/ink14.xml" ContentType="application/inkml+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2"/>
  </p:notesMasterIdLst>
  <p:sldIdLst>
    <p:sldId id="356" r:id="rId2"/>
    <p:sldId id="357" r:id="rId3"/>
    <p:sldId id="359" r:id="rId4"/>
    <p:sldId id="570" r:id="rId5"/>
    <p:sldId id="360" r:id="rId6"/>
    <p:sldId id="361" r:id="rId7"/>
    <p:sldId id="362" r:id="rId8"/>
    <p:sldId id="376" r:id="rId9"/>
    <p:sldId id="377" r:id="rId10"/>
    <p:sldId id="569" r:id="rId11"/>
    <p:sldId id="363" r:id="rId12"/>
    <p:sldId id="387" r:id="rId13"/>
    <p:sldId id="368" r:id="rId14"/>
    <p:sldId id="386" r:id="rId15"/>
    <p:sldId id="369" r:id="rId16"/>
    <p:sldId id="364" r:id="rId17"/>
    <p:sldId id="365" r:id="rId18"/>
    <p:sldId id="366" r:id="rId19"/>
    <p:sldId id="367" r:id="rId20"/>
    <p:sldId id="374" r:id="rId21"/>
    <p:sldId id="380" r:id="rId22"/>
    <p:sldId id="370" r:id="rId23"/>
    <p:sldId id="371" r:id="rId24"/>
    <p:sldId id="372" r:id="rId25"/>
    <p:sldId id="571" r:id="rId26"/>
    <p:sldId id="373" r:id="rId27"/>
    <p:sldId id="375" r:id="rId28"/>
    <p:sldId id="382" r:id="rId29"/>
    <p:sldId id="383" r:id="rId30"/>
    <p:sldId id="384" r:id="rId31"/>
    <p:sldId id="385" r:id="rId32"/>
    <p:sldId id="388" r:id="rId33"/>
    <p:sldId id="389" r:id="rId34"/>
    <p:sldId id="390" r:id="rId35"/>
    <p:sldId id="391" r:id="rId36"/>
    <p:sldId id="421" r:id="rId37"/>
    <p:sldId id="395" r:id="rId38"/>
    <p:sldId id="392" r:id="rId39"/>
    <p:sldId id="393" r:id="rId40"/>
    <p:sldId id="394" r:id="rId41"/>
    <p:sldId id="396" r:id="rId42"/>
    <p:sldId id="397" r:id="rId43"/>
    <p:sldId id="398" r:id="rId44"/>
    <p:sldId id="399" r:id="rId45"/>
    <p:sldId id="400" r:id="rId46"/>
    <p:sldId id="401" r:id="rId47"/>
    <p:sldId id="402" r:id="rId48"/>
    <p:sldId id="403" r:id="rId49"/>
    <p:sldId id="404" r:id="rId50"/>
    <p:sldId id="405" r:id="rId51"/>
    <p:sldId id="406" r:id="rId52"/>
    <p:sldId id="407" r:id="rId53"/>
    <p:sldId id="408" r:id="rId54"/>
    <p:sldId id="409" r:id="rId55"/>
    <p:sldId id="411" r:id="rId56"/>
    <p:sldId id="412" r:id="rId57"/>
    <p:sldId id="413" r:id="rId58"/>
    <p:sldId id="410" r:id="rId59"/>
    <p:sldId id="414" r:id="rId60"/>
    <p:sldId id="415"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60"/>
  </p:normalViewPr>
  <p:slideViewPr>
    <p:cSldViewPr snapToGrid="0">
      <p:cViewPr varScale="1">
        <p:scale>
          <a:sx n="110" d="100"/>
          <a:sy n="110" d="100"/>
        </p:scale>
        <p:origin x="51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4:06:45.545"/>
    </inkml:context>
    <inkml:brush xml:id="br0">
      <inkml:brushProperty name="width" value="0.05292" units="cm"/>
      <inkml:brushProperty name="height" value="0.05292" units="cm"/>
      <inkml:brushProperty name="color" value="#0070C0"/>
    </inkml:brush>
  </inkml:definitions>
  <inkml:trace contextRef="#ctx0" brushRef="#br0">9119 14037 0,'0'-19'16,"17"2"46,19 17-46,-36-18-16,18 18 0,-1 0 0,2 0 0,15-17 15,-16 17-15,88-53 16,-71 35-16,18 0 0,89-34 16,-108 16-1,2 36-15,35-35 16,-54 18-16,1 17 0,-1 0 0,0-19 15</inkml:trace>
  <inkml:trace contextRef="#ctx0" brushRef="#br0" timeOffset="347.62">9331 14142 0,'35'-17'16,"-17"-2"-16,34-16 15,72-18 1,-89 36-16,18-1 16,-17 1-16,35-19 15,-36 19-15,35-19 16,-52 36-16,-1-18 0,2 18 0,-2 0 16,0-17-1</inkml:trace>
  <inkml:trace contextRef="#ctx0" brushRef="#br0" timeOffset="1424.12">24271 13789 0,'17'-35'0,"-17"18"16,54-19-1,-37 18-15,54-35 16,-18 36-16,-18-18 0,1 16 15,-2 2-15,54-36 16,-52 35-16,18 1 0,-20 0 0,-16-1 16,18 0-16,16 0 15,-34 1-15,0 17 0,-1 0 16</inkml:trace>
  <inkml:trace contextRef="#ctx0" brushRef="#br0" timeOffset="1613.76">24695 13649 0,'52'-36'0,"-16"18"0,-19 1 15,71-19-15</inkml:trace>
  <inkml:trace contextRef="#ctx0" brushRef="#br0" timeOffset="11203.6">2540 7139 0,'-17'18'16,"-2"35"-1,19-36-15,0 1 0,0 18 16,0 16 0,-17 1-16,17-36 15,0 2-15,0-2 0,0 1 16,0 18-1,17-36-15,-17 17 16,19-17 0,16 0-16,-1 0 15,-15 0-15,16-17 16,-18 17-16,2 0 0,15-19 16,-16 19-16,-18-17 0,36 17 15,-19-18-15</inkml:trace>
  <inkml:trace contextRef="#ctx0" brushRef="#br0" timeOffset="11406.78">2592 7386 0,'19'-17'15,"-2"-1"-15,1 18 16,-1-18-16,2 0 0,15 1 16,-16 17-1,0-17-15</inkml:trace>
  <inkml:trace contextRef="#ctx0" brushRef="#br0" timeOffset="11592.86">2575 7157 0,'17'-18'0,"-17"1"0,19 17 0,16-19 15,-18 19-15,2-17 16,-2 17-16</inkml:trace>
  <inkml:trace contextRef="#ctx0" brushRef="#br0" timeOffset="11959.93">3034 7122 0,'0'17'16,"17"1"-1,-17-1-15,19-17 0,-19 19 16,17-2 0,0 0-16,1-17 15,0 18-15,0-36 31,-1 1-15,-17 0-16,0-2 0,17 2 16,-17-18-1,0 16-15,0 2 0,0 0 0,0-1 16,0 1 0,18-2-16,-18 2 15,18 17 1</inkml:trace>
  <inkml:trace contextRef="#ctx0" brushRef="#br0" timeOffset="12391.22">3492 7139 0,'0'-70'15,"0"52"-15,0 1 16,-17-2-1,17 2-15,-17 0 16,-2 34 15,19 36-15,0-35-16,0 16 16,19-15-16,-2 16 15,0-35 1,1 17-16,18-17 15,-19 0-15,36-17 16,-35-1-16,-1 18 16,-17-17-16</inkml:trace>
  <inkml:trace contextRef="#ctx0" brushRef="#br0" timeOffset="12780.79">3775 6945 0,'-17'36'16,"34"-19"-1,-17 0-15,0 2 16,0-2-1,0 1-15,17-18 16,1-18 0,-1 1-1,-17-2 1,36 2 0,-36 0-16,17 17 0,1 0 15,0 0 1,0 0-16,-1 0 0,-17 17 15,17-17-15,2 17 16,-2-17-16,1 0 16,16 0-16,-15 0 15</inkml:trace>
  <inkml:trace contextRef="#ctx0" brushRef="#br0" timeOffset="13075.58">4216 6575 0,'0'-18'16,"-18"54"15,18-19-31,0 0 0,0 2 0,0-2 16,0 35-1,18-16-15,0 18 16,-18-37-16,17-17 0,-17 17 16,35 19-1,-17-36-15,34 0 16,-33 0-16,-2 0 0,1 0 16,18-18-1,-19 0-15</inkml:trace>
  <inkml:trace contextRef="#ctx0" brushRef="#br0" timeOffset="13307.62">4022 6769 0,'34'-18'16,"-15"1"-16,-2 17 15,37-19-15,-37 2 16,18 17-16,1-17 0,-2 17 0,-16-18 16,18 18-16,17-17 15,-36 17-15,1-19 0,-1 19 0,2 0 16,-2 19 0</inkml:trace>
  <inkml:trace contextRef="#ctx0" brushRef="#br0" timeOffset="13748.26">3104 7615 0,'388'-193'0,"-317"157"0,0 19 16,-18-19-16,18 1 0,-2 0 0,-16 17 16,89-53-16,-89 54 15,52-37 1,-87 54-16,0 0 0,-18-17 0,18 34 15</inkml:trace>
  <inkml:trace contextRef="#ctx0" brushRef="#br0" timeOffset="14059.46">3210 7721 0,'106'-52'0,"-212"104"0,247-122 16,-88 34-16,1 19 0,16-19 15,-18 1-15,19 1 0,0 15 0,-1-16 0,1-1 16,0 19-16,122-54 15,-86 37 1,-55 16-16,-16 0 0,-2 0 0,-15 18 16,16-17-16,18 0 15,-36 17-15</inkml:trace>
  <inkml:trace contextRef="#ctx0" brushRef="#br0" timeOffset="16307.48">3210 8462 0,'18'-17'47,"0"17"-47,-1 0 16,0 0-16,54 17 15,-52-17 1,15 17 0,-16-17-16,35 19 15,-36-2-15,1 1 16,-18-1 0,18 19-1,-18-19-15,0 1 0,-18-1 16,18 2-16,0 15 15,-18-16-15,18 0 16,0 0-16,-17-1 16,0 0-16,-2 1 15,2 0 1,-1-18-16,18 18 0,-17-18 0,0 0 16,-2 17-1,2-17-15,-1 17 16,1-17 15,-2 0-31,2 0 63,0 0-48,-1 0 1,0-17 15,0 17-15,1-17-1,17-1 1,-17-18 0,17 2-1,-18 34-15,18-18 0,0 0 16,0 0-16,0 1 15,0 0-15,0-2 16,0 2-16,0-1 16,0 1-1,18 17-15,-18-17 0,17 17 16,0 0-16</inkml:trace>
  <inkml:trace contextRef="#ctx0" brushRef="#br0" timeOffset="17004.72">3634 8321 0,'-18'0'0,"1"18"0,17 0 0,0 16 15,0-16-15,0 18 16,0-19-16,0 19 0,17-19 0,-17 71 16,0-70-1,0-1-15,18 19 0,-18-19 0,0 1 16,0 0-16,0 0 15,0-1 1,0-52 15,-18-1 1,36 19-32,-18-19 15,17 36-15,-17-17 0,17 17 16,2 0-16,-2 0 15,1 0-15,-1 17 16,2-17-16,-2 19 16,-17-2-1,0 0-15,0 1 16,-36 18-16,19-19 16,-1 0-1,1-17-15,-2 18 16,2 0-16</inkml:trace>
  <inkml:trace contextRef="#ctx0" brushRef="#br0" timeOffset="17427.16">3863 8550 0,'0'36'16,"17"-36"-16,-17 17 15,36 1 1,-36-1-16,18-17 0,-18 19 0,17-2 16,-17 0-1,-17 19 1,-1-18-16,0-18 15,18 17-15,-35 0 16,18-17-16,-2 0 16,2 0-16</inkml:trace>
  <inkml:trace contextRef="#ctx0" brushRef="#br0" timeOffset="18029.8">4092 8638 0,'0'-69'16,"0"50"-16,-17 2 16,-2 34 31,19 2-32,19-2-15,-19 0 16,17-17-16,-17 18 15,18-18 1,-1 0-16,2 0 16,-2-18-1,0 18-15,1-17 16,0 0 0,0 17-16,-18-19 15,17 19-15,0 19 16,1-19-1,0 34 1,-18-16 0,18-1-1,-18 2 1,17-38 15,-17-16-15,17 35-16,-17-17 15,19 0-15,-2-2 16,1 2-16,-1-1 16,2 18-16,-2-17 15</inkml:trace>
  <inkml:trace contextRef="#ctx0" brushRef="#br0" timeOffset="18667.23">4675 8445 0,'17'17'31,"-17"0"-31,35 2 16,-35-2-16,17-17 15,-17 18 1,19-1-16,-2-34 31,-17-1-15,0 1 0,18-2-1,-18 2-15,0 0 16,17 17-16,2-18 15,-2 0 1,0 0-16,-17 1 0,18 17 16,-18-17-1,17 17-15,-52 17 32,35 0-17,0 1-15,0 0 16,18-18-1,18 0 1,-19-18-16,18 0 16,-17 18-1,34-34 1,-33 34-16,-19-18 0</inkml:trace>
  <inkml:trace contextRef="#ctx0" brushRef="#br0" timeOffset="23568.54">23495 6239 0,'0'36'16,"0"-18"-16,0-1 0,-17 0 16,17 37-1,-18-18-15,18-19 0,0 0 0,-18 1 16,18-1-16,0 2 0,0-2 0,0 0 16,0 1-16,-18 0 0,18 0 15,0-1-15,18 0 16,-18 2-16,18-19 0,0 0 15,16 17 1,-16-17 0,0 0-16,0 0 0,-1 0 15,0 0-15,2 0 0,-2-17 16,1 17 0,-1 0-16,-17-19 15</inkml:trace>
  <inkml:trace contextRef="#ctx0" brushRef="#br0" timeOffset="23769.77">23548 6557 0,'18'-18'16,"-1"18"-16,0-17 0,2 17 15,-2 0-15,1 0 0,-1-17 16,2 17-16,-2-19 16</inkml:trace>
  <inkml:trace contextRef="#ctx0" brushRef="#br0" timeOffset="23960.41">23619 6327 0,'17'-17'16,"1"17"-16,18-17 16,-19 17-1,0 0-15,18 0 0</inkml:trace>
  <inkml:trace contextRef="#ctx0" brushRef="#br0" timeOffset="24266.16">23954 6417 0,'34'34'0,"-15"-16"31,-2-18-31,-17 17 16,18-17-1,-1-17 1,-17-1 0,19 1-1,-19 0 1,17-2-1,-17 2-15,17 17 0,-17-18 16,18 18-16,-1 0 16</inkml:trace>
  <inkml:trace contextRef="#ctx0" brushRef="#br0" timeOffset="24867.05">24288 6417 0,'0'-36'0,"19"1"16,-2 35-1,-17-19 1,-17 55 15,17-18-31,0-1 16,0 19 15,17-36-31,1 0 16,-1 0-16,0 0 15,2 0-15,-2 0 0,-17-17 16,18 17-16,-1 0 0,2-19 16,-2 19-1,0 0 1,1 19 0,0-2-1,0-17 1,-18 17-1,17-17 1,0-17 0,1 17-1,0-17-15,0 17 32,-1 0-32,0 0 15,2 0-15,-19-19 0,17 19 0,1 0 16,-1 0-16,-17-17 15,19 17-15,-2-18 0,0 18 0,1-17 16</inkml:trace>
  <inkml:trace contextRef="#ctx0" brushRef="#br0" timeOffset="25064.28">24976 6098 0,'0'-17'0,"0"-1"16,0 1-1,-17 52 16,34-18-31,-34-17 0,17 19 0,-17-2 16,17 0-16,0 1 0,0 0 0,0 0 0,0-1 16,0 18-16,0-17 15,0 0-15,0-1 16,0 0-16,17 2 16</inkml:trace>
  <inkml:trace contextRef="#ctx0" brushRef="#br0" timeOffset="25280.6">24835 6222 0,'19'-17'15,"-2"17"-15,-17-18 16,17 18-16,1 0 0,0-18 0,0 18 15,-1 0-15,0-18 0,2 18 0,-2 0 16,1 0-16,-1 0 0,0 0 16,2 0-16,-2 0 15</inkml:trace>
  <inkml:trace contextRef="#ctx0" brushRef="#br0" timeOffset="25600.18">23936 6805 0,'71'-36'0,"-54"36"0,-105 36 0,194-90 0,-70 54 15,-2-17-15,20-2 16,-20 19-16,2-17 0,-1 17 0,1-17 16,33-1-16,-33 18 0,-18-17 15,18 17-15,-19 0 0,0 0 16,1 0-16,0-19 15</inkml:trace>
  <inkml:trace contextRef="#ctx0" brushRef="#br0" timeOffset="25880.96">23883 6893 0,'88'-18'32,"-52"18"-32,-19-18 0,18 18 15,-16 0-15,15-18 0,1 18 0,1-17 16,-1 17-16,1 0 0,34-17 16,-52 17-16,16-19 15,-15 19-15,-2 0 0,1-17 0,-1 17 16,2 0-16,-19-18 0,17 18 15,0-17 1</inkml:trace>
  <inkml:trace contextRef="#ctx0" brushRef="#br0" timeOffset="26798.18">25452 6663 0,'90'-36'15,"-73"36"-15,0 0 0,1 0 0,0-17 16,17 17-16,0 0 0,-17 0 16,0-17-16,-1 17 0,0 17 15,2-17 1</inkml:trace>
  <inkml:trace contextRef="#ctx0" brushRef="#br0" timeOffset="27200.79">25488 6769 0,'0'17'32,"0"19"-32,0-19 15,0 1-15,0 18 16,-17-19-16,17 18 15,0-17-15,0 0 0,-19-1 0,19 19 0,0-19 16,-17 1-16,17-1 0,0 0 0,0 2 16,-17-2-16,17 1 0,0-1 15,0 2-15,0-2 16,0 0 15</inkml:trace>
  <inkml:trace contextRef="#ctx0" brushRef="#br0" timeOffset="27657.14">25576 7193 0,'71'-19'0,"-54"2"16,54-1-16,-35 18 31,-19 0-31,1 0 0</inkml:trace>
  <inkml:trace contextRef="#ctx0" brushRef="#br0" timeOffset="28156.72">25523 7403 0,'0'36'47,"0"-18"-47,-17 18 16,17-19-1,0 0 1,0 1-16,0-1 16,17 2-1,2-19 1,-2 0-16,18 0 15,-17 0-15,0 0 16,-1 0 0,0 0-16,1 0 15</inkml:trace>
  <inkml:trace contextRef="#ctx0" brushRef="#br0" timeOffset="28635.48">25559 7651 0,'-36'18'16,"19"16"-1,17 2-15,-18-18 0,18-1 16,0 0-16,-17 2 0,17-2 0,0 1 16,0-1-16,0 2 15,0-2-15,17 0 16,18 1 0,-16-18-16,15 0 15,-16 17 1,18-17-16,-19 0 15,0 0 1,1 19 0</inkml:trace>
  <inkml:trace contextRef="#ctx0" brushRef="#br0" timeOffset="28963.56">25523 7986 0,'0'0'0,"0"17"0,-17 1 0,17 0 0,0 0 15,0 16 1,-18-15-16,18-2 0,0 1 0,0-1 0,18 0 16,-18 2-16,0-2 0,17-17 0,-17 18 15,19-1-15,-2 2 16,0-2-16,19 0 16,-18-17-16,-1 0 0,0 0 15,1 0-15,0 0 0,0 0 0,16 0 16,-15 0-16</inkml:trace>
  <inkml:trace contextRef="#ctx0" brushRef="#br0" timeOffset="29543.37">26564 9555 0,'0'54'15,"-17"-1"1,17-18-16,0-18 15,0 19-15,-36 52 16,36-53-16,-17 1 0,17-2 0,-18-15 16,18 16-16,-17-18 0,17 2 15,0-2-15,-19 0 0,19 1 16</inkml:trace>
  <inkml:trace contextRef="#ctx0" brushRef="#br0" timeOffset="29960.49">26564 9609 0,'71'-18'16,"-142"36"-16,177-53 15,-88 52-15,0-17 16,-1 0-16,-17 18 0,17-18 0,-17 17 16,18 0-16,-36 2 0,18-2 15,0 1-15,-17-1 0,0 19 0,-19-19 16,18 19-16,-16-1 0,-37 18 16,52-35-16,2-1 15,-18 0 1,18 2-16,17-2 0,-19-17 15,19 18 1,19-1-16,16 19 16,-18-36-16,0 0 15,2 0-15,-2 17 0,1-17 16,-1 0-16,19 0 0,-19 0 0,1 18 16,0-18-16,0 0 0,-1 0 0,0 0 15,19 17 1</inkml:trace>
  <inkml:trace contextRef="#ctx0" brushRef="#br0" timeOffset="30501.92">26952 10138 0,'18'-53'15,"18"35"-15,-36 1 0,17 17 16,0-17-16,-17-2 0,18 2 0,-18-1 16,18 18-16,0-17 0,-18-2 15,17-15 1,-17 16-16,0 0 0,-17 36 47,-1 17-32,0-18-15,18 2 16,0-2-16,0 1 0,0-1 16,0 2-16,0-2 0,18-17 0,-18 17 15,18 1-15,-1-18 16,18 0-1,1 0-15,-2 0 0,-15 0 0,33-18 32</inkml:trace>
  <inkml:trace contextRef="#ctx0" brushRef="#br0" timeOffset="30803.74">27428 9855 0,'-53'18'0,"53"0"16,0 17-1,0-18-15,19 2 0,-19-2 16,17-17-16,0 54 16,1-54-16,-18 17 15,18 0-15,-18 1 0,0-1 16,0 2-1,-36-2 1,19-17-16,0 17 0,-2-17 0,2 18 16,-18-18-1,18 0 1</inkml:trace>
  <inkml:trace contextRef="#ctx0" brushRef="#br0" timeOffset="31887.75">27763 9873 0,'-35'18'15,"18"0"1,17-1-16,0 0 16,0 2-1,17-2-15,-17 1 16,18-18-16,-1 0 15,2 0-15,-2 0 0,-17-18 0,17 18 16,1 0-16,0 0 0,-18-17 0,18 17 16,-1 0-16,-17-19 15,17 19 1,2 0 0,-2 0-16,-17 19 15,18-19-15,-18 17 0,17 1 16,0-18-1,2 0-15,-2 0 16,1 0-16,-1 0 0,-17-18 16,36 18-16,35-36 15,-19-34 1,-34 52-16,17-16 0,-18-2 0,2 1 16,-2-1-16,1 19 0,-1-18 0,-17 16 15,19 2-15,-19 0 0,17-1 16,-17 1-16,0-2 0,17 19 15,-17-17-15,-34 34 32,-2 19-17,36-1-15,-18-18 0,1 19 16,17-18-16,-19-1 0,19 2 16,0 15-16,0-16 0,0 0 15,0 17-15,19-35 0,-19 17 0,17 1 16,18 0-1,-16-18-15,-2 0 0,0 0 16,1 0-16,18-18 0,-19 0 16,0 1-16,54-36 15,-54 18-15,1 18 0,18-19 16,-19 1-16,19-18 0,-36 35 16,17 1-16,1-19 15,-18 19-15,17 17 0,-17-18 16,-35 53 15,18 1-15,-2-19-16,19 1 0,0-1 15,-17 0-15,17 2 0,0-2 0,0 1 16,-17-18-16,17 17 0,0 2 16,17-2-16,0-17 31,2 0-31,-2 0 15,1 0-15,-1 0 0,2-17 16,-2 17-16,18 0 16,-18 17-1,2 0 1,-2 1-16,-17 0 0,0 0 16,17-1-16,-17 0 0,0 1 0,-17-18 15,17 18-15,0 0 0,0-1 16,-17-17-16,17 17 15,-19 2-15,19-2 0,-17-17 16</inkml:trace>
  <inkml:trace contextRef="#ctx0" brushRef="#br0" timeOffset="32059.47">28592 9714 0,'71'-35'16,"-35"18"-16,-19 17 0,71-19 15,-53 19-15,18-17 0,-17 17 16,-1-17-16,1 17 0,16 0 0,-35-18 16,19 18-16,-1 0 0</inkml:trace>
  <inkml:trace contextRef="#ctx0" brushRef="#br0" timeOffset="32188.69">29510 9591 0,'0'-17'47</inkml:trace>
</inkml:ink>
</file>

<file path=ppt/ink/ink10.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4:49:24.196"/>
    </inkml:context>
    <inkml:brush xml:id="br0">
      <inkml:brushProperty name="width" value="0.05292" units="cm"/>
      <inkml:brushProperty name="height" value="0.05292" units="cm"/>
      <inkml:brushProperty name="color" value="#0070C0"/>
    </inkml:brush>
  </inkml:definitions>
  <inkml:trace contextRef="#ctx0" brushRef="#br0">13445 1331 0,'0'-17'0,"-17"17"15,17-17-15,-19 17 16,38 0 31,16 0-31,-18 0-16,19 0 0,-19-18 15,54 18-15,-36 0 0,1 0 16,-2 0-16,20 0 0,70-18 15,-90 18-15,2 0 16,-1 0-16,18 0 0,-35 0 16,-1-18-16,0 18 15,2 0-15</inkml:trace>
  <inkml:trace contextRef="#ctx0" brushRef="#br0" timeOffset="297.14">13887 997 0,'70'17'0,"-52"-17"16,16 19-16,-16-19 0,18 17 0,-2 0 15,2 1-15,-1-1 0,18 2 16,-18-2-16,1 0 0,-19 1 0,19 0 16,-18 0-16,-1-1 0,0 0 0,2 1 15,-2-18-15,-17 18 0,0 17 16,0-18-16,0 2 0,0-2 16,-17 18-16,-2-16 0,2-2 15,0 0-15,17 1 0</inkml:trace>
  <inkml:trace contextRef="#ctx0" brushRef="#br0" timeOffset="15556.8">15385 1085 0,'36'-35'0,"-36"18"16,-18 17 0,0-19-1,1 19 1,0 0-16,-2 19 0,2-19 0,-1 0 15,1 0-15,-19 17 0,19-17 16,-1 17-16,-35 1 16,36-18-16,-1 17 0,18 2 15,-18-19 1,18 17-16,18 0 0,0-17 16,-18 18-16,34-18 0,-15 18 15,-2-18-15,18 18 0,-16-18 0,15 17 16,37 18-16,-54-35 15,1 18-15,0 0 16,-18-1-16,0 0 0,-18 19 16,18-18-16,-18-18 15,1 17-15,0 2 0,-2-2 0,2 0 16,-18-17-16,18 18 0,-37-1 16,37-17-16,-2 19 15,2-19-15</inkml:trace>
  <inkml:trace contextRef="#ctx0" brushRef="#br0" timeOffset="15852.64">15668 1050 0,'17'17'31,"-17"18"-15,0-16-16,0-2 15,0 18-15,-17-17 0,17 0 16,0-1-16,0 0 0,17 1 0,-17 0 0,0 0 16,18-1-16,-1 19 15,2-19-15,-2 1 16,0-18-16,1 0 0,0 17 0,17-17 0,-18 0 15,2 0-15,-2 0 0,1 0 16,-1-17 0</inkml:trace>
  <inkml:trace contextRef="#ctx0" brushRef="#br0" timeOffset="16035.19">15527 1279 0,'34'-18'0,"2"18"16,-18-18-16,-1 18 0,19 0 0,-1 0 15,-18-17-15,19 17 0,-1 0 16,-17 0-16,0 0 0,16 0 16,-15 0-16,-2 0 0</inkml:trace>
  <inkml:trace contextRef="#ctx0" brushRef="#br0" timeOffset="16862.48">16161 1226 0,'-17'0'0,"34"0"0,-51 0 16,-2 0-16,18 17 16,18 1-16,-34-18 15,15 18-15,19 0 16,-17-1-1,17 0-15,0 2 0,17-2 32,2-34-32,-2 17 0,0 0 15,1-19-15,0 2 16,0 0 0,-1-1-16,0 18 15,1 18 1,0-1-1,-18 0 1,18-17-16,-1 19 0,0-19 16,2 0-1,16 0 1,-18 0-16,0-19 0,2 19 16,16-52-1,-18 34-15,2-17 0,-19 0 16,17-1-16,0 2 0,-17-2 0,0 1 15,18-1-15,-18 19 0,0-37 16,18 37-16,-18 0 0,0-1 16,-18 53 15,18-18-15,0 2-16,0-2 0,0 1 0,0 18 15,18 33 1,17-16-1,-18-53-15,-17 18 0,18-18 16,18 0-16,-19 0 16,19 0-1,-19-18-15,1 18 16,-1 0 0,-17 18-1,19-18-15,-2 18 16,-17 0-1,17-18-15,1 0 0,18 17 16,-19-17-16,0 0 16</inkml:trace>
  <inkml:trace contextRef="#ctx0" brushRef="#br0" timeOffset="17064.87">16232 1085 0,'71'-18'16,"-54"18"-16,54 0 16,-18-17-1,-18 17-15,1 0 0,-2 0 0,-16 0 16,18 0-16,-19 0 0</inkml:trace>
  <inkml:trace contextRef="#ctx0" brushRef="#br0" timeOffset="17578.59">16903 1085 0,'17'17'32,"-17"2"-17,17-2 1,2 0 0,-2 1-1,1-36 1,-18 1-1,17 17 1,0-17-16,2 17 16,-2 0-1,1 17 1,-1 0-16,2-17 16,-19 18-1,0 0 1,17-36 15,0 0-15,1 18-1,0-17 1,0 17-16,-1 0 0,0 0 16,1 0-16,18 17 15,-36 1 1,17-18-16,0 18 0,2-18 15</inkml:trace>
  <inkml:trace contextRef="#ctx0" brushRef="#br0" timeOffset="18350.59">17449 1261 0,'54'-35'16,"-37"0"-1,-17 17-15,0 0 16,0 1 0,0 0-16,0 69 78,17-52-63,19 18 1,-18-18 0,16 0-1,-16 0 17,0 18-17,0-18 16,-1 0-15,0 0 0,2 0-1,-2 0 1,1 0 0,-1 0-16,19 0 15,-19 0 1,1-18-16,-1 18 0,2-18 15,-2 18-15,18-52 16,-17 16 0,0 1-16,-18 18 0,17-19 15,-17 18-15,0 1 0,0-2 16,0 2-16,17 17 0,-17-17 16,0 51-1,0 20 1,18-37-16,-18 2 0,0 33 15,0-35-15,0 36 16</inkml:trace>
  <inkml:trace contextRef="#ctx0" brushRef="#br0" timeOffset="18556.91">17749 1121 0,'54'-36'0,"15"18"15,-33 18-15,35 0 16,-37-17-16,73 0 16,-72 17-16,-18 0 15,19 0-15,-19 0 0,1 0 0</inkml:trace>
  <inkml:trace contextRef="#ctx0" brushRef="#br0" timeOffset="19093.32">19055 662 0,'-18'52'15,"18"-33"-15,0-2 16,0 18-16,0-17 0,0 17 16,0 0-16,0-17 0,0 17 0,0 1 15,0-19-15,0 18 0,18-16 0,-18 33 16,0-35-16,0 2 15,0-2-15,17 0 0</inkml:trace>
  <inkml:trace contextRef="#ctx0" brushRef="#br0" timeOffset="19589.8">18860 943 0,'0'0'0,"-17"0"16,53 0 15,33 0-15,-33 0-16,-1 0 0,1 0 16,-2 0-16,20-17 0,-1 0 0,-18 17 15,-18-18-15,19 18 16,-19-18-16,18 0 0,-16 18 0,-19-17 15,17 0-15,0-1 0,-17 0 16,0 0-16,0 1 16,0 0-16,0-2 15,0 2-15,-17 34 32,0 36-17,17-35-15,-19 0 0,19 0 16,0-1-16,-17 0 0,17 1 0,0 0 15,0 0-15,0-1 0,0 0 0,-18 2 16,18-2 0,18 1-1,-1-18-15,2 0 16,-2 0 0,0 0-16,1 17 15,18-17-15,-36 19 16,17-19-16,0 0 0,37 17 15,-37-17 1</inkml:trace>
  <inkml:trace contextRef="#ctx0" brushRef="#br0" timeOffset="20174.09">19848 891 0,'0'-18'0,"-17"18"16,17-18-16,-18 18 16,0 0-16,0 0 15,1 0 1,17 18-16,-17-18 0,-2 18 0,2 0 15,-1-1 1,1 0 0,17 2-16,0-2 15,17-17 1,-17 18-16,18-18 16,-1-18-1,2 18 1,-2 0-16,0 0 15,-17 18-15,18-18 16,0 0-16,0-18 16,-1 18-16,0-17 15,2-2-15,-2 19 0,1-17 0,-18 0 16,17-1-16,19-18 16,-36 2-16,17 16 0,1-18 0,-18 19 15,17-19-15,-17 19 0,19-1 0,-19 1 16,0-2-16,17 2 15,0 53 1,-17-19 0,18 54-1,-18-54-15,18 1 16,-18 0-16,18 0 0,-18-1 0,17 0 16,-17 1-16,17-18 0,1 18 15,0-18-15</inkml:trace>
  <inkml:trace contextRef="#ctx0" brushRef="#br0" timeOffset="20377.23">19972 714 0,'52'-17'15,"-16"-1"-15,-19 18 0,19 0 16,16 0-16,19-17 16,-54 17-16,19 0 0,-18 0 15</inkml:trace>
  <inkml:trace contextRef="#ctx0" brushRef="#br0" timeOffset="20882.88">21259 555 0,'-18'-17'15,"-16"34"1,16-17-16,0 19 0,0-2 0,1 1 16,0 16-16,-2 2 0,2-1 0,-1-16 15,1 15-15,17-16 0,-19 18 16,19-19-16,0 0 0,0 1 15,19 18-15,-19-19 0,17 0 0,1 2 16,18-2-16,-19-17 0,0 18 16,19-18-16,-1 0 0,-18 0 15,19 0-15,-1-18 0,1 18 0</inkml:trace>
  <inkml:trace contextRef="#ctx0" brushRef="#br0" timeOffset="21581.38">21683 785 0,'-36'-35'0,"18"18"16,1 17-1,0 0-15,-1 0 0,0 0 16,-34 17 0,52 0-16,-19-17 0,2 18 15,-1-18-15,18 18 0,-17-18 0,-2 18 16,19-1-16,-17 0 0,17 1 15,-17-18 1,17 18-16,0 0 0,17-18 16,0 0 15,2-18-31,-2 18 0,1-18 16,-1 0-1,-17 1 1,19 17-1,-2 17 32,-17 1-31,0 0 0,17 0-1,1-18 1,18 0-1,-19 0 1,-17-18-16,17 18 0,1 0 16,0-18-16,0 18 15,-1 0 1,0 0-16,2 0 16,-2 18-1,1 0 1,-1-18-16,2 17 31,-2-17-15,0 0-1,1-17 1,-1 17-16,2 0 16,15 0-1,-16 0-15,35 0 16,-36 17-1,2-17-15,-2 0 0</inkml:trace>
  <inkml:trace contextRef="#ctx0" brushRef="#br0" timeOffset="22265.67">22600 467 0,'0'71'0,"0"-54"0,0 19 0,17-1 0,-17 1 16,0-1-16,18 18 15,-18-18-15,0 1 0,18-19 0,-18 18 16,0 18 0,0-36-16,0 2 0,0-2 15,18-53 16,-18 19-15,17 0-16,0-1 0,1 0 16,35-17-1,-36 35-15,2-17 0,-2 17 0,54 0 16,-36 0 0,-18 17-1,-17 18-15,-17-35 0,-1 18 16,-16 0-16,15-1 15,2 0-15,-1-17 0,1 19 16,-36-2-16,35-17 16,0 18-16,0-18 15,1 0 1</inkml:trace>
  <inkml:trace contextRef="#ctx0" brushRef="#br0" timeOffset="22563.02">23200 838 0,'35'-35'16,"-35"17"-16,17 0 0,-17 1 15,0 0 16,-35 34-15,-1 18 0,36 1-16,0-19 15,0 0 1,19 1-16,-2 0 0,1-18 16,-1 18-16,71-18 15,-52 0-15,-1 0 0,1 0 16,-2 0-16</inkml:trace>
  <inkml:trace contextRef="#ctx0" brushRef="#br0" timeOffset="23162.11">24081 326 0,'-17'19'16,"17"51"-1,-17-52-15,17 16 0,0 2 16,0 52-16,0-53 15,0 1-15,0-19 0,0 18 16,0 1-16,17-19 0,-17 1 0,17 18 16,-17-19-16,18-17 0,0 17 0,17 1 15,-18-18-15,19 0 16,-18 0-16,-1 0 0,0 0 16,2 0-16,-2-18 0,1 18 0</inkml:trace>
  <inkml:trace contextRef="#ctx0" brushRef="#br0" timeOffset="23352.08">23869 697 0,'0'0'0,"-17"0"0,70-18 32,-35 18-17,-1 0-15,19 0 0,-19 0 0,71-17 16,-52 17-1,-1 0-15,0 0 0,-17 0 0,53 17 16,-36-17-16,-18 0 0,2 0 0</inkml:trace>
  <inkml:trace contextRef="#ctx0" brushRef="#br0" timeOffset="23679.71">24487 855 0,'18'-17'0,"-18"0"16,0-1-16,18 18 0,-18-18 16,0 0-16,0 1 15,0 0 1,-36 51 15,36-16-15,0 0-16,0 0 15,18-1 1,0-17-16,-1 17 0,0-17 0,2 0 16,16 0-16,-1 0 0,-15 0 15,16 0-15,1 0 0</inkml:trace>
  <inkml:trace contextRef="#ctx0" brushRef="#br0" timeOffset="23921.33">24928 643 0,'-17'0'15,"17"36"1,17 18-1,-17-37 1,0 0-16,0 1 0,0 0 16,0 0-16,0-1 0,-17 0 15,17 1-15,-36 18 16,18-19-16,1 0 16,-19-17-1</inkml:trace>
  <inkml:trace contextRef="#ctx0" brushRef="#br0" timeOffset="24142.64">25087 485 0,'0'53'16,"-18"-36"-16,18 19 15,-17-1-15,-2 18 16,19-35-16,0-1 16,0 19-16,0-19 0,0 1 15,0 0-15,0 0 16,0-1-16</inkml:trace>
  <inkml:trace contextRef="#ctx0" brushRef="#br0" timeOffset="24339.85">25016 714 0,'17'-17'15,"19"-1"1,-18 18-16,-1 0 15,2-17-15,-2 17 0,0 0 0,1-19 16,0 19-16</inkml:trace>
  <inkml:trace contextRef="#ctx0" brushRef="#br0" timeOffset="25149.71">25721 238 0,'-69'53'0,"50"-18"0,-15 1 16,16-1-16,0 18 0,-17-18 15,18 18-15,-2 0 0,2-1 0,-1 19 16,1-18-16,0 1 0,17-2 0,-19 1 15,19 0-15,0 1 16,19-20-16,-19 1 0,17-16 0,0 15 16,1-16-16,-1-18 0,19 18 15,-19-18-15,19 0 0,-1 0 16,1 0-16,-1 0 0,-1 0 0,20-18 0</inkml:trace>
  <inkml:trace contextRef="#ctx0" brushRef="#br0" timeOffset="25479.6">26233 309 0,'-17'17'31,"0"54"-15,17-35-16,0-2 0,0 2 16,-19-1-16,19 1 0,0-1 15,0-1-15,0 2 0,0-1 0,0-16 16,0 33-16,19-34 0,-19 0 15,0-1-15,0 0 0,17-17 16,0 18-16</inkml:trace>
  <inkml:trace contextRef="#ctx0" brushRef="#br0" timeOffset="25911.67">25969 714 0,'0'-17'31,"35"17"-15,18-18-1,-35 1-15,16 17 0,-15 0 0,33-19 16,-16 19-16,-19-17 0,37 0 16,-37 17-1,0-18-15,1 1 16,18-2-1,-19 19 1,19 19 15,-19-19-31,-17 17 0,18-17 0,-18 18 16,17-1-16,-17 0 0,17 2 16,-17-2-16,0 1 15,0-1-15,19 2 16,-19-2-1,0-53 17,17 19-17,1-1 1,-1 18-16,2-17 16</inkml:trace>
  <inkml:trace contextRef="#ctx0" brushRef="#br0" timeOffset="26469.84">26763 574 0,'-18'17'62,"18"1"-46,0-1-16,0 0 16,18 2-1,-18-2 1,17-17-16,0 0 16,19 0-1,-18-17-15,-1 17 31,2-19-31,-2 19 16,0 0 15,1 19 1,-1-19-32,2 0 0,-2 0 15,0-19-15,1 19 0,0 0 0,0-17 16,-1 17-16,0-17 15,2 17-15,-2-18 0,1 18 16,-18-17-16,17 17 0,-17 17 63,0 1-48,17-18-15,-17 17 16,19-17-16,-2 0 15,1 17-15,-1-17 0,2 0 16,-2 0-16,0 0 0</inkml:trace>
  <inkml:trace contextRef="#ctx0" brushRef="#br0" timeOffset="27046.04">27697 467 0,'-17'0'15,"-19"18"1,19 0-16,17 0 15,0-1-15,0 19 16,0-19 0,36 1-1,-36-1-15,17-17 16,0 0 0,1-17-16,-18-1 15,18 18-15,-18-17 16,18-2-1,-1 2 1,0 34 0,1-17-1,18 19 1,-36-2-16,17-17 0,-17 18 0,17-1 16,-17 0 15,19-17-31,-2-17 31,18 0 0,-35-1-31,19 1 16,-2 17-16,0-19 16,1 19-16,-1 0 0,2-17 0,-2 17 15</inkml:trace>
  <inkml:trace contextRef="#ctx0" brushRef="#br0" timeOffset="28048.08">28649 326 0,'0'-17'0,"-17"17"0,17 17 15,0 2 1,-17-2-16,17 0 0,0 1 0,0 18 16,0-2-16,0 2 0,-18 16 15,18-16-15,0 16 0,0 2 0,0-18 0,0-2 16,0 54-1,0-70-15,0 18 0,0-19 16,0 0-16,0 2 0,0-2 16,-17-17-1,-2 0-15,2 0 16,0 0-16,-1-17 16,0-2-16,0 19 0,18-17 15,-17 0-15,17-19 16,17 36-16,-17-18 15,18 1-15,0 0 0,0 17 0,-1-18 16,0 0-16,2 18 0,-2-18 16,18 1-16,-18 17 0,19-17 0,-18-2 15,18 2-15,-19 17 0,18-18 16,-17 18-16,17-17 0,-18-2 16,1 19-16,-18-17 0,18 17 15,-54 0 32,19 17-31,0 2-16,-1-2 0,18 1 15,-18-18-15,18 17 16,18 2-16,0-2 16,16-17-1,-16-17-15,0 17 16,0 0-16,-18-19 0,17 19 0,0-17 15,2 17-15,-19-18 16,17 18-16,-17-17 16,18 17-16,-18 35 31,0-18-15,0 2-1,17-2-15,2-17 16,-2 0-16,35 0 15,-33 0 1,-19-17-16,17 17 0,0-19 16,-17 2-16,18 17 0,-18-35 0,18 16 15,0-15-15,-1-1 16,-17 16-16,17 2 0,-17 0 16,18-19-16,-18 18 0,18 1 15,-36 52 16,0-17-31,18 0 0,-17-1 0,17 19 16,-17-19-16,-1 35 0,18-33 16,0-2-16,-18 1 15,18-1-15,0 2 0,18-2 16,-18 0-16,18 1 16,-1-18-16,0 0 15</inkml:trace>
  <inkml:trace contextRef="#ctx0" brushRef="#br0" timeOffset="28546.26">29427 626 0,'0'36'31,"0"-1"-15,0 1 15,-19-2-31,2-34 0,17 18 16,-35 0-16,35 0 15,-36-18-15,36 17 0,-17-17 16,-1 0-16,53-17 47,18-1-32,-35 0-15,-1 0 16,2 18-16,33-34 0,-16 15 16,-19 2-16,0 17 0,-17-18 15,18 1-15,0 17 0,0-19 16,-36 55 31,18-18-47,0-1 15,18 2-15,-1-2 16,0-17 0,2 0-16,-2 0 0,1 0 15,-1 0-15</inkml:trace>
  <inkml:trace contextRef="#ctx0" brushRef="#br0" timeOffset="28809.37">29744 97 0,'35'18'0,"18"17"15,-18-18-15,71 107 16,-35-18-16,-36-53 16,35 106-1,-35-71-15,-52 53 16,-1-88-16,-35-1 0,1 2 16,-1-1-16,-194 88 15,159-106-15,-1 0 16</inkml:trace>
  <inkml:trace contextRef="#ctx0" brushRef="#br0" timeOffset="34069.42">15368 186 0,'0'-71'16,"-17"35"-1,-2 36 1,-33 0 0,35 18-16,-37 0 0,18 17 0,-16-18 15,-36 37-15,35-20 16,17 2-16,-16-18 0,16 18 0,1-2 16,-1 2-16,2-1 0,16 0 15,-35 35-15,36-16 0,17-20 16,-19 20-16,19-1 0,0-18 15,0 18-15,0 18 0,0-18 0,19-1 16,-19 1-16,17 1 0,-17-2 16,17 1-16,-17-18 0,0 18 0,18 0 15,-18 1-15,18-2 0,-18-16 0,0-2 16,18 2-16,-18-1 0,0-18 16,0 19-16,0-1 0,0-18 15,0 19-15,-18-1 0,18-16 0,0 15 16,0-16-16,0 0 15,0 0-15,-18-1 16,18 0-16,0 1 0,18-18 16,-18 18-16,18-18 15,-1 18-15,0-18 0,2 0 16,16 0-16,-18 0 0,19 0 0,35 0 16,-19 0-16,1 0 15,18 0-15,-1 0 0,1 0 0,0 0 16,17 0-16,0 0 0,17 0 0</inkml:trace>
  <inkml:trace contextRef="#ctx0" brushRef="#br0" timeOffset="36097.67">30925 26 0,'54'141'0,"-54"-105"16,0 16-16,0 38 0,-19-38 15,19 1-15,-17 0 0,17-1 16,0 2-16,-18-20 0,18 2 15,0-1-15,-17 1 0,17-1 0,0 1 16,0 16-16,0-16 0,17-19 16,-17 19-16,0-1 0,18-18 0,-18 19 15,17-19-15,-17 1 0,19-1 0,-2 19 16,-17-19-16,17-17 0,-17 18 16,18 0-16,-18 0 0,0-1 15,18-17-15,-18 17 0,0 1 16,-18-18-16,0 18 0,1 0 15,-19-18-15,1 17 16,-18 0-16,1-17 0,-1 19 0,-18-19 16,0 17-16,-17-17 0,-17 18 0,-19-1 15,-17-17-15,-18 19 0,-17-2 16,0-17-16,-213 35 0,195-18 16,0-17-16,-17 19 0,-177 15 15,193-34-15,19 18 0,0 0 16,-1-18-16,1 18 0,35-18 15,18 0-15,-18 17 0,-1-17 0,-34 0 16,35 17-16,0-17 0,-283 19 16,248-19-16,53 0 0,-18 0 15,17 17-15,0-17 0,1 0 16,-1 0-16,1 0 0,-106-17 16,-88 17-1,210 0-15,19 0 0,-17-19 0,17 19 16,-19 0-16,2 0 0,-2 19 15,2-19-15,-1 0 0,-18 0 0,19 0 16,-19 17-16,-105-17 0,123 0 16,-18 0-16,19 0 15,-124 0-15,105 18 0,18-36 16,-123 18-16,122 0 0,-15 0 16,15-17-16,-16 17 0,-1 0 15,19 0-15,-19-19 0,19 19 16,-19 0-16,-106-17 0,125 17 0,-19 0 15,1 0-15,17-17 0,-17 17 16,-106 0-16,122 0 0,-16 0 16,17 0-16,0 0 0,-18 0 0,19 0 15,0 0-15,-2 0 16,-210 0-16,211 0 16,-106 0-16,124 0 0,-18 0 15,-70 0-15,17 0 16,71 0-16,17 0 0,-17 0 15,18 0-15,-72 17 0,72-17 16,-1 0-16,0 0 0,2 0 16,16 0-16,-18 0 0,-34 17 15,51-17-15,-34 0 16,52 0-16,-16 0 0,16 19 0,-52-19 16,52 0-16,-52 0 15,18 17-15,35-17 0,-18 0 16,18 18-16,-36-18 15,35 17-15,-16-17 0,16 0 16,2 17-16,-2-17 0,1 19 0,-1-19 16,1 17-16,1-17 0,-2 0 15,1 18-15,16-18 0,-15 17 0,-1-17 16,-72 36-16,73-36 16,-2 17-16,18-17 0,-35 18 15,1-18-15,16 18 16,19-18-16,-1 0 0,0 18 15,0-18-15,1 0 16</inkml:trace>
  <inkml:trace contextRef="#ctx0" brushRef="#br0" timeOffset="36638.15">15332 467 0,'36'-17'15,"-19"17"-15,19 0 0,87-17 16,-52-1-16,17 18 15,18-18-15,-18 0 0,159-16 16,-88 15-16,175-33 0,20-19 16,-160 35-1,0 19-15,0-18 0,17-1 0,-16 19 0,17-19 16</inkml:trace>
  <inkml:trace contextRef="#ctx0" brushRef="#br0" timeOffset="44355.95">516 3995 0,'0'18'31,"17"-1"-15,19 2-1,16-2 1,2 0-16,34 1 16,-35-18-16,52 18 15,37 0-15,70-18 16,17 0-16,52 0 16,-33 0-16,-1 0 15,-54 0-15,-34 0 16,-52 0-16,-55 0 15</inkml:trace>
  <inkml:trace contextRef="#ctx0" brushRef="#br0" timeOffset="48603.48">11276 4190 0,'35'0'94,"-18"0"-78,19 0-16,-19 0 15,54 0 1,17 0-16,0 0 0,36 0 16,-36 0-16,17 0 15,37 0-15,-1 0 16,176 0-1,-139-36 1,-20 36-16,-35 0 0,36 0 16,-18 0-1,35 0-15,-17 0 0,-18 0 16,124 0 0,-71 0-1,18 0 1,-19 0-1,-33 0 1,-37 0 0,53 0-1,53 0 1,19 0 0,-1 0-1,70 0 1,0 0-1,-211-17 1,-17-1 0,-37 18-16,19-18 0,-35 18 15,-19 0 1,0 0-16,19 0 0</inkml:trace>
  <inkml:trace contextRef="#ctx0" brushRef="#br0" timeOffset="50243.35">24735 4419 0,'0'-18'78,"17"18"-63,18 0-15,53 0 16,36 0 0,34 0-16,37 0 0,16 0 15,18 0-15,0 0 16,-17 0-16,52 0 15,-52-18 1,71 18-16,-36 0 16,53 0-16,-54 0 0,-16 0 15,35 0 1,-89 0-16,0 0 0,-69 0 16,51 0-16,-70 0 15,-17 0 1,-19 0-16,-33 0 15</inkml:trace>
  <inkml:trace contextRef="#ctx0" brushRef="#br0" timeOffset="51675.75">763 5089 0,'17'0'63,"72"0"-47,-19 0-1,36 36-15,70-19 16,-52 0-16,35-17 15,0 0-15,-18 0 16,0 0-16,-71 0 16,-17 0-1</inkml:trace>
  <inkml:trace contextRef="#ctx0" brushRef="#br0" timeOffset="59869.12">3091 9957 0</inkml:trace>
  <inkml:trace contextRef="#ctx0" brushRef="#br0" timeOffset="61789.75">1697 12427 0,'-122'-36'16,"103"36"-16,2 0 0,-1 0 16,1 0-16,0 0 0,-19 0 0,18 0 15,1 0-15,-19 0 0,1 0 16,17 0-16,-17 18 0,18-18 0,-19 0 16,-35 18-16,36 0 15,-1-1-15,19-17 0,-18 17 16,-1 1-16,19 0 0,0-18 0,-1 18 15,0-18-15,0 17 16,1 0-16,0-17 0,17 19 0,-18-19 0,18 17 16,-18 1-16,0-1 0,18 2 15,0-2-15,-17 0 16,17 1-16,0-1 0,0 2 0,0-2 16,0 18-16,0-17 0,0 17 0,-17 36 15,17-18-15,0 18 16,0-19-16,0 18 0,0 1 0,0 0 15,-19 17-15,19 0 0,0-18 0,-17 18 16,17-17-16,0 0 0,-18-1 16,18-16-16,0 16 0,-17 1 15,17-19-15,0 1 0,-19 18 0,19-18 16,0-18-16,0 1 0,0-1 0,0-1 16,0 2-16,0-1 0,0 1 15,19-19-15,-19 19 0,17-1 0,-17-18 16,18 1-16,-1 18 0,19-19 15,-19 0-15,19 2 0,-18-19 0,16 17 16,-16 1-16,18-18 0,-19 0 16,0 17-16,19-17 0,-18 0 0,16 0 15,-15 0-15,16 0 0,35-17 16,-16 17-16,16-18 0,-18 18 16,19-17-16,0-2 0</inkml:trace>
  <inkml:trace contextRef="#ctx0" brushRef="#br0" timeOffset="63640.71">32055 12567 0,'34'0'0,"2"0"0,-1 0 15,1 0-15,-1 0 0,-1 0 16,56 19-16,-38-19 0,-16 0 0,52 17 16,-35-17-1,-18 0-15,-1 0 0,2 0 0,-1 18 0,-16-18 16,15 0-16,-16 17 0,0-17 16,0 19-16,-1-2 0,-17 0 15,17 1-15,-17-1 0,0 19 16,0-19-16,0 19 0,0-18 15,-17 16-15,17 20 0,0-20 0,0 20 16,-17-1-16,17-18 0,0 71 16,0-18-16,0-36 0,0 2 15,17-1-15,-17 0 0,17-1 16,1 90 0,0-37-16,0-69 0,-1 69 15,-17-69-15,17 70 16,2-70-1,-19 33-15,17-50 0,-17 15 16,0-16-16,0 0 0,18 17 16,-18-18-16,0 2 15,0-2-15,0 1 0,17-1 16,-34 0 0,17 2-16,-18-2 15,1 1-15,-2-18 16,2 17-16,0-17 0,-54 36 15,36-36-15,-35 0 0,-1 17 16,-17-17-16,-19 0 0,2 0 0,-142 0 16,-89-17-16,143 0 15,-2 17-15,2-19 0,-2-16 0,-17 18 16</inkml:trace>
  <inkml:trace contextRef="#ctx0" brushRef="#br0" timeOffset="70802.58">13957 14790 0,'106'-17'16,"-72"17"-16,-15 0 15,-2 0-15,18 0 0,1 0 16,-19 0-16,18 0 0,-16 0 16,-2 0-16,18 0 0,-17 0 15,0 0-15,35 0 0,-36 0 16,18 0-16,-18 0 0,2 0 0,-2 0 15,37 17-15,-37-17 16,18 0-16,-18 0 0,2 0 16,15 0-16,2 0 0,-18 0 15,16 0-15,-15 0 16,16 0-16,-18 0 0,0 0 16,19 0-16,-1 0 15,-16 0 1,-2 0-16,0 0 15,1 0-15,0 0 16,0 0 0,-1 0-1,0 0-15,1 0 16,0 0-16,0 0 0,-1 0 16,36 0-1,1 0-15,-37 0 16,0 0-16,54 0 0,-36 0 15,1 0-15,17 0 16,-1 0-16,36 0 0,-52 0 16,-1 0-16,18 0 0,35 0 15,0 0-15,-35 0 16,35 0-16,-52-17 16,16 17-16,2 0 0,-1 0 0,16 0 15,55 0-15,0-18 16,-53 18-16,-19 0 0,1 0 15,18 0-15,34-17 0,2 17 16,16-19-16,-17 19 16,-35 0-16,-19-17 15,1 17-15,1 0 0,-2 0 16,1 0-16,52-17 0,-51 17 16,-18 0-16,16 0 0,142-18 15,-71 18 1,-70 0-16,1 0 0,-20 0 15,20 0-15,-20 0 0,20 0 16,-20 0-16,20 0 0,34 0 16,-35 0-16,35 0 0,-52 0 15,16 0-15,-16 0 16,52 0-16,0 0 0,17 0 16,-69 0-16,18 0 15,122 0 1,-142 0-16,20 0 0,-20 0 15,20 0-15,16 0 0,-35-18 16,18 18-16,-17 0 0,-1 0 16,18 0-16,18 0 0,0 0 15,-37 0-15,2 0 16,52-18-16,-70 18 16,16 0-16,2 0 0,-1 0 0,36 0 15,-35 0-15,-19 0 0,18-17 16,35 17-16,-34 0 15,16 0-15,-16 0 0,-18 0 16,35 0-16,-18 0 0,-18 0 16,2 0-16,33-17 0,-34 17 15,17 0-15,-18 0 0,2 0 16,33 0-16,-35 0 16,19 0-16,-1 0 15,18 0-15,-35 0 0,0 0 16,0 0-16,16-18 15,-16 18-15,18 0 0,-19 0 16,19 0-16,-1 0 16,18 0-16,-18 0 15,18 0-15,-36 0 16,37 0-16,16 0 16,-35 0-16,1-18 0,-1 18 15,1 0-15,-2 0 0,1 0 0,1 0 16,35 0-16,-37 0 0,2 0 15,-1 0-15,18 0 0,-18 0 16,54 0-16,-54 0 0,18 0 16,-18 0-16,18 0 0,-18 0 0,1 0 15,16 0-15,-16 0 0,-1 0 16,18 0-16,-18 0 0,1 0 0,-2 0 16,2 0-16,-18-18 0,18 18 15,33 0-15,-50 0 0,-2 0 16,18 0-16,1 0 15,-19 0-15,0 0 0,1 0 0,0-17 16,0 17-16,-1 0 16,0 0-16,2 0 15,-2 0-15,1 0 16,-1 0 15,2 0-15,-2 0 15,0 0-15,1 0-1,-1 0 79,2 17-78,-2-17-1,0 0 32,1 0-31,0 0-16,0 0 31,-18 18-15,17-18-1</inkml:trace>
  <inkml:trace contextRef="#ctx0" brushRef="#br0" timeOffset="75466.49">22864 15073 0,'-17'34'16,"-1"2"-1,18-18-15,0-1 0,-17 36 16,-2-35-16,2 18 15,17-19-15,-17 36 0,17-18 16,-18 18-16,18-35 0,0 16 0,0-15 16,0 16-16,0-18 15,18 2-15,-18 15 0,17-16 16,-17 0-16,17-18 0,2 18 0,-2-1 16,1-17-16,-18 17 15,17-17-15,2 0 0,-2 0 16,18-17-16,-18 17 15,-17-17-15</inkml:trace>
  <inkml:trace contextRef="#ctx0" brushRef="#br0" timeOffset="75689.49">22653 15478 0,'35'-17'16,"-18"17"-16,19-18 16,-18 18-16,-1 0 0,19-17 15,-1 17-15,-18 0 0,2 0 16,-2 0-16</inkml:trace>
  <inkml:trace contextRef="#ctx0" brushRef="#br0" timeOffset="76129.89">23271 15619 0,'34'-70'16,"-34"52"-16,0 1 15,0-2 1,0 2 0,-17 17-16,0 17 15,-2-17-15,19 36 16,0 18 15,19-37-31,-2 0 16,-17 1-16,17-18 0,1 0 15,-1 0-15</inkml:trace>
  <inkml:trace contextRef="#ctx0" brushRef="#br0" timeOffset="76424.78">23605 15461 0,'0'17'31,"18"36"-15,-1-35-1,-17-1-15,0 2 0,0-2 16,19-17-16,-19 17 0,0 1 0,-19 18 16,19-19-1,-17-17-15,17 17 16,-18-17-16,18 18 0,-17-18 16</inkml:trace>
  <inkml:trace contextRef="#ctx0" brushRef="#br0" timeOffset="76660.49">23923 15161 0,'0'36'46,"0"-2"-46,0-16 0,0-1 16,0 19-16,0-1 0,0-17 0,0 17 16,0-18-16,0 19 0,0-18 15,0 16-15,0 20 0,0-37 16,17 2-16,-17-2 0,0 0 16,0 1-16</inkml:trace>
  <inkml:trace contextRef="#ctx0" brushRef="#br0" timeOffset="76848.85">23817 15585 0,'-18'0'31,"36"-19"-31,0 2 0,-1 17 0,0-18 16,2 18-16,-2-17 0,1 17 15,-1-19-15,19 19 0,-19 0 0,18-17 16,36 17-16</inkml:trace>
  <inkml:trace contextRef="#ctx0" brushRef="#br0" timeOffset="77450.59">24469 15585 0,'0'-71'16,"-17"52"-16,0 19 15,-2 0 1,2 0 0,17 19-1,-18-2-15,18 1 0,18 18 16,-18-19 0,17-17-16,2 17 0,-2-17 15,0 0-15,1 0 16,0 0-16,0 0 0,16 0 0,-15-17 15</inkml:trace>
  <inkml:trace contextRef="#ctx0" brushRef="#br0" timeOffset="77809.21">25033 15019 0,'0'-34'15,"0"68"-15,0-34 31,-17 18-31,17 0 0,0 34 16,0-33-16,0 16 0,0 1 0,0-19 16,0 18-16,0-18 15,17 36-15,-17-35 0,19 18 16,-2-19-16,-17 0 0,0 2 16,0-2-1,-17-17 1,-19 0-1,19 0-15,-37 0 16,54 18-16,-17-18 0,0 0 0,-1 17 16,0 0-16,0 2 15,18-2-15,-17-17 0,17 18 16,0-1-16,17 2 0,-17-2 16,18-17-16,-18 17 15,18-17-15,0 0 16</inkml:trace>
  <inkml:trace contextRef="#ctx0" brushRef="#br0" timeOffset="78117.88">22688 16166 0,'195'-53'15,"-2"18"-15,-69 18 16,-19-1-16,54-18 0,0 19 0,-1-19 16,108 1-16,-144 18 15,2-2-15,-1 2 0,1 0 0,88-1 16,-124 1-16,-17 17 0,-1-19 15,18 19 1,-70 0-16,18 0 0,-19 0 0</inkml:trace>
  <inkml:trace contextRef="#ctx0" brushRef="#br0" timeOffset="78354.49">22829 16307 0,'71'0'0,"-19"-17"16,37 0-16,351-54 16,-316 52-1,35 2-15,0 0 0,-35-1 0,-2 0 16,108-17-16,87-18 15,-229 35-15,53 1 16,-87 0-16,-1 17 0,-36-19 16</inkml:trace>
  <inkml:trace contextRef="#ctx0" brushRef="#br0" timeOffset="78976.85">22653 14878 0,'264'-35'16,"-176"18"-16,107-19 15,-72 36-15,-17-17 0,0-1 16,18 1-16,157-19 0,-157 19 16,123-19-16,-123 18 0,105 1 15,-124 17-15,-17-17 16,0 17-16,-17 0 0,-18 0 15,35 0-15,-70 0 0,0 0 16</inkml:trace>
  <inkml:trace contextRef="#ctx0" brushRef="#br0" timeOffset="79240.52">23359 14843 0,'88'0'15,"-176"0"-15,210-17 0,2 17 16,-53 0-16,17-19 0,17 19 16,2-17-16,-2 17 0,90-17 15,-90 17-15,-17-18 0,19 18 16,-38 0-16,2-17 0,0 17 0,53 0 15,-90-19-15,2 19 0,-18 0 16,-1 0-16,0 0 0</inkml:trace>
  <inkml:trace contextRef="#ctx0" brushRef="#br0" timeOffset="79737.92">21965 14985 0,'18'141'0,"-18"-89"0,17 1 16,-17 18-16,0 0 0,17 17 0,-17-18 15,19 1-15,-19 0 0,0-19 0,17 18 16,-17-16-16,18 34 16,-1-35-16</inkml:trace>
  <inkml:trace contextRef="#ctx0" brushRef="#br0" timeOffset="79992.58">22159 14985 0,'36'34'16,"-36"2"-16,0-1 15,17 18-15,0 53 0,1 35 16,-18-53-16,18 36 0,-18-53 15,18 51 1,-1-68-16,0 51 0,1-69 0,0-1 16,0 1-16,-1-19 0</inkml:trace>
  <inkml:trace contextRef="#ctx0" brushRef="#br0" timeOffset="80523.92">25387 14719 0,'36'36'0,"-36"-18"15,17 16-15,0 73 0,-17-54 16,18 87-16,-18-50 0,17 68 16,-17-87-16,0-2 15,0-15-15,0 16 0,-17 72 16,17-108-16</inkml:trace>
  <inkml:trace contextRef="#ctx0" brushRef="#br0" timeOffset="80754.57">25616 14667 0,'36'52'15,"-72"-104"1,89 246-16,-35-18 15,-1 18-15,-17-88 0,17-17 16,-17 16-16,0-17 0,0 0 16,19 54-16,-19-72 0,0-16 15,0 16-15</inkml:trace>
  <inkml:trace contextRef="#ctx0" brushRef="#br0" timeOffset="104933.66">22705 9181 0,'212'18'0,"-141"-18"0,-18 0 16,17 0-16,19 0 0,-18 0 16,17 0-16,70 0 0,-52 0 15,88 0-15,-106 0 0,-17 18 16,17-36-16,0 18 0,-17 0 15,-1 0-15,1 0 0,0 0 16,-37 0-16,20 0 0,-1 0 16,-18 0-16,-1-18 0,-15 18 15,-2 0-15,1 0 0,-1 0 0,2 0 16,-2 0-16,0-18 16,1 18-16,-1 0 15</inkml:trace>
  <inkml:trace contextRef="#ctx0" brushRef="#br0" timeOffset="106728.5">3549 10169 0,'142'0'16,"-106"0"-16,16 0 15,-16 0-15,34 0 0,1 0 0,0 0 16,-2 0-16,20 0 0,-18 0 15,122 0-15,-87 0 0,0 0 16,0 0-16,18 17 0,-2-17 16,2 0-16,0 0 0,140 19 15,-122-19-15,-1 0 0,194 17 0,-159-17 16,1 17-16,-18-17 16,-18 18-16,-1-18 0,37 18 15,263 0-15,-140-1 16,-176 0-16,-1-17 0,1 19 15,-19-2-15,2-17 0,-2 18 16,90-1-16,-107 0 0,71-17 16,-106 19-16,18-19 0,-2 0 15,-33 17-15,17-17 0,-35 0 16,16 0-16,2 0 0,-18 0 0,-1 0 16,19 0-16,-19 18 0,1-18 15,-1-18 1,2 18-16</inkml:trace>
  <inkml:trace contextRef="#ctx0" brushRef="#br0" timeOffset="107850.73">12281 9834 0,'176'35'0,"-158"-35"15,18 0-15,-19 0 0,36 0 16,-35 0-16,16 0 0,-15 0 15,-2 0-15,1-18 0,-1 18 0,2 0 16,-2 0-16,-17-17 0</inkml:trace>
  <inkml:trace contextRef="#ctx0" brushRef="#br0" timeOffset="108096.79">12581 9605 0,'52'0'0,"-33"0"0,-2 17 15,1 0-15,18-17 0,16 36 16,-35-18-16,2 16 0,15-15 16,2 16-16,-18 1 15,-18-19-15,0 18 0,0-17 16,-18 0-16,0-1 0,0 0 15,1 1-15,-19 18 0,1-2 16,18-15-16,0-2 0</inkml:trace>
  <inkml:trace contextRef="#ctx0" brushRef="#br0" timeOffset="108887.89">14009 9463 0,'0'36'16,"0"-18"-16,0-1 15,0 0-15,0 37 16,0-37-16,0 0 0,0 19 0,0-18 15,0-1-15,0 0 0,0 2 16,0 16-16,-17-18 0,17 2 0,0-2 16,0 0-16,0 1 15,0 0 1</inkml:trace>
  <inkml:trace contextRef="#ctx0" brushRef="#br0" timeOffset="109279.89">13939 9587 0,'-18'-18'0,"36"-17"16,-18 18-16,0-1 15,18 18-15,0-18 0,-1 18 16,0 0-16,1 0 16,0 0-16,0 18 0,-1-18 15,0 18-15,2-18 0,-19 17 0,17 0 16,1 1-16,-18 0 15,0 0-15,0-1 16,0 0-16,-18-17 0,18 19 16,-17-2-16,-2-17 0,2 0 15,17 18-15,-35-18 0,17 17 16,0-17-16,1 0 16</inkml:trace>
  <inkml:trace contextRef="#ctx0" brushRef="#br0" timeOffset="109728.85">14151 9658 0,'17'0'16,"-17"17"-16,19-17 0,-2 0 0,-17 18 15,17-18-15,-17 17 0,18-17 16,-18 17-16,0 2 0,17-2 15,-17 1-15,0-1 16,0 2-16,19-19 16,-19 17-16,17-34 47,0-2-32,-17 2-15,18-1 16,0 1-1,0 17-15,-18-19 0,17 19 0,-17-17 16,17 17-16,2 0 16,-19-17-16,17 17 15,1 0-15,-1 0 16,-17 17 0,0 0-1,17 2-15,-17-2 16,0 1-16,0-1 15,0 2 1,0-2-16</inkml:trace>
  <inkml:trace contextRef="#ctx0" brushRef="#br0" timeOffset="109885.58">14485 9605 0</inkml:trace>
  <inkml:trace contextRef="#ctx0" brushRef="#br0" timeOffset="110258.69">14697 9710 0,'0'17'0,"0"19"15,0-18 1,0-1-16,18 2 31,-18-2-15,18-34 15,0-2-15,16 38 15,2-2-16,-18-17-15,-18 17 16,17 1-16,0 0 16,2 0-1</inkml:trace>
  <inkml:trace contextRef="#ctx0" brushRef="#br0" timeOffset="110643.74">15156 9639 0,'0'-17'16,"-35"53"15,17-19-31,18 1 15,-18-1-15,18 0 0,0 2 16,0-2-16,0 1 16,0-1-16,18 2 15,0-19-15,0 0 16,16 0 0,-15 0-16,-2-19 15,1 38 1,-1-19-1,2 17 1,-19 0 0,17 1-1,-17 0-15</inkml:trace>
  <inkml:trace contextRef="#ctx0" brushRef="#br0" timeOffset="110778.4">15421 9622 0,'0'-17'16,"0"34"-16</inkml:trace>
  <inkml:trace contextRef="#ctx0" brushRef="#br0" timeOffset="111220.65">15544 9622 0,'-17'176'16,"17"-157"-16,0 15 16,0-16-16,0 0 0,0 0 15,0 16-15,0-16 16,0 0 0,34-54 15,-34 19-31,19 0 0,-2-1 15,1-18-15,-1 19 0,2 0 0,-2-2 16,0 2-16,1-1 0,18 18 16,-19-17-16,0 17 0,1 17 15,0-17-15,-18 18 0,18-18 16,-18 17-16,0 2 16,-18-2-16,18 0 0,-18 1 15,0 18-15,1-36 0,0 17 16,-2 0-16,2-17 15,-1 0-15</inkml:trace>
  <inkml:trace contextRef="#ctx0" brushRef="#br0" timeOffset="111464.05">16020 9481 0,'0'18'15,"0"17"1,0 18 0,0-35-16,0-1 15,-17 0-15,17 19 0,0-18 16,-18 16-16,18-15 0,0-2 15,0 1 1</inkml:trace>
  <inkml:trace contextRef="#ctx0" brushRef="#br0" timeOffset="111742.88">16232 9727 0,'53'-88'16,"-106"176"-16,106-193 16,-89 122 15,19 2-31,0-2 16,-1 1-16,18 16 15,-18-15-15,18 16 16,0-18-16,0 2 0,18 15 15,0-34 1,-1 0-16,0 0 0,2 18 16,16-18-16,-1 0 0</inkml:trace>
  <inkml:trace contextRef="#ctx0" brushRef="#br0" timeOffset="112142.73">16744 9834 0,'52'-17'0,"-33"17"0,-2 0 0,36 0 15,-1-19-15,-16 19 16,-1 0-16,53 0 16,-35 0-16,-35 0 15,0 0-15,0 0 0,-1-17 16</inkml:trace>
  <inkml:trace contextRef="#ctx0" brushRef="#br0" timeOffset="112392.84">17185 9605 0,'0'-18'16,"0"36"-16,35-36 0,-18 36 16,1-18-16,0 17 15,0-17-15,-1 17 0,19 2 0,-19-2 0,1 1 16,-1-1-16,0 0 0,2 2 15,-2-2-15,-17 1 0,0-1 16,0 2-16,0 15 0,-17-16 16,-2 0-16,-50 34 0,-2-16 15,18-1-15,18-18 16,-18 2-16</inkml:trace>
  <inkml:trace contextRef="#ctx0" brushRef="#br0" timeOffset="114029.07">18172 9393 0,'19'36'0,"-19"-19"16,0 18-16,0-17 0,0 17 0,0-18 15,0 19-15,0 35 0,0-36 16,0-18-16,0 19 15,17-19-15,-17 18 0,17 1 16,1-19-16,-18 1 0,17 0 0,2 0 0,-2-18 16,0 17-16,1-17 15,0 0-15,0 0 0,-1 0 0,19 0 16,-19 0-16,-17-17 0,18 17 16</inkml:trace>
  <inkml:trace contextRef="#ctx0" brushRef="#br0" timeOffset="114234.06">17943 9869 0,'0'0'16,"36"-18"-16,-36 1 15,17 17-15,18 0 0,-17-17 16,17 17-16,-18 0 0,19-19 0,35 19 15,-36-17-15,35 17 16,-16-18 0,-20 18-16</inkml:trace>
  <inkml:trace contextRef="#ctx0" brushRef="#br0" timeOffset="114638.47">18701 9869 0,'18'-35'16,"-36"18"-16,18-2 15,0 2-15,0-1 16,-17 18 0,0 18-1,17-1-15,0 19 16,17-1-1,-17-17-15,17 0 16,1-18-16,18 17 16,-19 0-16,0-17 0,2 0 0,-2 0 15,1 0-15,18 0 0,-19 0 16,0-17-16</inkml:trace>
  <inkml:trace contextRef="#ctx0" brushRef="#br0" timeOffset="115007.15">19196 9781 0,'-53'0'16,"35"17"-16,0-17 16,18 19-16,-18-19 15,1 17-15,0 18 16,17-17-1,0 0-15,17-1 16,0-17 0,19 0-1,-18-17 1,-1-1 0,0 36 15,2-1-16,-19 0 1,17-17-16,1 18 31,-1-18-31</inkml:trace>
  <inkml:trace contextRef="#ctx0" brushRef="#br0" timeOffset="115467.21">19443 9675 0,'-54'52'0,"54"-33"0,-17-2 15,17 1-15,0-1 0,0 2 16,0-2-16,0 0 0,0 1 0,17 0 16,-17 0-1,18-18-15,18 17 16,-19-17-16,0 0 0,2-17 15,-2 17-15,1 0 0,-1 0 16</inkml:trace>
  <inkml:trace contextRef="#ctx0" brushRef="#br0" timeOffset="115941.7">19743 9499 0,'0'35'31,"0"-18"-31,17 37 16,-17-20-16,0 20 15,0-37-15,17 0 0,-17 19 16,0-1-16,0-16 0,0-2 16,0 0-16,0 1 15,18 0 1,0-36 15,0 18-15,-1 0-16,0 0 15,2 18 1,-2-18-16,18 0 16,-18 18-16,2-18 15,33 0 1,-33-18-16</inkml:trace>
  <inkml:trace contextRef="#ctx0" brushRef="#br0" timeOffset="116235.21">20289 9746 0,'0'-19'15,"-17"2"1,-2 34 0,2 19-1,17-18 1,0-1-16,17 2 16,-17-2-16,19 0 31,-2 1-31,1-18 15,-1 0 1,2-18 0</inkml:trace>
  <inkml:trace contextRef="#ctx0" brushRef="#br0" timeOffset="116532.74">20431 9727 0,'17'-17'0,"0"34"15,1 2 1,0-19 0,-18 17-16,18 1 0,-18-1 15,17-17-15,-17 19 16,0-2-16,17 0 16,19-17-1,-18-34 1,-1 34-1,-17-19-15,17 19 0,-17-17 0,19-1 16,-19 1-16,17 17 0,-17-19 16,18 19-16,-18-17 0,17 17 15,-17-17-15,19 17 0,-19-18 16</inkml:trace>
  <inkml:trace contextRef="#ctx0" brushRef="#br0" timeOffset="118908.04">23076 8387 0,'-529'424'16,"458"-353"-16,-17-19 16,17 1-16,-17 1 0,18-2 15,16-16-15,-15-2 0,33 2 0,1-18 16,-18-1-16,36-17 0,-2 0 16</inkml:trace>
  <inkml:trace contextRef="#ctx0" brushRef="#br0" timeOffset="119111.84">22000 8475 0,'53'-17'0,"-35"34"0,-1-17 0,19 18 15,16 0-15,1 34 16,18-16-16,88 70 0,-54-36 16,2-16-16,-37 16 0,18-18 0,106 55 15,-106-55-15,-18-16 16,20 17-16,-21-18 0,2 1 0,-1-1 15,-16-18-15,34 36 0,-52-35 16,-2-1-16,-16-17 0,0 19 16,0-19-16</inkml:trace>
  <inkml:trace contextRef="#ctx0" brushRef="#br0" timeOffset="129249.53">14275 10169 0,'52'0'15,"-34"17"-15,0-17 0,-1 0 0,0 0 16,2 0-16,16 19 0,-18-19 16,0 0-16,19 0 0,-1 17 0,1-17 15,-1 0-15,1 17 0,16-17 0,1 0 16,52 18 0,-51-18-16,16 0 0,-16 0 0,16 0 15,1 18-15,-19-18 0,19 0 0,-18 0 16,-18 0-16,18 0 0,0 0 15,-18 0-15,18 0 0,1 0 0,-20 0 16,20 0-16,-20 0 0,20-18 0,-20 18 16,2 0-16,16 0 0,2-18 15,-18 18-15,-2-17 0,-16 17 16,18 0-16,-19 0 0,18-17 0,-17 17 16,0 0-16,-1-19 0,0 19 15,2 0-15,-2 0 0,18 0 16,-35-17-16,17 17 0,2 0 0,-2 0 15,1-18-15,-1 18 0,2 0 16,-2-17-16,0 17 0,1-17 16,0 17-16,-18-19 0,18 19 15,-1 0-15,-17-17 0,17 17 0,-17-18 16,18 18-16,-18-17 0,18 17 16,0-19-16,-1 2 0,0 0 15,2 17-15,-19-18 0,17 18 16,-17-18-16,18 18 15,-18-18-15,17 18 0,2-17 0,-19 0 16,17-1-16,-17 0 16,17 18-16,-17-18 15,0 1-15,0 0 0,18-2 16,-18 2-16,0-1 0,0 1 16,0-2-16,0 2 15,0 0-15,-18-1 16,18 1-16,-17-2 0,0 2 0,17 0 15,-19-1-15,2 18 0,17-18 16,-35 0-16,16 1 0,2 0 16,0-1-16,-1 18 0,0-18 15,0 0-15,1 18 0,0-17 0,-1 0 16,0 17-16,-17-19 16,35 2-16,-36 17 0,36-18 0,-17 18 15,-18-17-15,16 17 0,2 0 16,17-19-16,-35 19 0,-1-17 15,19 17-15,0 0 0,-1-17 0,0 17 16,0 0-16,1 0 0,0 0 16,-1-18-16,0 18 0,-17 0 15,18 0-15,-2 0 0,2-17 16,-1 17-16,1 0 0,-2 0 16,2 0-16,0 0 0,-1-19 0,-18 19 0,-16 0 15,34 0 1,0 0-16,1-17 0,0 17 15,-2 0-15,2 0 0,-1 0 0,-16 0 16,15 0-16,2 0 0,-1 0 0,1-17 16,-19 17-16,19 0 0,-1 0 15,1 0-15,-19 0 0,19 0 0,-1 0 16,0 0-16,-17 0 0,-1 17 16,1-17-16,18 0 0,0 0 15,-2 0-15,-33 0 0,33 0 16,2 0-16,-36 0 15,35 17-15,1-17 0,0 0 0,-19 0 16,18 0-16,-16 0 0,15 19 16,-16-19-16,18 0 0,-19 0 0,-16 17 15,16-17-15,1 0 0,-1 18 16,2-18-16,15 0 0,-16 0 16,1 17-16,-2-17 0,18 0 0,-52 17 15,52-17-15,-18 0 0,2 0 16,16 19-16,-18-19 0,2 0 15,15 17-15,-16-17 0,1 0 16,15 0-16,2 18 0,-18-18 0,16 17 16,-33-17-16,34 0 15,0 19-15,-16-19 0,16 17 0,0-17 16,0 17-16,-16-17 0,15 18 0,2-18 16,-1 0-16,1 18 0,0-18 15,-2 18-15,2-1 0,-1-17 0,1 17 16,17 1-16,-19 0 0,-15 0 15,16-1-15,0 0 0,0 2 16,1-2-16,0 18 0,-1 18 16,0-35-16,0 18 0,1-19 15,17 18-15,-17-17 0,17 0 16,0-1-16,-19 18 0,19-17 0,0 0 16,0-1-16,0 0 0,19 2 0,-19-2 0,17 1 15,-17-1-15,35 2 16,-17-2-16,17 0 0,-18 1 0,142 35 15,-52-36 1,-55-17-16,1 18 0,0-18 16,-1 0-16,2 0 0,16 0 0,1 0 15,-18 0-15</inkml:trace>
  <inkml:trace contextRef="#ctx0" brushRef="#br0" timeOffset="171063.46">1045 16959 0,'52'0'16,"-33"0"-16,-2 0 16,1 0-16,-1 0 0,2 0 0,-2 0 0,18 0 15,-17 0-15,17 0 16,0 0-16,18 19 16,-17-19-16,-1-19 15,-18 19 1</inkml:trace>
  <inkml:trace contextRef="#ctx0" brushRef="#br0" timeOffset="171321.46">1451 16730 0,'17'0'15,"19"0"1,-19 19-16,1-19 0,18 17 16,-19 0-16,18 1 0,-17 0 15,0 0-15,16-1 0,2 36 16,-18-18-16,-18 1 16,0-1-16,0-18 0,-18 19 15,1-19-15,17 1 0,-36 35 16,36-36-16</inkml:trace>
  <inkml:trace contextRef="#ctx0" brushRef="#br0" timeOffset="172019.74">2615 16537 0,'0'0'0,"0"34"31,-18 20-16,18-37-15,0 2 16,0 15-16,0-16 0,-17 18 0,17-2 0,0 37 16,-17-35-16,17 16 31,0-35-31,0 2 0,0-2 16,0 1-16,0-1 15,17-17-15,0 19 16,1-19-16,35 17 15,-36-17 1,19 0 0,-1 0-16,-18 0 15,19-17-15,-18 17 16</inkml:trace>
  <inkml:trace contextRef="#ctx0" brushRef="#br0" timeOffset="172329.23">2968 16783 0,'-17'0'0,"-2"18"0,38 18 16,-19-19 0,0 0-16,0 2 0,34 16 15,-16-35-15,-1 17 16,19-17-1,-1 0 1,-17-17-16,0-1 16,-36-18-1,0 2-15,0 16 16,1 0-16,-19 0 16,19 18-16,-1 0 15,1 0-15,0 18 16</inkml:trace>
  <inkml:trace contextRef="#ctx0" brushRef="#br0" timeOffset="173013.52">3339 16783 0,'0'0'16,"-19"18"15,19 0 0,19 0-31,-19-1 16,17-17 0,0-17 15,1 17-15,0-18-16,0 36 31,-1-18-31,0 17 15,1-17 1,0 0 0,17 0-1,-35-17 1,0-1 0,17 0-16,-17 0 15,0 1 1,0 0-1,19 34 17,-19 0-17,0 1 1</inkml:trace>
  <inkml:trace contextRef="#ctx0" brushRef="#br0" timeOffset="173732.34">3761 16854 0,'36'-35'0,"-18"17"0,-18-17 15,0 18 1,-18-2 0,-18 38 15,36-2-15,0 0-16,-17 1 15,34 0-15,-17 17 16,18-18-16,18 19 15,-19-36 1,0 0 0</inkml:trace>
  <inkml:trace contextRef="#ctx0" brushRef="#br0" timeOffset="173980.56">4027 16819 0,'17'0'0,"0"18"16,1-1-1,-18 19 1,0-19-16,17 1 0,-17-1 16,0 19-1,0-19-15,19-34 47,-2-2-31,-17 2-16,17 0 0,1-1 15,18-18 1,-19 19-16,0 17 0,54-35 16</inkml:trace>
  <inkml:trace contextRef="#ctx0" brushRef="#br0" timeOffset="174380.65">5137 16483 0,'0'36'31,"0"-18"-31,0-1 0,0 71 16,0-52-1,0-1-15,18-18 0,-18 72 16,0-54-16,0-18 0,17 19 16,-17-18-1,0-1-15,19 0 0</inkml:trace>
  <inkml:trace contextRef="#ctx0" brushRef="#br0" timeOffset="174600.3">4925 16890 0,'0'0'15,"18"-19"1,18 2 0,-2 0-16,2 17 15,52-36-15,-53 36 16,1-18-16,-19 18 0,19-17 0,-18 17 15,35 0-15,-1 0 16,-35 0-16</inkml:trace>
  <inkml:trace contextRef="#ctx0" brushRef="#br0" timeOffset="174897.69">5491 16871 0,'-19'-52'16,"19"34"-1,-17 0 1,-1 36 0,1-18-16,17 18 0,-19-18 0,19 18 15,0-1-15,-17 0 16,34 19-1,-17-18-15,19-18 0,-2 17 32,1-17-32,-1 0 0,2 0 0,-2 0 0,18 0 15,18-17 1,-36 17-16,1 0 16</inkml:trace>
  <inkml:trace contextRef="#ctx0" brushRef="#br0" timeOffset="175168.26">5755 16713 0,'-18'-18'16,"-18"36"-16,36-1 15,-17 2-15,17-2 0,0 18 16,17 1-1,-17-19-15,19 19 16,-19-19-16,0 1 0,17-18 16,1 17-16,-1-17 15,0 0-15,2 0 16,-2 0-16,18 0 0,-16 0 16,-2-17-1</inkml:trace>
  <inkml:trace contextRef="#ctx0" brushRef="#br0" timeOffset="175560.81">5949 16571 0,'18'54'32,"-18"-18"-17,0-19 1,0 0-16,0 1 0,0-1 16,17 19-16,-17-19 31,0 1-31,17-18 0,1 0 15,0 0 17,0 0-32,-1 0 0,0 18 15,2 0 1,-2-1-16,18 0 16,-35 2-16,17-19 15,2 17-15,-2-17 16</inkml:trace>
  <inkml:trace contextRef="#ctx0" brushRef="#br0" timeOffset="176144.09">6284 16730 0,'0'19'0,"0"-2"0,0 0 15,0 1 1,0 0-16,17 17 16,-17-18-16,0 2 15,18-19 17,0-19-17,0 2 1,-1 17-16,0 0 15,1 0-15,0 0 16,0 17-16,-1 2 31,0-2-31,2-17 0,-2 0 16</inkml:trace>
  <inkml:trace contextRef="#ctx0" brushRef="#br0" timeOffset="176296.44">6672 16819 0,'17'-18'16,"-17"54"15,-17-2-15,17-15-16,17 16 16</inkml:trace>
  <inkml:trace contextRef="#ctx0" brushRef="#br0" timeOffset="176412.03">6707 16642 0,'0'-17'16</inkml:trace>
  <inkml:trace contextRef="#ctx0" brushRef="#br0" timeOffset="177036.37">6901 16766 0,'0'0'0,"-17"0"16,-2 17-1,2 1-15,0 0 16,-1 0-1,18-1-15,0 0 16,0 2-16,0-2 16,18-17-1,-1 0 1,0 0-16,2-17 16,-2 17-16,1 0 15,-1 0-15,2 17 31,-2 1-15,0-1 0,1-17-16,0 17 15,0-34-15,-1 17 16,0-17 0,1-1-16,0 18 15,0-17 1,-1 17-1,0 0 17,-17 17-17,0 1 1</inkml:trace>
  <inkml:trace contextRef="#ctx0" brushRef="#br0" timeOffset="178108.29">7184 16783 0,'-36'0'0,"19"0"15,-1 0-15,0 18 16,18 0-16,-18 0 16,1-18-1,17 34 1,17-34 31,1 0-32,0 19 1,0-19 0,-1 0-1,0 0 1,2-19-16,-2 19 0,1-34 15,-1 16 1,0 18-16,-17-18 0,19-17 0,-19 18 0,35-19 16,-35 18-1,17-16 1,2 51 15,-19 35-15,0-33-16,0-2 0,17 0 15,-17 1-15,17 18 16,1-19-16,0-17 16</inkml:trace>
  <inkml:trace contextRef="#ctx0" brushRef="#br0" timeOffset="178413.59">7853 16749 0,'0'34'16,"0"20"0,0-37-16,0 0 0,0 2 15,0-2-15,0 1 16,0 35-16,0-36 16</inkml:trace>
  <inkml:trace contextRef="#ctx0" brushRef="#br0" timeOffset="178536.47">7783 16713 0</inkml:trace>
  <inkml:trace contextRef="#ctx0" brushRef="#br0" timeOffset="178836.79">8012 16766 0,'0'17'16,"0"1"-16,0 0 0,0 0 15,19 16 1,-19-15-16,0-2 16,17 18-16,-17 1 15,0-19 1,-17 18 0,-2-16-16,2-19 15,-1 0 1</inkml:trace>
  <inkml:trace contextRef="#ctx0" brushRef="#br0" timeOffset="179160.52">8153 16766 0,'-17'0'0,"17"17"16,0 19-1,17-18-15,-17-1 16,0 0-16,18 19 15,-18-18-15,0-1 16,-18 0-16,18 2 0,0-2 16,-17 1-1,0-1-15</inkml:trace>
  <inkml:trace contextRef="#ctx0" brushRef="#br0" timeOffset="179665.63">8277 16783 0,'0'36'47,"18"-18"-32,-18-1 1,17-17 0,0 17-16,2-17 0,-19-17 15,17 17 1,1 0 0,-1-17-16,2 34 31,-2-17-16,0 0-15,1 17 16,0-17-16,17 0 16,-18-17-1,19 0 1,-18-19 0,-1 36-16,-17-18 15,17 54 16,-17-18-15,19-18 0,-2 17-1,1-17-15,-18 17 0,17-17 0,54 0 16,-35 0 0,-2 0-16,37 0 15</inkml:trace>
  <inkml:trace contextRef="#ctx0" brushRef="#br0" timeOffset="180124.08">9495 16819 0,'34'0'31,"-16"0"-31,-1 0 16,2 0-16,-2 0 0,36 0 15,-35 0-15,-1 0 16,54 0 0,-37-18-1</inkml:trace>
  <inkml:trace contextRef="#ctx0" brushRef="#br0" timeOffset="180341.09">9741 16642 0,'18'0'0,"-1"0"16,19 0-1,-19 19-15,1-19 0,-1 0 16,2 17-16,15 18 16,-34-18-16,18-17 0,-18 19 0,0-2 15,0 18 1,-18-17-16,18 17 0,-17-18 0,17 2 15,-17-2-15</inkml:trace>
  <inkml:trace contextRef="#ctx0" brushRef="#br0" timeOffset="180790.57">10323 16431 0,'18'35'15,"-18"-18"-15,18 1 16,-18 0-16,0 0 0,0 16 16,17-15-16,-17-2 0,0 18 15,0-16-15,17 15 16,2-34 0,-2 0-1,1 0 1,16 0-1,-15 0 1,-2 0-16,-17 18 16,35-1-1,-16 2-15,-2-2 16,0-17 0,1 0-1</inkml:trace>
  <inkml:trace contextRef="#ctx0" brushRef="#br0" timeOffset="180945.32">10729 16678 0,'0'-17'16,"0"51"0,0-51-16,0 34 31,0 18-15,0-16-16,0-2 15,0 0-15,0 1 16</inkml:trace>
  <inkml:trace contextRef="#ctx0" brushRef="#br0" timeOffset="181714.28">11117 16625 0,'-18'0'0,"36"0"0,-54 0 16,19 0 0,0 0-16,-1 17 15,0-17-15,0 19 16,18-2 0,18 0-16,18-17 15,-19 18 1,0-1-16,1 2 15,0-19-15,0 17 0,35 18 16,-53-17-16,17 17 16,-17-18-16,0 2 0,-17-2 15,17 1-15,-36 16 16,36-15-16,-17-2 0,-1 1 16,-35-1-1,53 2-15,-17-19 0,-1 0 0,0 0 16,18-19-1,-18 19-15,18-17 16</inkml:trace>
  <inkml:trace contextRef="#ctx0" brushRef="#br0" timeOffset="182049.26">11240 16361 0,'36'70'16,"-36"-52"-16,0-1 15,17 0-15,-17 1 0,0 35 16,18-36-16,-18 37 16,17-37-1,-17 2 1,19-19-1,-2 17 1,0-17 0,1 17-16,0-17 15,0 18 1,-1-18-16,0 17 0,19-17 16,-18 0-16</inkml:trace>
  <inkml:trace contextRef="#ctx0" brushRef="#br0" timeOffset="182457.41">11716 16590 0,'-17'-19'16,"-1"38"-1,1-2 1,17 1-16,0-1 15,0 2 1,17-2 0,1-17-1,18 0 1,-19 0 0,0-17-16,-17 34 15,18-17-15,0 17 16,0 1-1,-18-1 17,34-34-17,-34-1 1,19 18-16,-19-17 16,17 0-16,-17-2 0,18 2 15,-36-1 16</inkml:trace>
  <inkml:trace contextRef="#ctx0" brushRef="#br0" timeOffset="182804.96">10711 16519 0,'0'-18'16</inkml:trace>
  <inkml:trace contextRef="#ctx0" brushRef="#br0" timeOffset="183741.04">12616 16413 0,'0'36'15,"0"16"1,0 18-16,0-34 0,0-1 16,0 1-16,0-1 0,17 35 15,-17-34-15,0-1 0,0-18 16,0 37-1,0-20-15,0-15 0,0-2 0,0 1 0,0-1 16,0 2-16,0-2 16,-17-53 15,17-35-15,-17 54-16,17-18 15,0-1-15,0 2 0,0-37 16,0 35-16,17 1 15,-17 18-15,17-19 16,2 19-16,-2 17 16,1 0-16,-1 0 15,2 0-15,-2 36 16,0-19-16,-17 0 0,0 1 16,-17 18-1,0-19-15,-2 18 16,19-17-16,-17-18 15,-1 18-15,1-18 16,-2-18 0</inkml:trace>
  <inkml:trace contextRef="#ctx0" brushRef="#br0" timeOffset="184045.52">12792 16554 0,'53'17'15,"-53"2"-15,18-2 0,-18 1 16,18 18 0,-18-2-16,18-16 0,-18-1 15,0 2 1,0-2-1,17-53 17,0 1-17,-17 18-15,18 0 0,0-2 16,17 2 0,-18-1-1</inkml:trace>
  <inkml:trace contextRef="#ctx0" brushRef="#br0" timeOffset="184430.15">13251 16554 0,'-18'36'31,"18"-1"-16,0-18 1,0 2-16,18-19 0,-18 17 0,0 0 16,18 1-16,0-18 15,16 0 1,-15 0-16,-2-18 16,-17 1-1,0-19 1,-17 36-16,17-17 0,-19-1 15,2 1 1,0 17 0,-1 17-16,0-17 15,36 18 17,0-18-32,35 17 15</inkml:trace>
  <inkml:trace contextRef="#ctx0" brushRef="#br0" timeOffset="185365.26">13569 16519 0,'0'0'0,"-18"-18"0,-17 18 31,18 18-15,-2 0-16,2-1 16,17 0-16,-18 19 15,18-18-15,0-1 16,0 19 0,0-19-16,0 1 0,18-1 15,-1 2 1,2-19-1,-2-19-15,0 19 16,-17-17-16,18-1 0,-18 1 16,0 0-16,18-2 0,-18 2 15,0-18-15,0-1 16,0 19-16,0-1 0,0 0 16,18-17-16,-18 18 15,0-1 1,0 0-16,0 71 47,0-36-47,0 19 15,0-18-15,0-1 16,0 0-16,17 19 16,0-18-16,1-1 15,0-17-15,0 19 16,-1-38-1,0 19-15,2-17 16,-2 17-16,1-18 16,-18 1-1,17 17-15,-17 17 32,0 1-17,0-1-15,0 2 16,19-2 15,-2-17-31,0 0 16,18-36-1,-16 19 1,-2 17-16,-17-18 16,17 18-1,1 0 1,0 0-1,17 18 1,0-1 0,-17-17-16,0 0 0</inkml:trace>
  <inkml:trace contextRef="#ctx0" brushRef="#br0" timeOffset="186401.26">14080 16466 0,'-17'17'0,"-1"-17"0,18 18 0,0 0 16,-18 0-1,18-1-15,0 0 0,0 19 16,0-18 0,18-18-16,0 17 15,-18 2-15,34-19 16,-15 0 0,-2 0-16,1 0 15,-1-19-15,2 2 16,-19-1-16,17 18 15,-17-17-15,17 17 0,-17-19 0,18 2 16,-18-18 0,17 17-16,-17 0 0,0 1 15,19 17-15,-19-35 0,0 17 16,0 0-16,17 1 0,-17 0 16,0-19-1,0 18-15,0 1 0,0 0 16,0-2-1,0 2 17,0 53-17,0 16 1,-17-52 0,17 17-16,0 19 0,0 17 15,-19-35-15,19-1 16,0 0-16,0 37 15,0-37-15,0 0 0,0 19 16,0-18 0,19-1-1,-2-17-15,0 19 16,1-19 0,0 0-1,0-19 1,-1 19-16,-17-17 15,17 17-15,-17-18 16,19 18-16,-19-17 16,17 17-1</inkml:trace>
  <inkml:trace contextRef="#ctx0" brushRef="#br0" timeOffset="186822.37">14187 16466 0,'17'-17'16,"18"17"-1,-18-18-15,2 18 0,-2 0 16,0 0-1</inkml:trace>
  <inkml:trace contextRef="#ctx0" brushRef="#br0" timeOffset="187193.35">14433 16483 0,'0'54'15,"-17"-37"-15,17 0 16,0 2-16,0-2 0,0 1 0,0-1 16,-19 2-1,19-2-15</inkml:trace>
  <inkml:trace contextRef="#ctx0" brushRef="#br0" timeOffset="187336.16">14380 16361 0</inkml:trace>
  <inkml:trace contextRef="#ctx0" brushRef="#br0" timeOffset="188084.3">14468 16537 0,'17'34'16,"-17"-15"-16,19-2 16,-19 1-16,17-18 15,-17 17-15,18 2 16,18-2-1,-19-17 1,0-17 0,1 17-16,-18-19 0,17 19 0,2-17 15,-19-1 1,17 18-16,-17-17 0,17-2 16,1 19 15,0-17-16,0 17 1,-1 17 0,-17 2-1,0-2 1,0 1 0,0-1-16,0 2 31,17-19-16</inkml:trace>
  <inkml:trace contextRef="#ctx0" brushRef="#br0" timeOffset="188210.22">14804 16431 0</inkml:trace>
  <inkml:trace contextRef="#ctx0" brushRef="#br0" timeOffset="188406.53">14963 16342 0,'34'19'16,"-34"-2"-16,0 0 0,18 1 16,-18 35-1,0-36-15,0 1 0,0 0 16,0 17 0</inkml:trace>
  <inkml:trace contextRef="#ctx0" brushRef="#br0" timeOffset="189168.27">14909 16554 0,'71'-17'0,"-54"17"16,1-18-16,0 18 0,34-18 15,-34 0 1,0 18-16,17-17 16,-35 0-16,17 17 15,2 0-15,-2 0 31,1 17-15,-18 18 0,0-17-16,17 0 15,-17-1 1,19 0-16,-2-17 31,0-17-15,1 17-16,-1 0 0,-17-17 0,19 17 0,-19-18 15,34 18 1,-34-18-16,18 18 16,0 0-16,-18 18 15,18 0 1,-18-1-16,0 0 0,0 2 16,-18-2-16,18 37 15,-18-37-15,0 0 0,18 18 16,-17-16-16,0 15 0,-2-16 0,2 0 15,17 0-15,-18-18 0,1 17 16,17 0-16,-17-17 0,-2 19 16,19-38-1,0 2 1,0 0-16,0-1 16,19 0-16,-2 0 0,0 1 15,-17 0 1,18-2-16,-1 2 0,19-1 15,-36 1-15,17 17 16,1-17-16,0 17 16,0-19-16,-1 19 15,0-17-15,2 17 32,-19-18-17,17 18-15</inkml:trace>
  <inkml:trace contextRef="#ctx0" brushRef="#br0" timeOffset="196265.29">6301 18054 0,'0'17'16,"18"1"-16,0-1 0,0-17 15,-1 0-15,54 36 16,-37-36-16,-15 0 0,16 17 16,89 1-16,-90-18 15,73 0 1,-72 17-16,-1-17 0,-15 0 15,16 0-15,-18 0 0,2 0 16,-2 0-16,0 0 0,19 0 16,-18-17-1</inkml:trace>
  <inkml:trace contextRef="#ctx0" brushRef="#br0" timeOffset="196643.62">6901 17947 0,'18'36'16,"-1"-36"0,2 18-16,15 16 15,-16-34-15,18 19 0,-19-2 16,54 37 0,-54-37-16,0 0 0,2 1 0,-19-1 15,17 2-15,-17-2 0,18 0 16,-18 1-16,0 0 0,0 0 0,0-1 15,-18 36-15,1-35 16,-2-1-16,-33 36 16,34-35-16,0-1 0,1 2 15,0-19-15,17 17 0,-18-17 16</inkml:trace>
  <inkml:trace contextRef="#ctx0" brushRef="#br0" timeOffset="200639.5">8189 17913 0,'52'-18'0,"-33"18"31,-55 18 0,19-18-15,-1 17-16,0-17 0,-17 17 31,18 2-31,-2-2 0,2-17 0,-1 18 16,1-1 0,0 0-16,34 2 31,0-19-16,1 0-15,-1 17 0,19-17 16,-19 18-16,1-1 16,0-17-1,0 19-15,-1-2 0,-17 0 16,0 1 0,-35 18-1,35-19-15,-18-17 16,0 17-16,1 1 15,0-18-15,-2 0 16,2 18-16,-1-18 16</inkml:trace>
  <inkml:trace contextRef="#ctx0" brushRef="#br0" timeOffset="200923.44">8700 17947 0,'-17'19'47,"-1"16"-32,18-18-15,-17 0 0,-2 19 16,19-18-16,-17 18 0,0-19 16,17 0-16,-18 1 15,18-1-15,-18 19 0,-17-1 16,35-17-16,0 0 0,-17-18 16,17 17-16,-18-17 15</inkml:trace>
  <inkml:trace contextRef="#ctx0" brushRef="#br0" timeOffset="201101.04">8419 18071 0,'-19'0'0</inkml:trace>
  <inkml:trace contextRef="#ctx0" brushRef="#br0" timeOffset="201262.09">8788 18247 0,'0'18'16</inkml:trace>
  <inkml:trace contextRef="#ctx0" brushRef="#br0" timeOffset="202200.99">9212 17913 0,'0'-18'15,"-17"36"1,17 16 0,0-15-16,0-2 15,17 35 1,-17-33-16,17-2 0,19 37 16,-18-54-16,-1 17 0,0-17 15,2 0-15,16 17 16,-18-34-16,0 17 15,2-17-15,-2-2 0,1-16 16,-18 18-16,-18-36 16,1 35-1,17 1-15,-19-2 0,2 19 0,0-17 16,-37 0 0,37 17-16,0-18 15,-1 36 1,36-1-1,-1-17-15,54 53 16,-37-18 0,2-18-16,52 73 15,-70-56-15,-1-16 0,2 18 0,-2-19 0,-17 18 16,17-17-16,-17 70 16,0-70-16,-17 16 15,17-15-15,-17-2 0,-2 1 0,19-1 16,-17 2-16,-18-2 15,18-17 1,-2-17-16,19-2 16,19-16-1,-19 18-15,34-36 16,-16 35-16,-1 1 0,2-19 16,-2 19-16,0-1 0,19 0 0,-18 0 15,35-16-15,-36 34 16,1-19-16,-1 2 0,36-1 15</inkml:trace>
  <inkml:trace contextRef="#ctx0" brushRef="#br0" timeOffset="202669.06">10393 17859 0,'-17'71'0,"17"-54"16,17 71-16,2-17 15,-19-18 1,17-18-16,-17 1 0,18-19 0,-1 37 16,0-1-1,-17-36-15,19 1 0,-19-1 16,17 0-16</inkml:trace>
  <inkml:trace contextRef="#ctx0" brushRef="#br0" timeOffset="202980.32">10447 18142 0,'-18'-71'15,"36"142"-15,-18-159 0,0 69 0,0 2 0,0 0 16,34-1-1,-15 18-15,-2 0 0,1 18 16,-1-18-16,36 34 16,-53-15-16,18-2 0,-1 1 15,2-1-15,-19 2 0,17-2 16,-17 35-16,-17-33 16,17-2-16,0 0 0,-36 1 15,36 0-15,-18-18 16,1 18-16,0-18 15,-2 0-15,2-18 16,-1 18 0,18-18-16</inkml:trace>
  <inkml:trace contextRef="#ctx0" brushRef="#br0" timeOffset="203293.21">10640 18001 0,'89'17'16,"-54"19"-1,-35-19-15,17 1 0,-17-1 0,19 2 16,-19 15 0,0-16-16,17-1 15,-17 2 1,0-55-1,18 18 1,-18 1-16,17-36 16,0 35-16,2 1 15,-2-2-15,-17 2 0,18 0 0,18-1 16,16 1 0,-16-2-16,-19 19 0,18 0 15</inkml:trace>
  <inkml:trace contextRef="#ctx0" brushRef="#br0" timeOffset="203896.33">11223 17966 0,'-35'0'16,"16"0"0,2 17-16,0 18 15,-1-35-15,0 53 16,18-35-16,0-1 0,0 19 16,18-19-16,0 18 15,35-16 1,-36-19-1,1 0-15,-1 0 0,19-19 16,-19 2 0,-17-1-16,0 1 0,-17-19 31,17 19-31,-19-1 0,-15 1 16,16 17-16,1-19 15,-2 38-15,2-19 16,0 0-16,17 17 15,17 1 1,36-1 0,-35 2-16,-1-19 0,0 0 15,19 0-15,-18 17 0,70-17 16,-70 0-16</inkml:trace>
  <inkml:trace contextRef="#ctx0" brushRef="#br0" timeOffset="204880.58">11628 18089 0,'-17'-18'15,"-1"18"1,-18 0-1,36 18-15,-34-1 16,34 2-16,0-2 16,-18 0-1,18 1-15,0-1 0,0 2 16,18-2 0,-18 0-16,17-17 0,0 18 15,19-36 1,-18 18-16,-1-34 15,2 15 1,-19 2-16,0-18 16,17 18-16,-17-19 0,0 18 0,0-18 15,0-33 1,0 50-16,0 2 0,0-18 16,0 17-16,0 0 15,0 1-15,0 52 31,0 18-15,0-17-16,0-19 16,17 54-1,1-54-15,-18 1 0,17-1 0,-17 2 16,19 15-16,-2-16 16,0-18-1,1 0-15,0 0 16,0 0-16,-18-18 15,17 18-15,-17-17 0,17 0 16,2-2 0,-2 38 31,-17-2-32,0 0 1,18 1-1,-1-18 1,0 0 0,2-18-16,-2 1 15,1 17 1,-18-17 0,17 17-16,2 0 31,-2 17-16,0-17 1,1 0 0,18 0-1,-19 0-15</inkml:trace>
  <inkml:trace contextRef="#ctx0" brushRef="#br0" timeOffset="205439.33">12333 17966 0,'0'-19'0,"-17"38"16,0-19-16,17 17 15,-18-17-15,18 18 0,-17-1 0,-2 0 16,19 37 0,0-37-1,0 2-15,0-2 0,19 0 16,-2 1-16,1-18 15,-1 0 1,19 0-16,16-18 16,-33 1-16,-2 0 15,18-19 1,-35 18-16,18 1 0,0-2 0,-18 2 16,17 0-16,-17-18 0,17 16 0,-17 2 0,0-18 15,18 17-15,-18 0 0,0 1 16,0 0-16,18-2 15,-36 72 32,0-35-47,18 18 16,0-19-16,0 0 0,0 2 16,0-2-16,18-17 0,-18 18 15,0-1-15,18 0 16,0-17-1,-1 19 1,0-2 0,-17 1-16,19-18 15,-19 17-15,17 2 16,-17-2-16,18 0 0,-18 1 16,17-18-1,-17 17-15</inkml:trace>
  <inkml:trace contextRef="#ctx0" brushRef="#br0" timeOffset="205627.86">12475 18018 0,'-18'-17'15,"36"-1"1,0 18-1,0-17-15,16-2 16,-16 19-16,35-17 16,-36 0-16,2 17 15,-2 0-15,1-18 0</inkml:trace>
  <inkml:trace contextRef="#ctx0" brushRef="#br0" timeOffset="206353.29">13251 17825 0,'18'34'16,"-18"-16"-16,0 0 0,0 34 16,0-33-1,0 16-15,18-18 0,-18 0 16,0 2 0,0-2-16,17-17 15,0-17 16,2-2-15,-2 2-16,1 0 16,-1 17-1,0 0-15,2 0 16,-19 17-16,17-17 16,1 36-1,-1-19 1,-17 1-1,19-36 17,-2 1-17,0-2 1,1 19 0,0 0-1,0 19-15,-1-19 16,0 0-16,1 17 15,0-17-15,17 0 16,-18 0-16,2 0 16</inkml:trace>
  <inkml:trace contextRef="#ctx0" brushRef="#br0" timeOffset="207000.3">13887 17877 0,'0'0'0,"-19"0"0,2 0 0,17 18 15,-18-18-15,1 18 16,0-1-16,17 0 15,-19 19 1,19-18-16,0-1 0,0 19 16,0-1-1,19-35 1,-19 17-16,17-34 16,0 17-1,1-18 1,-18 1-16,0-2 15,17 2 1,-17 0 0,19 34 31,-19 0-32,17-17-15,-17 19 0,17-19 16,-17 17-16,18 1 15,0-18 1,-18 17 0,18-17-16,-1 0 0</inkml:trace>
  <inkml:trace contextRef="#ctx0" brushRef="#br0" timeOffset="207378.48">14116 17947 0,'0'36'32,"0"-1"-1,0-18-31,17 19 31,1-53 16,-1 17-16,2 0-31,-2 0 16,0 0-1,-17 17-15,18-17 0,-18 18 16,36-1-16,-19-17 16,0 19-1,1-19-15</inkml:trace>
  <inkml:trace contextRef="#ctx0" brushRef="#br0" timeOffset="208018.28">14345 18018 0,'0'-17'0,"0"51"63,0-15-48,0-2-15,18-17 0,-18 18 0,17-18 16,0 17 0,2-17-1,-2-17-15,1 17 16,-1-18-16,0 1 16,2-2-1,-2 38 16,-17-2-15,18 1-16,-18-1 16,17-17-1,2 19-15,-2-19 16</inkml:trace>
  <inkml:trace contextRef="#ctx0" brushRef="#br0" timeOffset="208493.42">14785 17701 0,'0'-18'0,"-17"18"16,0 18-1,17 35 1,0-36-1,-18 18-15,18-16 0,0 86 16,0-69-16,0-1 16,0-1-16,0-15 0,0 52 15,0-54-15,18 18 0,-18-18 16,0 54 0,0-53-16,0 0 0,0 16 15,0-15-15,-18-2 16,0-17-1,0 0 1,1-17-16,0-2 16,-2 19-16,2-17 15,17 0 1,-18-1 0,18 0-1,18 0-15,18-16 16,-19 15-16,36-16 15,-35 35 1,35-17-16,-36 0 16,1 17-16,-1-19 0,0 19 0</inkml:trace>
  <inkml:trace contextRef="#ctx0" brushRef="#br0" timeOffset="209613.17">15456 17754 0,'-17'-17'0,"-19"34"31,18 0-31,18 1 0,-17 35 16,0-36-16,17 1 15,0 18 1,0-19-16,0 0 0,17 19 15,0-18 1,1-18 0,0 0-16,0-18 0,-1 1 15,0 17 1,-17-19-16,0 2 0,19-18 16,-2 17-16,-17 0 15,0 1-15,0 0 16,0-2-1,18 55 17,-18-19-17,0 19 1,17-1 0,0-18-16,2 2 15,-2-2-15,1-17 16,18 0-1,-2-17 1,-34-2-16,18 2 0,-1 0 16,-17-19-1,19 18-15,-19 1 16,0 0-16,0-2 31,17 19-31,-17 19 47,0-2-31,0 0-16,17 1 0,-17 0 15,18 0 1,-18-1-16,18-17 16,0 0-16,-1 17 15,19-17-15,-36-17 0,17 17 16,1 0-16,-1-17 0,0 17 0,2-18 15,-2 0-15,1 0 16,-1 1 0,-34 34 31,17 19-32,0-18 1,0-1-16,0 0 0,17 2 15,-17-2-15,19-17 16,15 18 0,-16-18-16,0 0 0</inkml:trace>
  <inkml:trace contextRef="#ctx0" brushRef="#br0" timeOffset="212074.54">16603 17559 0,'-18'36'0,"18"-1"0,0 36 16,0-35-1,0 86-15,18-68 16,-18-20-16,0 2 0,0-1 0,0 1 16,0 16-16,0-33 0,0 15 15,0-16-15,0 18 0,-18-19 0,18 0 16,-18 1-16,18 0 0,-18 0 16,1-1-16,0-17 15,-19 0-15,1-17 16,18-1-1,17 0 1,0 0 0,0 1-16,17 17 0,-17-17 15,17-2-15,1 2 0,0 17 0,0-18 16,-1 1-16,18-19 0,-17 19 0,0-1 16,35 1-16,-36-2 0,18 2 15,-16 0-15,33-18 16,-16 16-16,-19 19 0,0-17 0,1 0 0,0-1 15,17 0 1,-18 0 0,-17 1-1,-17 34 17,0 1-17,-1 0-15,0 0 16,0 16-16,18-15 15,-17-2-15,17 18 16,17-18 0,1-17-1,0 0 1,0-17 0,-1 17-1,-17-17-15,0-1 16,17 18-16,-17-17 0,0-2 15,19 2 17,-19 53 15,0-19-32,17 1-15,-17-1 16,18-17-1,-1 0-15,0 0 16,19 0 0,-18 0-16,-18-17 0,17 17 15,2-18-15,-2 18 16,-17-17 0,17 17-1,-17 17 1,0 1-1,18-1-15,-18 19 16,18-36-16,-18 17 16,18-17-1,-1 0-15,18 0 16,-17-17-16,0 17 0,-1-19 16,0 2-16,19-18 15,-36 18-15,18 17 16,-18-19-16,0 2 0,17 17 0,-17-17 15,17-1 1,-34 53 31,17-18-31,0 2-16,0-2 0,0 1 15,17-1-15,2-17 16,-2 0-16,1 0 15,-1 0-15,2 0 16,-2 0-16,0-17 0,1 17 0,0-18 16,0 18-16,-1-17 0,0-2 0,1 2 15,0 0-15,0-37 16,-1 20-16,0-54 16,2 69-16,-19 2 0,0-18 0,17 16 15,-17 2-15,0 0 16,0-1-16,18-18 15,-36 19 1,1 34 0,-2 54-1,19-54-15,-17 19 16,17-18-16,-17 18 0,-1 69 16,18-88-16,0 1 15,0 18-15,0-19 0,18 36 16,-1-53-16,0 18 15,-17-1-15,36-17 16,-18 0-16,35 0 16,-36 0-16,1-17 15,-1-1-15,2 1 0,-2-19 16,0 19-16,1-19 0,18-52 16,-19 53-16,-17-1 15,17 1-15,-17-1 0,18 19 0,-18-18 16,0 17-16,0 0 0,18 1 15,-18 0 1,-18-1-16,0 53 31,1 18-15,17-35-16,-17-1 0,17 19 16,0 16-16,-18-33 0,18 50 15,0-50 1,0-2-16,0 0 0,0 1 0,0 0 15,0 0-15,0-1 16,18-17 0,52-35-1,-52 17 1,-1 0-16,0 1 0,19-19 16,-18 36-16,-18-17 15,17-1-15,-17 36 47,0-1-31,0 2-16,36-19 31,-19-19-15,1 19-16,-1 0 15,-17-17 1,19 17-16,-2 0 15,0 17 1,-17 2 0,0 15-1,-17-16-15,17 18 0,-17-19 0,17 0 0,-19 19 16,2-18-16,17 16 0,-18-15 16,1-2-16,0 1 0,-2-1 0,-16 19 15,35-19-15,-17-17 0,-2 18 16,2-18-1,0 0-15,-1 0 16,18-18-16,0 1 16,0-19-1,18 19-15,-18-1 0,17-18 32,0 36-32,-17-17 0,19 0 15,-19-1-15,17 18 0,-17-17 16,0-2-16,18 2 0</inkml:trace>
  <inkml:trace contextRef="#ctx0" brushRef="#br0" timeOffset="212290.22">17908 17701 0,'53'-35'15,"-18"35"-15,-18 0 16,1-19-16,0 19 0,0 0 16,-1 0-16,0 0 0,2 0 0</inkml:trace>
  <inkml:trace contextRef="#ctx0" brushRef="#br0" timeOffset="212460.27">18879 17666 0</inkml:trace>
  <inkml:trace contextRef="#ctx0" brushRef="#br0" timeOffset="-174543.09">12035 5742 0,'34'17'31,"-34"18"-15,18-16-16,-18-2 0,0 0 0,0 54 15,0-36 1,0-17-16,0 0 0,0-1 0,0 19 16,0-1-16,0-18 15,0 2-15,0-2 0,0 0 16,0 18-16</inkml:trace>
  <inkml:trace contextRef="#ctx0" brushRef="#br0" timeOffset="-174268.55">12052 5794 0,'17'0'16,"37"19"0,-37-2-16,-17 0 0,17-17 0,37 54 15,-37-54-15,-17 17 16,17 0-16,19 19 15,-18-18-15,-1-1 16,0-17-16,2 0 16</inkml:trace>
  <inkml:trace contextRef="#ctx0" brushRef="#br0" timeOffset="-174031.61">12581 5883 0,'0'-18'0,"-18"18"16,0 0 0,1 18-16,0-18 15,-1 18-15,-18 16 16,19-16-16,0-18 16,17 18-16,-19 0 0,2-1 15,-1 0-15,1 2 16,17-2-16,-19-17 15,38 18 1</inkml:trace>
  <inkml:trace contextRef="#ctx0" brushRef="#br0" timeOffset="-173824.47">12545 5865 0,'0'-18'0,"18"36"46,-18 18-46,0-19 16,0 0-16,0 1 0,0 0 0,0 17 16,18-18-16,-36 37 0,18-18 15,18-2 1,-18-16-16,0-1 0,0 19 0,0-19 0,0 1 16,18 0-1</inkml:trace>
  <inkml:trace contextRef="#ctx0" brushRef="#br0" timeOffset="-173398.52">13004 6042 0,'-17'-19'0,"-19"19"16,18 19-16,1-2 15,-18 1 1,35-1-16,-18 2 0,18-2 16,-18-17-16,18 17 0,18 1 31,18-18-16,-19-18 1,0 18-16,19-17 0,-18 17 31,-1-17-31,0 34 16,2 0 0,-19 1-16,17-1 15,1 2 1,-18-2-16,17-17 0,2 17 15,-2-17-15,0 0 16,1 0-16</inkml:trace>
  <inkml:trace contextRef="#ctx0" brushRef="#br0" timeOffset="-173128.66">13428 6077 0,'-36'-18'16,"19"18"-16,-1 0 15,1 0 1,-2 18 0,19-1-16,0 2 0,0 15 15,0-16-15,19-1 16,-19 2-16,17 15 16,-17-16-16,18 0 15,-18 0-15,0-1 16,-18 0-1,1-17-15,17 18 0,-19-18 16</inkml:trace>
  <inkml:trace contextRef="#ctx0" brushRef="#br0" timeOffset="-172903.54">13551 5918 0,'0'-17'0,"18"17"32,-18 17-17,0 36 1,0-35-16,0-1 0,-18 36 16,18-35-16,0 18 0,-18-19 15,18 0-15,0 1 0,-17 35 16,17-36-1,0 1-15</inkml:trace>
  <inkml:trace contextRef="#ctx0" brushRef="#br0" timeOffset="-172579.9">13904 5989 0,'-17'0'0,"-37"17"31,37-17-31,0 0 0,-2 17 0,2-17 16,-1 19-16,1-19 0,-2 17 0,2 1 15,0-1-15,-1-17 16,18 19-16,-18-19 0,18 17 0,0 0 15,0 1 1,18-1 0,0-17-1,-1 0-15,0 0 0,2 0 16,16 0 0,-18 0-16,19 0 0,-19 0 0,1 0 15</inkml:trace>
  <inkml:trace contextRef="#ctx0" brushRef="#br0" timeOffset="-172326.08">14187 6059 0,'-19'-17'16,"2"17"-16,-1 17 15,18 1 1,0-1-16,18 2 15,-18-2-15,17 18 16,-17-18-16,0 2 0,19-19 16,-19 17-16,0 0 15,-19 1-15,-33 18 16,33-36-16,2 17 16,0-17-16,-54 17 15</inkml:trace>
  <inkml:trace contextRef="#ctx0" brushRef="#br0" timeOffset="-171702.51">15527 5971 0,'17'0'0,"-17"-18"16,36 54 15,-36-19-31,0 0 0,17 2 0,-17 52 16,0-37-16,18-16 15,-18-1-15,-18 2 0,18-2 16,0 0-16,0 1 0,0 0 16,0 0-16,0-1 15,18-70 16,-18 35-31,0 1 16,17-19-16,2 1 16,-19 18-16,17 0 0,0-2 0,-17 2 15,18 17-15,-1-18 0,2 1 16,-2 17-16,0 0 0,1 0 16,-18 17-16,18-17 15</inkml:trace>
  <inkml:trace contextRef="#ctx0" brushRef="#br0" timeOffset="-171412.76">15932 6271 0,'17'-53'0,"-34"36"15,0 17 17,-1 34-17,18-16 1,0 0-16,0 0 16,18-1-16,-1-17 15,36 17 1,-35-17-16,-1 0 0,2 0 15,-2 0-15,0 0 0</inkml:trace>
  <inkml:trace contextRef="#ctx0" brushRef="#br0" timeOffset="-170690.49">16356 6218 0,'-19'-17'15,"38"34"-15,-55-34 0,19 17 16,-18 0-1,16 17-15,2 0 16,0 1 0,17 0-16,-18 0 15,18-1-15,0 18 16,18-35 0,-1 18-16,0-36 15,2 18-15,-2 0 16,-17-18-16,18 18 0,-1-17 15,-17 0-15,17-1 0,-17-18 0,19 19 0,-19-19 16,17 1-16,-17 1 0,18-2 0,-18-18 16,17 37-16,-17-36 15,0 35-15,19 1 0,-19 0 0,0-1 16,0 53 15,-19 53-15,19-52-16,0-19 15,0 18-15,0-16 0,0 33 16,19-16 0,-2-19-16,-17 0 0,17 1 0,1 0 15,0-18-15,0 18 16,-1-18-16,0 0 0,-17-18 16,18 18-16,0 0 0,0-18 15,-1 18-15,-17-18 16,17 18-16,-17-17 15,19 17-15,-19 35 32,0-17-1,0 0-31,17-18 16,1 0-16,18 0 31,-19 0-31,0-18 0,1 18 15,-1 0-15,2-18 16,-2 18-16,-17 18 16,17-18 15,1 18-31,0-18 16,34 0-1,-33 0-15,-2 0 0</inkml:trace>
  <inkml:trace contextRef="#ctx0" brushRef="#br0" timeOffset="-170318.81">17255 6130 0,'-35'-17'0,"18"17"15,-1 17 1,0-17-16,0 17 0,18 1 15,-17-1-15,17 2 16,0-2-16,0 0 16,17 1-16,1-18 0,0 18 15,0-18-15,-1 0 16,18 0-16,-17-18 0,17 18 16,-18-18-16,2 18 0,16-17 15,-18 0 1,0 17-16,2 17 47,-19 0-32,17-17-15,1 18 32,-1-18-32,2 0 15</inkml:trace>
  <inkml:trace contextRef="#ctx0" brushRef="#br0" timeOffset="-170001.27">18808 6235 0,'0'18'16,"0"0"-16,0 0 0,0-1 15,0 0-15,0 1 16,0 0-16,0 0 0,0-1 31</inkml:trace>
  <inkml:trace contextRef="#ctx0" brushRef="#br0" timeOffset="-169506.41">18948 6165 0,'19'70'15,"-2"-70"-15,-17 18 16,0 0-16,0 0 16,17-18-16,-17 17 15,18-34 17,18 17-17,-19 0 1,18 0-1,-17 0-15,17 0 16,1 17 0,-19-17-16,1 0 0</inkml:trace>
  <inkml:trace contextRef="#ctx0" brushRef="#br0" timeOffset="-168952.67">19601 5883 0,'-17'52'16,"17"-34"-1,0 0-15,0 17 0,0 1 16,0-1-16,0 53 0,0 18 15,0-36-15,0-17 16,0-17-16,0-19 0,0 18 0,0 1 16,-19-19-16,19 1 0,-17-1 15,17 2-15,-17-2 0,-1 0 16,1-17-16,-2 0 16,2-17-1,17 0-15,0-2 16,0 2-16,0-1 15,17 1-15,2 0 0,-2-19 16,18 18-16,18-35 16,1 0-16,-2 1 15,-16 34-15,-19 0 0,-17 0 16,35 1-16,-17 0 16,-18-2-1,-18 55 1,0-36-1,18 17-15,0 1 16,-17 0-16,17 0 0,0-1 16,17 0-1,1 1-15,0-18 16,0 18-16,-1-18 0,0 0 16,19-18-16,-18 18 15,-1 0-15</inkml:trace>
  <inkml:trace contextRef="#ctx0" brushRef="#br0" timeOffset="-168378.21">20165 6235 0,'0'-17'0,"-17"34"31,0-17-15,-1 18-16,0 18 16,0-19-16,1 0 15,17 1-15,0 0 16,0 0-16,0-1 0,17-17 15,-17 17-15,18-17 0,0 19 16,0-19-16,-1 0 0,18-19 16,1 19-16,-19 0 0,-88-176 15,159 335-15,-52-176 0,-18-1 0,35-18 16,-18 2-16,18-37 16,-36 35-16,19-16 0,-18 16 15,16 1-15,-15-1 0,16-34 16,-35 52-16,17 1 15,0 0-15,-34 51 32,17-16-17,0 18-15,0-19 0,-17 19 0,17-1 16,-18 18-16,18-18 16,0 1-16,0-19 0,-17 18 0,17-17 15,0 0-15,-19 16 16,19-16-16,0 0 0,-17 0 15,17-1-15,-17-17 16,17-17 15,0-1-31,0 0 16,17 0 0,0 18-1,2 0-15,-2 0 16,18 0-16,-35-17 0,17 17 15,2 0-15,-2 0 16,1 0-16,-1 0 16,-17-17-16</inkml:trace>
  <inkml:trace contextRef="#ctx0" brushRef="#br0" timeOffset="-168232.61">20589 5989 0,'-17'-18'0</inkml:trace>
  <inkml:trace contextRef="#ctx0" brushRef="#br0" timeOffset="-168005.75">20907 6042 0,'17'17'0,"-34"37"16,17-20-1,0-16 1,-18 35-16,18-36 15,0 1-15,0 0 16,0 0-16,0-1 16</inkml:trace>
  <inkml:trace contextRef="#ctx0" brushRef="#br0" timeOffset="-167734.34">20977 5847 0</inkml:trace>
  <inkml:trace contextRef="#ctx0" brushRef="#br0" timeOffset="-167283.45">21100 5989 0,'-35'34'0,"35"2"15,0-18 1,0-1-16,0 2 15,18-2-15,-1-17 16,19 17 0,-19-34-16,1 17 15,0 0-15,-18-17 0,18 17 0,-18-19 16,17 2-16,-17-1 16,0 1-16,0-2 0,0 2 15,0 0 1,0 34 31,35 19-32,-17-19-15,0 1 16,-1-1-16,0 2 16,2-19-16,-2 17 15,1-17-15,-18 17 16,17-17-1</inkml:trace>
  <inkml:trace contextRef="#ctx0" brushRef="#br0" timeOffset="-166863.16">18684 5935 0,'-17'0'16,"-1"0"0,18-17-16</inkml:trace>
  <inkml:trace contextRef="#ctx0" brushRef="#br0" timeOffset="-166176.89">10235 5830 0,'106'17'0,"-88"-17"0,16 0 16,2 0-16,35 0 0,-36 0 16,1 0-16,-2 0 15,37 0-15,-36 0 0,18 0 16,-36-17-16</inkml:trace>
  <inkml:trace contextRef="#ctx0" brushRef="#br0" timeOffset="-165952.43">10764 5689 0,'17'-18'31,"2"18"-31,-2 0 16,35 18-16,-33-18 15,52 53-15,-37-18 16,2-18-16,-18 2 0,-1 33 16,0-16-16,-17-19 15,-17 36-15,0-35 0,-1 16 16,0-15-16,-17 33 16,18-33-16,-19-2 0,-123-458 0,300 899 15</inkml:trace>
  <inkml:trace contextRef="#ctx0" brushRef="#br0" timeOffset="-165470.43">11823 5477 0,'0'424'16,"0"-354"-16,-18 141 0,0-140 0,18-18 16,0 0-16,0-1 15,-18 2-15,18 16 0,0-52 16,0-1-16,0 2 0,0-2 0,0 0 16</inkml:trace>
  <inkml:trace contextRef="#ctx0" brushRef="#br0" timeOffset="-163856.27">11823 5354 0,'17'-19'15,"0"19"-15,2 0 0,33 0 16,-16 0-16,16 0 16,1 0-16,89-17 0,-72 17 15,142-17-15,-106 17 0,123 0 16,-106 0-1,1 0-15,158 0 0,-88 0 0,-17 0 16,-1 0-16,195 17 16,-178-17-16,2 0 0,-2 0 15,214 0-15,-197 0 0,20 0 16,-18 0-16,246 17 0,-228-17 16,-1 0-16,0 19 0,-17-19 15,18 17-15,192 1 0,-210-18 16,-18 17-16,212 19 0,-212-19 15,-18-17-15,18 18 0,-18 0 16,283 34 0,-123-16-16,-213-36 0,1 18 15,34-1-15,89 19 0,-123-19 16,87 18-16,-87-18 0,-19 2 16,178 33-1,-213-33-15,1-19 0,-18 17 16,53 0-16,-53 1 0,-18-18 15,-18 0-15,36 18 16,-35-18-16,0 0 16,-18 18-16,18-18 0,-1 0 15,0 0 1,-17 17 0,18-17-16,-18 17 15,18 19 1,0-36-16,-18 18 0,17 16 15,0 2-15,-17-18 16,0-1-16,19 36 0,-19 18 16,0-36-16,-19 53 15,2-35-15,0 35 16,-19 19-16,18-73 16,-34 73-16,16-19 15,2-17-15,15-37 0,2 2 16,-18 16-16,35-34 15,-36 0-15,19 0 16,-18-1-16,-18 0 16,35-17-16,-18 19 15,2-19-15,-20 0 0,-70 0 16,36 0-16,-70-19 0,-54 2 16,106 17-16,1 0 15,-107-17-15,-17-19 16,105 36-16,-123-18 15,-17-16-15,105 16 16,-141 0-16,-17-17 0,-36-1 16,-141-16-1,336 33-15,-20 2 0,20 0 16,-177-18-16,-160-18 16,337 35-16,-124-18 15,124 19-15,-142-19 16,141 19-16,-89-18 15,125 18-15,-1-2 0,-140-16 16,140 18-16,2-2 0,-126 2 16,18-18-16,125 17 15,0 18-15,-107-35 0,106 35 16,0-17-16,18-1 16,-106 0-16,105 0 0,-51 18 15,-1-17-15,-1 0 16,72 17-16,-1-19 15,18 19-15,-70 0 0,52 0 16,18 0-16,18-17 0,-53 17 16,35 0-16,17 0 0,-52 0 15,53 0-15,-53 0 16,52 17-16,2-17 0,-2 0 0,1 0 16,18 0-16,-19 0 0,-52 19 15,70-19-15,-18 0 16,19 17-16,-18-17 0,17 0 15,0 0 1,1 17-16,0-17 16,-2 0-16,19 18 15,-17-18-15,17 18 16,-18-18 15,18 18 0</inkml:trace>
  <inkml:trace contextRef="#ctx0" brushRef="#br0" timeOffset="-161987.49">24399 5389 0,'0'36'15,"0"-19"-15,0 0 0,0 19 16,0 34-1,0-17-15,0-17 0,0-1 16,-18-1-16,18-15 16,0-2-16,0 1 0,0 18 15,0-19 1</inkml:trace>
  <inkml:trace contextRef="#ctx0" brushRef="#br0" timeOffset="-161497.86">24664 5406 0,'-19'36'31,"19"-19"-31,0 19 16,0-18-16,0-1 0,0 0 15,0 1-15,19 0 0,-2 17 16,18 1-16,-16-19 16,-2-17-16,0 0 15,1 0-15,-1 0 16,2-17-16,-19-2 0,0 2 31,0-18-31,0 17 0,-19 18 16,19-18-16,0 1 0,-17 17 0,17-17 15,-18-1-15,1 0 0,0 0 16,-2 18 0</inkml:trace>
  <inkml:trace contextRef="#ctx0" brushRef="#br0" timeOffset="-161186.78">24840 5389 0,'53'106'47,"-53"-88"-47,18-1 16,-1 0-16,0 1 0,19 0 16,-18-18-16,-1 0 15,0 0-15,2 0 16,-2 0-16,1 0 0,-1-18 15,2 0-15,-19 1 0,0 0 16,0-1-16,0-18 16,-283-34-16,566 123 0,-302-53 0,19-17 15,-17-2-15,-1 19 16,18-17-16,-36 34 16,19 2-1,17-2-15</inkml:trace>
  <inkml:trace contextRef="#ctx0" brushRef="#br0" timeOffset="-160630.72">25616 5335 0,'0'-17'0,"-17"53"15,17-1-15,0 1 16,0 16 0,-18 18-16,18-34 0,-18-1 15,0 36-15,18-54 0,0 36 16,-17-35-16,17 18 16,0-19-16,-17 0 15,-2-51 16,38 15-31,-19 2 16,0-37-16,34-15 16,-16 33-16,-18 1 0,18 17 0,0-17 15,-18 18-15,17-1 0,0 0 16,2 18-16,-2 0 16,1 0-16,-1 18 15,-17 0 1,0-1-16,0 0 15,-17-17-15,17 18 0,0 0 16,-18 0-16,18-1 16</inkml:trace>
  <inkml:trace contextRef="#ctx0" brushRef="#br0" timeOffset="-159947.72">25969 5583 0,'18'-36'0,"-18"2"15,0 16 1,-36 53 15,18-35-31,18 17 16,0 1-16,0 18 15,18-19 1,0-17-16,-18 17 16,18-17-16,-1 0 0,0 19 0,2-19 15,-2 0-15,1 0 0,-1 0 16,19-19-16,-19 19 0,1 0 15,-1-17-15,19 17 0,-19-17 16,1 17-16,-18-18 16,18 18-16,-18-18 15,-18 36 17,18 0-17,0-1-15,18 0 16,0 2-16,-1-19 15,-17 17-15,35-17 16,1 0-16,-2 0 16,-15-17-1,-19-2 1,17 19-16,-17-17 16,-17 0-16,-2-1 31,2 36-16,17-1 1,0 0 0,0 2-1,17-19-15,-17 17 16,19-17-16,-2 0 0,1 0 16,16 18-16,-15-18 15</inkml:trace>
  <inkml:trace contextRef="#ctx0" brushRef="#br0" timeOffset="-159548.06">26675 5513 0,'17'0'16,"-34"34"-1,17 2 1,0 16-16,0-16 15,-18-1-15,18 1 16,0-19-16,-18 37 0,18-37 16,-18 36-16,1-35 15,17-1-15,71-405 16,-71 371-16,-88 439 0,105-456 47,0-2-47,1 1 0,-18 18 15,36-19-15,-36 18 16,34 1-16,2 17 16,-18 0-1,-1 17 1,-34 1 0,-1-18-16,0 17 15,0-17 1,1 19-16</inkml:trace>
  <inkml:trace contextRef="#ctx0" brushRef="#br0" timeOffset="-159133.58">28403 5565 0,'17'18'15,"-17"34"1,0-33-1,0-2-15,0 18 0,0-18 16,0 2 0,0-2-16</inkml:trace>
  <inkml:trace contextRef="#ctx0" brushRef="#br0" timeOffset="-158770.5">28703 5583 0,'0'0'15,"-18"18"17,1-1-32,17 0 15,17 37 1,-17-37-1,18 0-15,-1 2 0,2-19 16,15 0-16,-16 0 16,0 0-16,0 0 15,-1-19-15,-17 2 16,0-18 0,0 18-16,-17 17 15,17-19-15,-18 2 16,0 0-1</inkml:trace>
  <inkml:trace contextRef="#ctx0" brushRef="#br0" timeOffset="-158464.64">29020 5601 0,'-17'17'16,"34"-34"-16,-17 34 16,0 0-16,0 2 15,19-2-15,-2 1 16,0-1-16,1 0 16,-1-17-16,2 0 0,-2 0 15,18 0-15,-17 0 16,-18-17-1,18 0-15,-18-1 16,-18 1 0,18-19-16,-18 19 15,18-1-15,-18 18 16,18-18-16,-17 18 16</inkml:trace>
  <inkml:trace contextRef="#ctx0" brushRef="#br0" timeOffset="-158035.16">29567 5301 0,'0'34'16,"0"2"-16,-18 52 15,18-52-15,-17 16 16,17-16-16,0-1 0,-17 53 16,17-52-16,0-1 0,-19 1 15,19 16-15,0-34 16,0 0-16,0-1 0,0 0 0,0-34 47,19 0-47,-2-37 0,-17 37 15,17-19-15,54-69 16,-35 70 0,-1 16-16,-18 2 15,0 17 1,-17 17-16,0 19 16,-17-36-1,17 18-15,-17-18 0,17 17 16,-18 0-16,1 2 15,-2-19-15,19 17 0</inkml:trace>
  <inkml:trace contextRef="#ctx0" brushRef="#br0" timeOffset="-157738.77">29884 5706 0,'36'-35'0,"-19"18"16,-70 69-16,124-123 0,-71 54 0,18 17 16,-18-17-16,18-1 15,-18 0-15,-18 36 32,18 0-17,-18-18-15,18 17 0,0 0 16,0 2-16,-18-2 15,18 1-15,18-18 0,-18 17 16,0 0-16,18 2 0,0-19 16,-18 17-16,17-17 0,0 0 15,-17 18-15</inkml:trace>
  <inkml:trace contextRef="#ctx0" brushRef="#br0" timeOffset="-157442">30273 5723 0,'0'-34'16,"0"16"0,-18 18-16,0 18 15,1-18 1,17 17-16,0 0 16,53-17-16,-106 19 15,70-19-15,-17 17 16,18-17-1,0 0-15,0 0 0,-1-17 16,0 17-16,-17-19 0,18 2 16,-18 0-16,0-1 15,0 1 1,-18-2-16,1 2 16,0 17-1,-1-17-15</inkml:trace>
  <inkml:trace contextRef="#ctx0" brushRef="#br0" timeOffset="-157030.64">30537 5389 0,'0'0'15,"0"36"1,-17-19-16,17 0 0,0 1 0,0 18 15,0-19-15,-17 18 0,17 1 16,-19-2-16,19 2 0,-17-18 16,-1 16-16,1 20 0,17-18 0,-19-19 15,19 0-15,0 1 16,-17 0-16,17 0 0,0-1 16,17-52 15,19-35-16,-18 51 1,-1-16-16,19-18 0,-19 36 16,1-1-16,18 1 15,-19-2-15,0 38 32,-34 16-17,0-18-15,-2-17 0,19 17 16,-35 19-16,18-36 15,17 18-15,-17-1 0</inkml:trace>
  <inkml:trace contextRef="#ctx0" brushRef="#br0" timeOffset="-156718.5">30891 5442 0,'-36'53'16,"18"-35"-16,1-1 0,17 0 15,0 1-15,-19 0 0,19 17 16,0-18-16,0 2 16,19-19-16,-2 0 15,1 17 1,-1-17-16,2 0 15,-2 0 1,-17 18-16,17-1 31,1 0-15,-1-17-16</inkml:trace>
  <inkml:trace contextRef="#ctx0" brushRef="#br0" timeOffset="-153928.53">26763 6359 0,'53'-18'0,"-89"36"47,1-18-31,17 18-16,0-18 0,1 0 15,17 17-15,-17-17 0,-1 0 0,0 17 16,0-17-16,18 19 16,18-2-1,18 1 1,-36-1-16,17-17 15,0 0-15,1 19 0,-18-2 0,18-17 16,0 17 0,-18 1-16,17-18 0,-17 17 15,-17 2-15,-1-2 0,0 0 32,0 1-32,1-18 0,0 18 15,-1-18 1</inkml:trace>
  <inkml:trace contextRef="#ctx0" brushRef="#br0" timeOffset="-153531.58">27151 6306 0,'0'17'16,"17"19"15,-17-18-31,-17-18 0,17 17 0,0 0 16,0 2-16,0-2 0,0 1 0,0-1 15,0 2-15,0-2 16,0 0 0,-18 1-1,-18-18 1,19-18-1,0 18-15,-1 18 0,-35-18 16,36 0 0,-2 17-16,2-17 0,-1 19 0,1-19 15,17 17-15,-17-17 16,17 17-16,0 1 16,17 0-16,0-18 15,1 18 1,-1-18-16,2 0 0,-2 0 15,88 0-15,-86 0 0,16 0 16</inkml:trace>
  <inkml:trace contextRef="#ctx0" brushRef="#br0" timeOffset="-152919.15">27609 6482 0,'-53'-17'0,"18"17"16,18 17-1,-2-17-15,19 19 16,-17-2-16,0 0 16,17 1-1,17-1-15,0 2 16,2-19-1,-2 0 1,18-19 0,-18 19-16,2 0 0,-2 0 15,1 0 1,-1 19 15,2-2-15,15-17-1,-16 0-15,0-17 0,0 17 16,-1 0-16,0 0 16,1 0-16,0-19 15,0 38-15,-1-19 16,0 17 0,-17 0-16,0 19 15,0-1 1,-17 1-1,17-19-15,-17-17 0,51-17 47,-34-2-47,19 2 0,-2 0 16,18-19-16,-16 18 0,15-16 0,37-20 16,-54 37-16,1 0 15,0-2-15,17-16 0,-18 18 16,-17-2-16</inkml:trace>
  <inkml:trace contextRef="#ctx0" brushRef="#br0" timeOffset="-151565.68">25440 7258 0,'0'-17'0,"0"53"16,0-19-16,0 0 16,0 37-16,0-37 15,-17 36-15,17-35 16,-19 35-16,19-1 0,0-33 16,0-2-16,0 0 15,0 1-15,0-1 0</inkml:trace>
  <inkml:trace contextRef="#ctx0" brushRef="#br0" timeOffset="-151189.52">25404 7294 0,'36'-36'0,"-19"19"16,1 17-16,-89 53 0,159-106 16,-69 53-16,-2 0 15,-17 17-15,17 2 0,-34 15 32,17-16-32,-17 0 0,-19 17 15,18-18-15,1-17 0,17 18 16,-17-18-16,-2 18 15,2 0 1,34-1 0,2 0-1,-2-17-15,0 19 0,1-19 16,-1 0-16,2 0 0,-2 17 16,36-17-16,-18 0 15,-18 0-15,2 0 0,-2 0 0</inkml:trace>
  <inkml:trace contextRef="#ctx0" brushRef="#br0" timeOffset="-150844.7">25721 7311 0,'0'0'15,"36"-17"1,-18 17-16,52 0 31,-52 0-31,-1 0 0,2 0 0,15 0 16,-16 0 0,-18 17-16,18-17 15,-18 18-15,0 0 16,0 0-16,-18-1 0,18 0 15,0 1-15,0 0 16,-18 0-16,18-1 16,0 19-16,0-19 0,0 1 15,0-1-15,0 2 16,18-19 0</inkml:trace>
  <inkml:trace contextRef="#ctx0" brushRef="#br0" timeOffset="-150452.83">26233 7470 0,'0'0'16,"0"36"-16,0-19 15,-17 1-15,17-1 16,0 2-1,0-55 17,0 18-17,17-35 1,-17 36-16,18-1 0,-18 0 0,18 0 16,0-16-16,16 16 15,-16 0-15,-18 0 16,18 18-16,0 0 15,-18 18-15,0 0 16,-18 0 0,0-1-16,0-17 15,1 17-15,0-17 16,-1 18-16,18 0 16</inkml:trace>
  <inkml:trace contextRef="#ctx0" brushRef="#br0" timeOffset="-149976.58">26604 7329 0,'0'0'16,"17"0"-16</inkml:trace>
  <inkml:trace contextRef="#ctx0" brushRef="#br0" timeOffset="-149653.39">26339 7347 0,'-18'0'15,"1"0"-15,52 0 0,-70 18 16,18-18-16,-1 17 0,0 0 16,0 19-16,18-18 15,-17-1-15,17 0 0,-17 2 16,17-2-16,0 18 16,17-16-16,-17-2 0,35 0 15,-17-17-15,0 0 16,-1 18-16,0-18 0,19 0 0,-18 0 15,70-18 1,-71 1-16</inkml:trace>
  <inkml:trace contextRef="#ctx0" brushRef="#br0" timeOffset="-149169.65">26797 7311 0,'-17'36'16,"17"-18"-16,0-1 0,-17 0 16,17 1-16,0 0 0,-18 0 15,18-1-15,-18 19 0,18-1 16,0-18-16,-18-17 16,18 19-16,88-285 15,-158 496 16,70-248-31,18-18 0,17-16 16,-18 16-16,19 19 0,-18 0 16,-1-1-16,2 0 0,-2 0 15,18 18-15,-18 0 16,-34 18 0,-1 0-16,1 0 15,0-1-15,-2-17 16,2 17-16,-1 1 0,1-18 0,-2 18 15,2-18-15,17 18 0,-17-18 0,17 17 16,-18-17-16,18 17 16,18-17-1,-1 19-15,0-19 16,2 0-16,-2 17 0,1-17 16,-1 0-16,36 0 0,-35 18 15,-1-18-15,2 0 0,-2 0 16,0 0-16,1 0 15,0 0-15</inkml:trace>
  <inkml:trace contextRef="#ctx0" brushRef="#br0" timeOffset="-148595.89">29955 7065 0,'-18'34'31,"18"-15"-31,0 16 0,-17-18 16,17 19-16,-17 16 16,17-33-16,-19 15 0,19-16 15,0 18-15,-17-2 0,17-16 16,0 0-16</inkml:trace>
  <inkml:trace contextRef="#ctx0" brushRef="#br0" timeOffset="-148097.87">30079 6994 0,'53'17'16,"-36"-17"-16,18 36 15,-35-18 1,0 16-16,-17-15 16,-1-19-16,18 17 0,-36 18 15,19-35-15,0 19 0,-18-2 16,16 0-16,2-17 0,0 18 16,-1-18-16,18 17 15,0 2 1,0-2-16,18 0 15,-1 1 1,0-18-16,2 18 0,-2 0 16,1-18-16,-18 17 0,17-17 15,19 0-15,-36 17 0,17-17 16,1 0-16,-1 0 0</inkml:trace>
  <inkml:trace contextRef="#ctx0" brushRef="#br0" timeOffset="-147475.2">30503 7047 0,'-19'35'31,"2"-18"-15,17 2-16,0-2 16,-18 18-16,1 1 0,-2-1 15,19-18-15,0 2 0,-17-2 16,17 0-16,-17 1 0,17 0 15,0 0-15,-18-1 16,18 0 0,-18 1-1,18 0 48,18-36-1,0 0-46</inkml:trace>
  <inkml:trace contextRef="#ctx0" brushRef="#br0" timeOffset="-147219.54">30325 7135 0,'18'-17'15,"0"17"1,17 0 0,1 0-16,-1 0 15,1-19-15,16 19 16,-35 0 0</inkml:trace>
  <inkml:trace contextRef="#ctx0" brushRef="#br0" timeOffset="-146926.62">30837 7047 0,'-17'18'16,"17"-1"-1,-19 36 1,2-35-16,17 18 0,0-19 16,-17-17-16,17 17 15,-18 18-15,18-16 0,0-2 16,-17 0-16,17 1 16,0 0-1,0 0 1</inkml:trace>
  <inkml:trace contextRef="#ctx0" brushRef="#br0" timeOffset="-146406.1">30960 7065 0,'-17'-18'0,"-1"18"0,1 18 15,0-18-15,17 17 0,-19-17 0,2 17 16,-1 2-16,18-2 0,-17 1 16,-2-1-16,19 2 0,-17-2 15,17 0-15,0 1 0,0 18 0,0-19 16,0 0-16,0 1 16,17 0-16,-17 0 15,36-1-15,-18-17 0,-18 17 16,17-17-16,2 0 0,-2 0 15,0 0-15,1 0 0</inkml:trace>
  <inkml:trace contextRef="#ctx0" brushRef="#br0" timeOffset="-145920.98">31172 7153 0,'0'-18'15,"0"36"-15,-17-1 32,17 2-32,0-2 15,-18 18 1,18-18-16,-17 2 0,17 15 0,-19-16 16,19 0-16,0 0 15,-17-18 1,34-36 31,2 1-47,-2 18 15,-17-19-15,18 18 0,-1 1 0,0 0 16,2-2-16,-2 2 0,1-1 0,-1 1 16,2 17-1,-2 0 1,-17 17-16,-17 1 15,17-1-15,-36 2 16,36-2-16,-18 0 0,1 1 16,-2-1-1,19 2-15,0-2 16,19-17-16,-2 0 16,1 0-1,-1 17-15,2-17 0,-2 0 16,0 0-16</inkml:trace>
  <inkml:trace contextRef="#ctx0" brushRef="#br0" timeOffset="-144257.65">26357 7982 0,'52'-17'0,"-33"17"16,-2 17 0,-34 18-1,-2 1 1,2-19-1,0-17-15,-1 17 0,18 1 0,-36 0 16,36 0-16,-17-18 16,17 17-16,-17-17 15,17 17-15,0 2 16,52-19 15,-16 0-31,-19 0 0,0 0 16,2 0-16,-2 0 15,1-19-15,-1 19 0,0 0 0,2 0 16,-2 0-16,1 0 0,-1 0 0</inkml:trace>
  <inkml:trace contextRef="#ctx0" brushRef="#br0" timeOffset="-143371.87">27009 7875 0,'0'36'31,"0"-18"-31,0-1 0,0 2 16,0-2-16,0 0 0,0 1 0,-17-1 15,17 2-15,0-2 0,0 18 16,0-17-16,0 0 16,0-1-16,-17 0 15</inkml:trace>
  <inkml:trace contextRef="#ctx0" brushRef="#br0" timeOffset="-143196.6">26851 8087 0,'0'-17'16,"17"17"0,19 0-1,-19 0-15,1 0 16,-1 0-16,19 0 16,-19 0-16,1 0 0,35 0 15</inkml:trace>
  <inkml:trace contextRef="#ctx0" brushRef="#br0" timeOffset="-142719.65">27327 7999 0,'0'-17'0,"0"34"0,18-17 32,0 35-17,-1-35-15,-17 19 0,17-2 16,-17 0-16,18-17 15,-18 18-15,18 0 16,-18 0 0,18-18-1,-1-18 1,-17 0 0,17 0-1,-17 1 1,19 17-1,-19-17-15,17 17 16,-17-19-16,18 19 16,-1 0-16,0-17 15,-17-1 17,-17 53-1,34-16-16,2-2 1,16-17 0,-18 0-1,2 0-15,-2 17 0,18-17 16,-17 0-16,17 0 0,-18 0 16</inkml:trace>
  <inkml:trace contextRef="#ctx0" brushRef="#br0" timeOffset="-141499.79">30608 7753 0,'-36'-18'0,"19"18"16,-1 18-16,1-18 0,17 17 16,-36 0-16,19-17 0,17 19 15,-18-2 1,18 1-16,18-18 31,18 0-15,-36-18-16,17 18 15,0 18 1,-17-1 0,0 0-16,0 19 15,0-18-15,0-1 16,-17-17-16,17 19 0,0-2 0,0 0 15,0 1-15,0-1 16,17-17 15</inkml:trace>
  <inkml:trace contextRef="#ctx0" brushRef="#br0" timeOffset="-141066.29">30855 7841 0,'17'17'15,"-17"19"1,0-19-16,0 1 0,0-1 15,-17 2-15,17-2 0,-18-17 16,18 17-16,-17 1 16,52-36 31,1-16-32,-19 34-15,-17-19 16,17 2-16,-17-1 0,18 18 15,-18-17-15,17-2 0,-17 2 0,19 0 16,-19-1-16,0 1 16,0-2-1,-19 19-15,-16 0 32,35 19-17</inkml:trace>
  <inkml:trace contextRef="#ctx0" brushRef="#br0" timeOffset="-140824.53">31401 7806 0,'0'35'16,"0"-18"-16,0 0 0,0 2 15,-17 33 1,17-33-16,0-2 0,0 0 16,0 1-16,-17-1 0,17 2 15</inkml:trace>
  <inkml:trace contextRef="#ctx0" brushRef="#br0" timeOffset="-140650.6">31208 8017 0,'0'0'0,"17"-18"16,1 18-1,-1-17-15,2 17 16,-2 0-16,0 0 0,1 0 0,18-17 15,16-2 1,-34 19-16</inkml:trace>
  <inkml:trace contextRef="#ctx0" brushRef="#br0" timeOffset="-140251.04">31631 7875 0,'17'0'16,"-17"19"-16,19-2 15,-2 1-15,-17-1 16,-71-88-16,159 142 0,-158-142 0,140 161 0,-52-73 16,-18 0-1,18-17-15,0 18 16,16-18 15,-34-18-15,18 18-16,0-17 15,0 17-15,-18-17 16,17 17-16,0-19 16,2 19-1,-19 19 32,17-19-31,-17 17-1,18-17 1,-18 17 0</inkml:trace>
  <inkml:trace contextRef="#ctx0" brushRef="#br0" timeOffset="-139674.77">31067 8246 0,'70'0'0,"-140"0"0,211 17 16,-70-17-16,-19 0 0,18 0 0,18 0 16,-17 0-16,0 0 0,17 0 15,0 0-15,1 0 0,-1 0 0,53-17 16,-70 17-16,-19-17 15,19 17-15,-18-18 0,-18 18 0,1-17 16,34-2-16,-18-15 16,-33 16-16,16 0 0,-18 0 15,-17 1-15,17 0 0,2-19 0,-19 18 16,0-16-16,0 15 0,0-52 16,-19 54-16,2-35 0,0 16 15,-18 1-15,-1-1 0,-52-17 16,35 18-16,-53-18 15,-35 18-15,70 18 16,1-2-16,-106-15 0,105 34 16,-88-18-16,89 18 0,-1 0 15,-17 0-15,0 0 0,17 18 16,-34-18-16,-55 34 0,72-15 16,0-2-16,17 18 0,-17-16 15,18-2-15,-1 18 0,19-18 16,-55 36-16,73-35 0,-54 52 15,52-51-15,1 33 16,16-16-16,19-19 0,0 18 16,19 18-16,16-18 0,35 36 15,1-35-15,70 17 16,-53-36-16,88 18 16,-88-18-16,19 2 0,-19-2 0,17-17 15,-17 18-15,107-1 16,-124-17-16,-1 0 0,1 0 15</inkml:trace>
  <inkml:trace contextRef="#ctx0" brushRef="#br0" timeOffset="-132391.85">20501 17471 0,'159'-17'0,"-142"17"0,1 0 15,35 0-15,-36 0 16,1 0 0</inkml:trace>
  <inkml:trace contextRef="#ctx0" brushRef="#br0" timeOffset="-132102.86">20731 17330 0,'17'-17'16,"0"34"0,1-17-16,70 36 15,-52-19-15,-2 1 0,2-1 16,-18 2-16,35 51 15,-53-52-15,0 52 16,0-52-16,-19 16 0,2-15 16,0 16-16,17-18 0,-18 2 15,1-2-15,-2 0 0,19 1 0,-17-18 16,0 17-16</inkml:trace>
  <inkml:trace contextRef="#ctx0" brushRef="#br0" timeOffset="-127575.75">22229 17242 0,'0'36'31,"0"16"-16,0-33-15,0 15 0,0-16 16,0 18-16,0-19 0,0 18 0,0-17 16,0 17-16,0-18 0,-17 1 15,17 0-15,0 17 0,0-18 0,0 2 16,0-2-16,17-17 31</inkml:trace>
  <inkml:trace contextRef="#ctx0" brushRef="#br0" timeOffset="-127205.64">22493 17330 0,'0'-17'16,"-34"34"-16,34 2 0,0-2 15,0 0-15,0 1 0,0-1 16,0 2-16,0-2 0,0 0 0,0 1 16,17 0-16,-17 0 0,17-18 0,-17 17 15,19 0-15,-2-17 0,1 18 16,-1-18-16,2-18 0,-2 18 16,0-17-16,1 0 15,0-1-15,-18 0 16,0 0-16,0 1 0,0 0 0,0-2 15,0 2-15,0-1 0,0 1 16,-18 0-16,18-2 0,-18 19 16,18-17-16,-17 17 0,17-18 0,-17 18 15,-2 0-15,2 0 16,-1 0 0,18 18-16</inkml:trace>
  <inkml:trace contextRef="#ctx0" brushRef="#br0" timeOffset="-126884.93">22793 17259 0,'0'54'15,"0"-37"-15,19 19 0,-19-19 16,17 1-16,-17-1 15,18-17-15,-1 19 0,-17-2 0,19-17 16,-2 0-16,-17 17 0,35-17 16,18-17-1,-53 0-15,17 17 0,1-19 16,0 2-16,-18-1 0,0 1 0,0 0 16,18-2-16,-36 2 0,18-1 15,-18 1-15,18-2 0,-18 2 16,-16 0-16,15-1 0,2 18 15,-1 0-15,1 0 16,-19 0-16,19 0 0,-1 0 0,1 0 16,-36 18-16,35-1 0</inkml:trace>
  <inkml:trace contextRef="#ctx0" brushRef="#br0" timeOffset="-124574.7">21277 17437 0,'-18'0'16,"71"0"30,-53-19-30,17 19-16,2 0 0,-2 0 0,35 0 16,-33 0-1,-2-17-15,1 17 0,-1 0 16,2 0-16,-2 0 16,0 0-16</inkml:trace>
  <inkml:trace contextRef="#ctx0" brushRef="#br0" timeOffset="-124386.83">21507 17418 0,'-19'53'0,"19"-17"15,-17-18-15,17 16 16,0-16-16,0 35 15,0-17-15,0-19 16,0 1-16,-18-1 0,18 54 16</inkml:trace>
  <inkml:trace contextRef="#ctx0" brushRef="#br0" timeOffset="-124178.68">21329 17877 0,'19'-18'31,"-2"1"-15,1 17-16,-1-17 0,36-2 15,-35 19 1,-18-17-16,17 17 0</inkml:trace>
  <inkml:trace contextRef="#ctx0" brushRef="#br0" timeOffset="-123712.64">21736 17577 0,'-19'-18'16,"2"36"-16,17 0 0,0 0 15,-17-1 1,17 36 0,0-35-16,0-1 0,0 2 0,17 33 31,0-35-31,2 2 16,16-38-1,-18-16 1,-17 18-16,19 0 0,-19-37 15,0 37 1,0-2-16,0 2 0,0 0 0,-19-19 16,19 18-16,0 1 15,0 0 1,-17 51 0,17 2-1,0-18 1,0-1-16,0 0 15,17 2-15,-17-2 0,0 1 0,0-1 16,19 2-16,-19-2 0,17 0 16,-17 1-16,0-1 0,17-17 15,-17 19-15,0-2 0,18-17 16,-1 0 0</inkml:trace>
  <inkml:trace contextRef="#ctx0" brushRef="#br0" timeOffset="-123467.89">21965 17559 0,'35'-34'0,"-18"34"0,2 0 15,-19 17 1,0 0 0</inkml:trace>
  <inkml:trace contextRef="#ctx0" brushRef="#br0" timeOffset="-123292.66">21895 17754 0,'0'17'16,"0"-34"-16,34 34 31,-16-17-31,18-17 16,-19 17-16,0-17 15,2 17-15,-2 0 0,1-19 16,-1 19-16,0-17 15,2 17-15</inkml:trace>
  <inkml:trace contextRef="#ctx0" brushRef="#br0" timeOffset="-122612.47">23940 17401 0,'53'-18'31,"-18"18"-15,-16 0-1,-2 0-15,0 0 0,1 0 16,0 0-16,0 0 0,-1 0 16,0 0-16,1 0 15,0 0-15,0-17 0</inkml:trace>
  <inkml:trace contextRef="#ctx0" brushRef="#br0" timeOffset="-122363.86">24205 17242 0,'52'17'0,"-52"2"15,36 33 1,-1-33-16,-35 15 15,19 20 1,-19-37-16,0 36 16,0-35-16,0-1 0,0 0 15,0 1-15</inkml:trace>
  <inkml:trace contextRef="#ctx0" brushRef="#br0" timeOffset="-121971">25316 16959 0,'0'36'31,"0"-18"-31,0-1 0,0 2 15,17 33-15,-17-16 0,0-19 0,0 0 16,19 19-16,-19-18 0,0-1 16,17 36-16,-17-35 0,0-1 15,18-17-15,-18 19 0,0-2 0</inkml:trace>
  <inkml:trace contextRef="#ctx0" brushRef="#br0" timeOffset="-121555.48">25211 17313 0,'-18'-18'31,"36"18"-31,-1 0 0,0-17 16,1 17-16,0-19 0,0 19 15,-1-17-15,0 17 16,2-17-16,-2 17 0,1-18 15,-1 18-15,2-18 0,15 0 16,-34 1 0,18 17-16,18 0 31,-19 17-15,-17 1-16,17-18 0,-17 18 0,18 0 15,-18-1-15,0 0 16,0 2-16,18-2 0,-18 1 31,18-53 16,-1-1-31,0 36-16,19-35 15,-18 17-15,-1 18 16,0 0-16,-17-18 0</inkml:trace>
  <inkml:trace contextRef="#ctx0" brushRef="#br0" timeOffset="-120878.78">25880 17083 0,'-17'54'16,"17"-37"-1,0 0 1,17 1-16,2 0 16,-2-18-16,0-18 31,19 0-16,-18 1 1,-1 17-16,-17-17 16,17 34-1,2 0 17,-2 1-17,1-18 1,-1 0-1,0 0-15,-17-18 0,19 18 0,-2-17 16,-17 0-16,18 17 0,-18-18 16,0 0-16,17 0 15,-17 1 1,0 52 31,0-17-32,19 0 1,15-18-16,-16 17 16,0-17-1</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6.829"/>
    </inkml:context>
    <inkml:brush xml:id="br0">
      <inkml:brushProperty name="width" value="0.025" units="cm"/>
      <inkml:brushProperty name="height" value="0.025" units="cm"/>
      <inkml:brushProperty name="ignorePressure" value="1"/>
    </inkml:brush>
  </inkml:definitions>
  <inkml:trace contextRef="#ctx0" brushRef="#br0">104 1,'-4'8,"-3"8,2 7,1 1,-4 2,0 2,1 0,2-1,-3-4,1-2,0-1,3 1,-4 2,0 1,3 1,0 1,2-5</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244"/>
    </inkml:context>
    <inkml:brush xml:id="br0">
      <inkml:brushProperty name="width" value="0.025" units="cm"/>
      <inkml:brushProperty name="height" value="0.025" units="cm"/>
      <inkml:brushProperty name="ignorePressure" value="1"/>
    </inkml:brush>
  </inkml:definitions>
  <inkml:trace contextRef="#ctx0" brushRef="#br0">1 1,'8'0,"8"0,7 0,1 0,2 0,2 0,-1 0,1 0,-1 0,-1 0,1 0,0 0,-6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987"/>
    </inkml:context>
    <inkml:brush xml:id="br0">
      <inkml:brushProperty name="width" value="0.025" units="cm"/>
      <inkml:brushProperty name="height" value="0.025" units="cm"/>
      <inkml:brushProperty name="ignorePressure" value="1"/>
    </inkml:brush>
  </inkml:definitions>
  <inkml:trace contextRef="#ctx0" brushRef="#br0">77 38,'-8'10,"0"-1,1 0,-1 2,2 0,0-1,1 1,0 0,-1 1,2-2,2 2,-2 0,2 0,0 0,0 2,1 12,1-20,0-1,0 0,0 1,1-1,-1 0,2 1,-1-1,0 0,2-1,-2 2,2-1,0-1,-1 1,1-1,0 0,1 0,-2 2,2-4,0 2,-1 0,2 0,-1-1,0 0,0-1,2 2,-2-2,1 0,0 1,-1-2,2 1,-1-1,0 0,1 1,-1-2,0 1,6-1,-3 0,0 1,1-1,-1-1,0 1,0-1,2-1,-2 1,0-2,0 1,0-1,-2-1,2 1,0-1,-1 0,9-8,-11 8,1-1,-2 0,1-1,-1 1,0-2,0 2,-1-2,1 2,-2-2,1 1,0-1,-2 0,0 1,1-2,-1 1,0 0,-1 1,0-12,2 9,-2 0,-2-1,1 1,0 1,-1-1,1-1,-2 1,1 1,-2-1,0 1,0-2,0 2,-2 0,2 0,-1 2,-2-2,2 1,-2 0,-14-11,1 3</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8.325"/>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9.107"/>
    </inkml:context>
    <inkml:brush xml:id="br0">
      <inkml:brushProperty name="width" value="0.025" units="cm"/>
      <inkml:brushProperty name="height" value="0.025" units="cm"/>
      <inkml:brushProperty name="ignorePressure" value="1"/>
    </inkml:brush>
  </inkml:definitions>
  <inkml:trace contextRef="#ctx0" brushRef="#br0">34 38,'3'-4,"0"2,1-2,0 1,-2 0,2 1,0-1,0 0,0 2,0-2,0 2,0-2,2 2,-2 0,0-1,1 2,-1-1,1 1,-1 0,0 0,2 0,-2 0,1 0,-1 1,1-1,-1 2,0-1,2 0,-2 2,0-2,0 1,0 0,0 1,0 0,0-1,-2 1,2 0,0 1,-1-2,0 2,-1-1,1 1,0 0,-1 0,1 0,-2 0,2 0,-2 1,1-1,-1 0,0 2,1-2,-2 0,0 1,1-1,-1 1,0-1,-1 2,1-2,0 0,-2 1,1-1,0 0,-1 1,1-1,-4 6,-2 2,0 0,-1 0,0-2,-1 1,1 0,-3-1,2 0,-2-1,1 0,-14 7,9-5,0 1,1 0,0 0,-18 24,32-36,0 1,-1-1,1 2,-1-1,1-1,0 1,-2-1,2 2,0-1,0-1,-1 1,1 1,0-2,0 1,0 0,0-1,0 2,0-1,0 0,0-1,0 2,0-1,1-1,-1 1,0 1,0-2,2 1,-2 0,0-1,1 3,28 14,43-1,-54-14,0-2,0-2,-1 1,2 0,17-7,50-4,-63 12</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153"/>
    </inkml:context>
    <inkml:brush xml:id="br0">
      <inkml:brushProperty name="width" value="0.025" units="cm"/>
      <inkml:brushProperty name="height" value="0.025" units="cm"/>
      <inkml:brushProperty name="ignorePressure" value="1"/>
    </inkml:brush>
  </inkml:definitions>
  <inkml:trace contextRef="#ctx0" brushRef="#br0">333 1,'30'11,"-12"-1,-48 5,-36 5,44-16,-1 3,2-1,-1 2,1 0,0 3,1 0,0-1,-36 30,54-40,1 2,1-1,-1-1,1 1,-2 1,2-1,-1-1,1 1,0 1,-1-1,1 0,0 1,0-1,-2-1,2 1,0 1,0-1,0 0,0 1,0-1,0 0,2 1,-2-1,0 0,0-1,1 2,-1-1,0 0,1 1,-1-1,2-1,-2 1,1 1,-1-1,1-1,1 1,-2 1,1-2,0 1,-1-1,2 1,-1-1,0 2,1-2,-2 0,1 1,2-1,73 36,-51-27,-20-6,1 0,-1 1,0-2,1 2,-2 0,1 0,-1 0,0 0,0 2,0-2,0 1,3 6,-6-10,-1 2,1-2,-1 2,0-1,0 0,0 0,0 1,0-2,0 2,0 0,0-2,0 2,-1-1,1 0,-1 0,-1 0,2 0,-1 0,0 0,-1 0,1 0,0 0,-1-1,1 0,0 2,-1-2,1 1,-2-1,2 0,0 1,-2-1,2-1,-2 1,2 1,-2-2,-1 1,-11 6,2-1,-2 0,1-1,-2-1,1 0,0-1,-1-2,0 2,-26-3,19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660"/>
    </inkml:context>
    <inkml:brush xml:id="br0">
      <inkml:brushProperty name="width" value="0.025" units="cm"/>
      <inkml:brushProperty name="height" value="0.025" units="cm"/>
      <inkml:brushProperty name="ignorePressure" value="1"/>
    </inkml:brush>
  </inkml:definitions>
  <inkml:trace contextRef="#ctx0" brushRef="#br0">74 1,'0'4,"-4"7,-2 5,0 4,2 2,2 4,-5-4,0 0,1-1,2 2,0-1,-2 2,0 2,-1-1,3-4</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990"/>
    </inkml:context>
    <inkml:brush xml:id="br0">
      <inkml:brushProperty name="width" value="0.025" units="cm"/>
      <inkml:brushProperty name="height" value="0.025" units="cm"/>
      <inkml:brushProperty name="ignorePressure" value="1"/>
    </inkml:brush>
  </inkml:definitions>
  <inkml:trace contextRef="#ctx0" brushRef="#br0">0 48,'13'0,"10"0,4 0,2 0,0-4,2-2,-3 0,0 2,-1 0,-1 2,1 1,-2 1,1 0,-1 0,2-4,-2-3,0 2,-2 1</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8.852"/>
    </inkml:context>
    <inkml:brush xml:id="br0">
      <inkml:brushProperty name="width" value="0.025" units="cm"/>
      <inkml:brushProperty name="height" value="0.025" units="cm"/>
      <inkml:brushProperty name="ignorePressure" value="1"/>
    </inkml:brush>
  </inkml:definitions>
  <inkml:trace contextRef="#ctx0" brushRef="#br0">102 31,'-4'0,"0"0,0 0,0 0,0 0,0 1,0-1,0 1,0 1,0-1,0 0,2 1,-2 0,0 0,1 0,-1 0,1 0,-1 1,2 0,-1-1,0 1,1 0,-1 1,0-2,2 2,-6 6,6-4,-2 1,2-2,0 2,-1 0,1-1,1 1,0 0,0-1,0 1,0 0,1-2,1 2,-1-1,4 12,-3-12,0 1,1 0,1-2,-1 2,1-2,0 2,0-2,0 0,0 1,1-1,0-1,-1 1,2-1,7 6,-9-8,0 0,0-1,1 2,-1-2,0 0,2-1,-2 2,0-2,1 1,-1-1,1 0,-1 0,2 0,-2-1,0 1,1-2,-1 1,0 0,1-1,-1 1,0-2,0 2,7-6,-6 3,-1 2,2-1,-2-1,0 1,0-1,0 0,-2 0,2 0,0 0,-1-1,0 1,-1-1,1-1,0 2,-2-1,0 0,2-1,-2 1,-1 0,2-1,-1 1,-1 0,0-1,0 1,0 0,-1-1,1 1,-2 0,1-1,0 1,-5-10,4 7,-2 2,1-1,-1 0,0 1,0 0,0 0,-1 0,-1 0,1 0,0 2,-1-1,0 0,0 1,0 0,-1 0,0 0,1 1,-1 0,-1 1,1-1,-1 0,-10-1,-5 3</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201"/>
    </inkml:context>
    <inkml:brush xml:id="br0">
      <inkml:brushProperty name="width" value="0.025" units="cm"/>
      <inkml:brushProperty name="height" value="0.025" units="cm"/>
      <inkml:brushProperty name="ignorePressure" value="1"/>
    </inkml:brush>
  </inkml:definitions>
  <inkml:trace contextRef="#ctx0" brushRef="#br0">1 0,'0'5,"0"1</inkml:trace>
</inkml:ink>
</file>

<file path=ppt/ink/ink11.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4:55:06.245"/>
    </inkml:context>
    <inkml:brush xml:id="br0">
      <inkml:brushProperty name="width" value="0.05292" units="cm"/>
      <inkml:brushProperty name="height" value="0.05292" units="cm"/>
      <inkml:brushProperty name="color" value="#0070C0"/>
    </inkml:brush>
  </inkml:definitions>
  <inkml:trace contextRef="#ctx0" brushRef="#br0">5654 6103 0,'-19'-17'0,"55"17"78,-19 0-31,-17-19-16,0 55-15,0-1-1,0-18-15,0 19 16,0-18-16,-17 18 0,17 34 16,0-35-16,-17 0 0,17 1 0,0-19 15,-19 19-15,19-19 16,0 18-16,0-16 0,-17-2 0,17 0 16,0 1-16</inkml:trace>
  <inkml:trace contextRef="#ctx0" brushRef="#br0" timeOffset="347.01">5724 6033 0,'18'0'16,"34"34"-1,-52-15-15,36 16 16,-19-18-16,0 0 16,2 2-16,-2-2 0,-17 1 15,18-18-15,-1 0 0,-17 17 16,36-17-16</inkml:trace>
  <inkml:trace contextRef="#ctx0" brushRef="#br0" timeOffset="544.66">6183 6121 0,'-19'-18'0,"2"36"16,0-18-1,-1 17-15,0 0 0,-17 2 16,18-2-16,-2 18 16,2-16-16,-1-2 0,1 0 15,0 19-15,-19-1 0,1-18 16,35 1-16,-19 0 0,19 0 15,-17-18-15</inkml:trace>
  <inkml:trace contextRef="#ctx0" brushRef="#br0" timeOffset="756.56">6076 6086 0,'18'-19'16,"0"38"-1,-18-2-15,0 1 16,0-1-16,18 0 0,-18 2 0,0 16 16,17 18-16,-17-18 15,0 1-15,0 34 0,0-52 16,0 16-16,17 2 0,-17-1 16,0-16-16,0-2 15,19 0-15,-2 1 16</inkml:trace>
  <inkml:trace contextRef="#ctx0" brushRef="#br0" timeOffset="1174.99">6482 6526 0,'18'-71'16,"-18"54"-16,0 0 31,0-1-31,-36 53 31,36-18-31,0 2 0,0-2 16,0 1-16,-17-1 0,34 19 16,-17-19-16,0 1 15,18-1-15,0 2 0,0-2 16,-1-17-16,0 0 0,2 0 15,-2 0-15,37-17 16,-20 17-16</inkml:trace>
  <inkml:trace contextRef="#ctx0" brushRef="#br0" timeOffset="1675.72">7064 6033 0,'0'-36'15,"0"18"1,0 54-1,0-18-15,-17-1 16,17 19-16,0-1 0,17-123 0,-34 210 0,0-86 16,-2 70-1,19-53-15,0-18 16,0 1-16,19-2 16,-19 2-16,17-18 15,-17-1-15,-36-52 31,19 35-15,-1-17 0,1 17-16,-2 0 15,-15 17-15,16-17 0,0 18 16,0-1-16,-16 19 16,16-1-16,0-18 15,18 2-15,0-2 0,18 0 16,0-17-16,16 0 15,-16 0-15,35-17 0,0 0 16,35-37 0,-53 37-16,-16 0 0,33-2 15,-52 2-15,18 17 16,0-18-16,-1 18 0,0 18 16,-17-1-1,0 2-15,0-2 16,19 0-16,-19 1 15,0-1-15,17 2 16</inkml:trace>
  <inkml:trace contextRef="#ctx0" brushRef="#br0" timeOffset="1817.73">7382 6367 0,'-18'-34'0,"18"16"0,-17 18 15</inkml:trace>
  <inkml:trace contextRef="#ctx0" brushRef="#br0" timeOffset="2246.83">7682 6315 0,'-71'18'15,"54"-1"-15,-19 18 16,1-17-16,18 34 16,-2-16-16,2-36 15,17 18-15,0-1 0,0 2 0,17-2 16,2 0 0,-2-17-16,18 0 0,-17 0 15,34-17-15,-16 0 16,16-2-16,-33 2 15,-2 17 1,1 0-16,-1 0 16,2 17-1,-2 2 1,0-2-16,19-17 16,-1 17-16,-18-17 15</inkml:trace>
  <inkml:trace contextRef="#ctx0" brushRef="#br0" timeOffset="2776.91">8194 6421 0,'-19'0'16,"38"0"-16,-55-18 16,1 36-1,-1-1 16,19 0-31,-1 2 0,18-2 32,0 1-32,0-1 15,18-17 1,-1 19 0,2-19 15,-2 17-16,0-34 1,1 17-16,-1 0 16,2-19-1,-2 19-15,-17-17 0,17 17 16,1-18 0,0-18-16,-18 19 0,18 17 15,-1-35-15,-17 17 16,17-17-16,-17 18 0,0-1 15,19 18-15,-38 35 32,19-18-17,0 1-15,-17-18 0,17 36 16,17-2-16,-17-15 16,19-2-16,-2 1 0,18-1 15,18 19 1,-35-36-16,-1 0 15,2 0-15</inkml:trace>
  <inkml:trace contextRef="#ctx0" brushRef="#br0" timeOffset="3288.06">9410 5997 0,'18'18'16,"-36"0"-16,18 16 0,0 20 16,0-20-16,-18 2 0,18-1 15,0 1-15,0 35 0,0-54 0,0 18 16,0 18-1,0-36-15,0 2 0,0-2 0</inkml:trace>
  <inkml:trace contextRef="#ctx0" brushRef="#br0" timeOffset="3493.27">9216 6333 0,'18'0'32,"-36"0"-32,53-18 0,-16 18 0,15 0 15,-16 0-15,0-18 0,34 18 16,-16-18-16,-18 18 0,16 0 16,-15-17-16,-2 17 15</inkml:trace>
  <inkml:trace contextRef="#ctx0" brushRef="#br0" timeOffset="4421.3">8511 6103 0,'-17'123'0,"17"-87"0,0-1 0,0 1 16,-19 16-16,19 1 0,0-17 15,-17-1-15,17 35 0,0-35 16,0-16-16</inkml:trace>
  <inkml:trace contextRef="#ctx0" brushRef="#br0" timeOffset="5907.84">9587 6421 0,'52'-54'0,"-33"54"15,-19-17-15,17 0 0,0-1 16,-17 0-16,18 18 0,-18-18 15,-18 36 32,1 35-31,17-36-16,-17 1 0,34 0 16,-17 0-16,0-1 15,17-17-15,-17 17 0,18-17 16,0 0-16,0 19 0,-1-19 15,0 0-15,2 0 0</inkml:trace>
  <inkml:trace contextRef="#ctx0" brushRef="#br0" timeOffset="6186.76">10151 6226 0,'-17'0'0,"34"0"0,-70 0 15,53 19 1,0 15 0,0-16-16,0 0 0,0 0 15,18-1-15,-18 18 16,18-17-16,-18 0 0,0 16 16,-18-15-1,0 16 1,0-18-16,1 2 15,0-19-15,-1 17 0,0-17 16</inkml:trace>
  <inkml:trace contextRef="#ctx0" brushRef="#br0" timeOffset="6386.6">10346 6103 0,'0'0'31,"0"35"-15,0-18-16,0 2 0,-19-2 15,19 18-15,0 1 0,0-19 0,-17 54 16,17-54-16,0 19 16,0-18-16,0-1 0,-18 19 0,18-19 15,18 1-15,-18-1 0,0 2 16</inkml:trace>
  <inkml:trace contextRef="#ctx0" brushRef="#br0" timeOffset="6584.94">10256 6421 0,'-17'-18'0,"53"18"31,-19 0-31,1 0 0,-1 0 0,19-18 16,-19 18-16,19-18 0,-1 18 15,0 0-15,1-17 0</inkml:trace>
  <inkml:trace contextRef="#ctx0" brushRef="#br0" timeOffset="6843.8">11192 6103 0,'-18'-17'15,"54"17"1,-2 0-1,-15 0-15,-2 0 16,1 0-16,-1 17 0,0-17 0,2 0 16,-2 0-16,1 0 0,-1-17 0,2 17 15,-2 0-15,0 0 0,1 0 16</inkml:trace>
  <inkml:trace contextRef="#ctx0" brushRef="#br0" timeOffset="7081.48">11439 5927 0,'35'0'0,"-17"0"16,0 18-16,-1-1 0,18 18 15,-17-17-15,17 0 0,-35 16 0,36 54 16,-19-69-1,-17-2-15,0 18 0,0 1 16,-36 17-16,36-18 0,-34 18 16,16-35-16,0-1 0,0 0 15,18 2-15,-17-2 0</inkml:trace>
  <inkml:trace contextRef="#ctx0" brushRef="#br0" timeOffset="7471.68">12674 5874 0,'0'71'31,"-18"-37"-31,18 2 16,-18 35-16,18-36 0,0-18 0,-18 90 31,18-73-31,0-16 0,0 18 0,0-19 16,-17 0-16,17 1 0,0 0 0,0 0 15,0-1-15,17-17 16,-17 17-16</inkml:trace>
  <inkml:trace contextRef="#ctx0" brushRef="#br0" timeOffset="7839.47">12498 5857 0,'0'-36'0,"17"18"0,-17 1 15,17 17-15,1-19 0,52-15 16,1 51 0,-35 0-16,-1 2 15,-18-2-15,19 18 0,-19 1 0,18-1 16,-16 35-16,-19 37 16,0-72-16,-19-1 15,2 20-15,-1-18 0,-18 16 16,-33 1-16,33-18 0,1 1 15,-1-19-15,19 19 0,-36-19 16,35 1-16,1-18 0,0 0 0,-2 17 16,2-17-16,-1-17 15,18-1 1</inkml:trace>
  <inkml:trace contextRef="#ctx0" brushRef="#br0" timeOffset="8261.62">13044 6050 0,'18'36'0,"-18"-19"15,0 18 1,0-18-16,0 2 0,0-2 0,0 1 0,0-1 16,0 2-16,0-2 0,0 0 0,0 1 15,0 0-15,0 0 16,0-1-16,0 0 0,0 1 16,17-53 15,0 0-16,2-1-15,-19 19 16,17 0-16,-17-2 0,18 2 16,-1-18-16,2 16 0,-19 2 15,17 0-15,0-1 0,1 18 16,-18-17-16,17 17 0,2 0 16,-2 0-1,0 0 1</inkml:trace>
  <inkml:trace contextRef="#ctx0" brushRef="#br0" timeOffset="8661.53">13415 6121 0,'0'17'16,"0"0"-16,0 2 0,0 16 16,0-18-1,0 2-15,35 33 16,-18-34-16,19-18 15,-19 0 1,1 0-16,-1 0 0,2-18 16,-2 18-16,0-18 0,1 1 15,-18 0-15,17 17 16,-17-19-16,19 2 0,-19-1 16,17 18-16,-17-17 0,17 17 46</inkml:trace>
  <inkml:trace contextRef="#ctx0" brushRef="#br0" timeOffset="9155.7">13943 6086 0,'-71'0'16,"37"35"-1,16-18-15,1-17 0,17 17 16,-19 2-16,19-2 15,19-17-15,-19 18 16,17-18-16,1 17 16,16 2-1,-15-2-15,-2 18 16,1-17-16,-18 70 16,0-36-1,0-16-15,-35 35 16,-1 0-16,19-37 0,-1-16 15,1 0-15,-2 0 0,2-1 0,0 0 16,34-69 15,-17 34-15,17 0-16,90-87 16,-36 34-1,-1 1-15,-35 52 16,0 0-16,18-34 0,-36 52 15</inkml:trace>
  <inkml:trace contextRef="#ctx0" brushRef="#br0" timeOffset="9518.34">15108 5662 0,'0'53'16,"-18"-35"-1,18-1-15,0 19 0,0-1 0,0 18 16,-35 140 0,35-157-16,0-1 0,0 36 15,0-35-15,0-19 16,0 0-16,0 1 0,0 0 0</inkml:trace>
  <inkml:trace contextRef="#ctx0" brushRef="#br0" timeOffset="9731.24">14790 6191 0,'18'-36'15,"34"19"1,-33 17-16,16-17 0,-1 17 16,2-18-16,-1 18 0,18-17 15,1-2-15,-20 19 0,20 0 0,-20-17 16,2 17-16,35 0 0,-36-17 16</inkml:trace>
  <inkml:trace contextRef="#ctx0" brushRef="#br0" timeOffset="10054.85">15531 6297 0,'17'-52'15,"-17"16"1,0 18-16,0 1 16,-34 17-1,16 17 1,18 1 0,-18-18-16,18 36 0,-18-19 15,36 0-15,-18 1 0,18 0 16,0-18-1,-18 18-15,52-18 0,-34 0 16,0 0-16,16 0 0,2-18 0</inkml:trace>
  <inkml:trace contextRef="#ctx0" brushRef="#br0" timeOffset="10323.87">15990 6067 0,'-18'0'15,"0"0"1,18 19-16,-18-2 16,36 1-1,-18-1-15,0 0 0,0 2 0,0-2 16,18 1-16,-18 18 0,0-19 0,0 0 16,0 1-16,0 0 0,0 0 0,0-1 15,0 0-15,0 1 0,0 0 16,-18 0-16,0-1 0,18 0 15,-17-17-15,0 19 16,-1-38 0,18 2-1</inkml:trace>
  <inkml:trace contextRef="#ctx0" brushRef="#br0" timeOffset="10566.32">16290 5803 0,'0'0'16,"0"35"-16,-18 36 15,18-53 1,0 17-16,-18 0 0,18-17 0,0 17 16,0 1-16,0-19 0,0 18 0,0-18 15,0 2-15,18 16 0,-18-18 16,18 2-16,-18-2 0,17 0 0,36 19 15,-35-36 1,-1 0-16,0 0 0,19 0 16,-18-18-16</inkml:trace>
  <inkml:trace contextRef="#ctx0" brushRef="#br0" timeOffset="10802.65">16114 6015 0,'52'-18'16,"36"18"-1,-52 0-15,86-18 16,-68 1-16,16 17 16,-34 0-16,16-17 0,2 17 0,-20 0 15,2-18-15,-1 18 0,1-18 16,-1 18-16,18-18 0,-18 18 15,-17 0-15,0-17 0,-1 17 16,-17-17-16</inkml:trace>
  <inkml:trace contextRef="#ctx0" brushRef="#br0" timeOffset="12493.69">8582 8238 0,'-36'-36'0,"18"19"15,-35 51 1,36-34-1,-37 71 1,37-35-16,-18-1 0,18 1 0,-2-2 16,2 20-16,17-20 15,-17-16-15,17 18 0,0 34 16,17-52-16,-17-1 0,17 2 16,19 15-16,-18-16 15,-1-18-15,0 17 0,2-17 16,-2 0-16,1 0 15,-1-17 1,-17-1 0,0 1-16,0 0 15,0-2-15,19 19 0,-19-17 16,0-1-16,17 1 0,-17-2 16,35 2-1,-18 17-15,36 17 16,-53 2-16,18-19 15,0 17-15,0 1 0,-1-1 0,-17 2 16,17-19-16,-17 17 16,19 0-16,-19 1 0,0-1 0,0 2 15,0-2-15,0 0 16</inkml:trace>
  <inkml:trace contextRef="#ctx0" brushRef="#br0" timeOffset="12816.74">8811 8607 0,'0'-17'16,"17"17"-1,-17 17-15,18-17 0,-18 19 16,17-19-16,-17 17 0,0 1 0,19-18 15,-19 17-15,0 2 16,17-2-16,-17 0 0,0 1 16,0-1-16,17-17 15,-17-17 17,18-18-17,-18 18-15,18 17 0,-18-19 16,0 2-16,18-1 0,-18 1 15,17 17-15,0-19 16,1 19 0</inkml:trace>
  <inkml:trace contextRef="#ctx0" brushRef="#br0" timeOffset="13104.8">9216 8607 0,'-36'54'16,"36"-37"-16,0 2 0,0-2 15,0 0-15,19-17 0,-19 18 16,17-18-16,1 17 0,-1-17 0,2 0 16,-2 0-16,0 0 0,1 0 15,18-17 1,-36-1-16,0 1 15,0-19 1,-18 36-16,18-17 16,-18 17-16,18-18 0,-18 18 0,1 0 15,17-17-15,-17 17 16,-2 17 0</inkml:trace>
  <inkml:trace contextRef="#ctx0" brushRef="#br0" timeOffset="13894.71">9587 8643 0,'0'35'31,"0"-16"-15,17-2 0,-17 0-1,18-17-15,-1 0 16,19 0-1,-19-17-15,1 17 16,-18-17-16,18 17 0,0-19 16,-1 2 15,0 34 0,2-17-15,-2 0-1,-17-17-15,18 17 16,-1-18 0,-17 1-1,0-2-15,17 19 16,-17 19 15,0-2-31,0 18 16,0-16-16,-17-2 15,17 0-15,0 18 0,0 1 0,-17-1 16,17-17-16,0 17 0,-18 0 0,18 1 16,-17-2-16,17 2 15,0-18-15,-19 18 0,19-19 0,0 0 0,-17 1 16,17-1-16,0 2 16,-17-2-1</inkml:trace>
  <inkml:trace contextRef="#ctx0" brushRef="#br0" timeOffset="14292.77">9992 8607 0,'71'-34'16,"-54"51"-16,1-17 15,0 17-15,0 19 16,-18-18-16,0-1 16,-18 2-16,18-2 0,-36 0 15,19 1-15,0-1 0,-19 19 16,18-36-1,18 17-15</inkml:trace>
  <inkml:trace contextRef="#ctx0" brushRef="#br0" timeOffset="14845.46">10663 8431 0,'0'-17'0,"0"52"31,0-17-31,0 0 0,0 16 16,0-16-16,-17 0 0,17 0 0,0-1 16,0 0-16,0 2 0,0-2 15,0 1-15,0-1 0,0 2 16,0-2-16,0 0 15,17-51 17,0-20-17,1 18-15,-18-16 0,17 16 0,2 2 16,-2-20-16,0 20 0,1 15 16,0 2-16,0-18 0,-18 16 0,17 19 15,0-17-15,1 17 0,0 0 16,0 0-16,-1 17 15,0 37 1,-17-37-16,0 19 0,19-19 0,-19 1 0,0 0 16,0 17-16,0 0 15,0-17-15,0 0 0,0-1 16,0 0-16</inkml:trace>
  <inkml:trace contextRef="#ctx0" brushRef="#br0" timeOffset="15043.5">10646 8590 0,'17'-17'16,"0"17"-16,18 0 0,-16 0 15,-2 0-15,18 0 0,89-18 16,-90 18-16,2 0 15,18 0-15,86-18 16,-87 18-16</inkml:trace>
  <inkml:trace contextRef="#ctx0" brushRef="#br0" timeOffset="15775.17">16907 7955 0,'0'0'0,"-53"54"16,53-37-16,-18 0 15,1 18-15,-19 18 16,36-17-16,-17-18 0,17-1 0,0 19 16,-18-19-16,18 1 0,0-1 15,18 0 1,-1-17-16,2 0 15,-2 0 1,0 0-16,18-17 0,-16 0 16,-2 17-1,18 0-15,-17 0 16,0 17-16,-18 0 16,17 2-16,-17-2 0,17-17 15,-17 18-15,0-1 0,18 2 16,-18-2-16</inkml:trace>
  <inkml:trace contextRef="#ctx0" brushRef="#br0" timeOffset="16095.79">17171 8185 0,'0'-18'16,"36"36"-16,-19-1 0,1 19 16,-18-19-1,17 1-15,-17-1 0,0 0 0,0 2 16,0-2 0,0 1-16,0-1 15,19-17 1,-2-17-1,0-1 1,1 1-16,-18-2 0,18 2 0,0 0 16,-1-1-16,0 18 15,2-17-15,-2 17 16,-17-19-16</inkml:trace>
  <inkml:trace contextRef="#ctx0" brushRef="#br0" timeOffset="16803.91">17666 8219 0,'0'-17'16,"-36"53"0,36-19-1,-18 1-15,18-1 0,0 0 0,0 2 0,0-2 16,0 1-16,0 18 15,35-2 1,-16-34-16,-2 18 16,18-18-1,-17-35 1,-18 18-16,0-2 16,0-16-1,0 18-15,-18-2 0,18 2 0,-18 17 16,18-17-16,-17-1 15,0 18-15,-2 0 16</inkml:trace>
  <inkml:trace contextRef="#ctx0" brushRef="#br0" timeOffset="17654.66">17895 8238 0,'-19'35'31,"19"-18"-15,0 0-1,19 2 1,-2-19-16,18 0 15,-16 0 1,-2 0-16,0-19 16,1 19-16,0 0 15,0 0 1,-1 19 0,-17-2-1,17-17 1,-17 18-1,18-18-15,18-18 16,-19 18-16,0 0 16,2-17-16,-2 17 15,-17-19-15,18 19 0,18-34 16,-36 16-16,17 18 0,-17-17 16,17-2-16,1-33 15,-18 34-15,17 18 0,-17-18 16,0 1-16,19 0 15,-19-2 1,-19 38 15,-16 15-15,35-16 0,-17 0-16,17 0 0,-17 16 0,-2-15 15,19-2-15,-17 35 16,-1-33-16,18 16 0,-17-18 0,-2 19 15,19-19-15,-17 1 0,17 18 0,0-19 16,-17 18-16,17 1 16,-18-19-16,18 0 0,0 2 15,0-2-15,0 1 0,-18-18 0,18 17 16,18-52 15,17-35-15,-35 34-1,17 1-15,54-70 16,-52 69-16,-2 18 0,0 1 16,1-2-16,18 19 15,-19 0 1,-17 19 0,0-2-16,-17 1 0,-2 18 15,2-19 1,-1-17-16,1 17 0</inkml:trace>
  <inkml:trace contextRef="#ctx0" brushRef="#br0" timeOffset="17923.34">18935 7990 0,'-17'53'16,"-1"-35"-1,18-1-15,0 2 0,-17 15 0,17-16 16,-19 0-16,2 0 0,17-1 16,-17 0-16,17 19 0,0-18 0,-18-18 15,18 17-15,-18 0 0,18 2 16,0-2-16,0 1 15</inkml:trace>
  <inkml:trace contextRef="#ctx0" brushRef="#br0" timeOffset="18491.41">18900 8061 0,'0'-18'0,"18"18"16,-1 0-16,0 0 31,2 0-31,-19 18 0,17-18 0,-17 17 16,0 2-1,-17-2 1,17 0-16,-19-17 16,19 18-1,19 0 1,-19 0-16,17-18 0,-17 17 0,0 0 15,18-17-15,-18 19 0,0-2 16,0 1-16,-18 16 16,1-15-1,-2-2-15,2-17 0,0 18 16,-1-18-16,1 0 0,-2 17 0,2-17 16,0 0-16,-19 0 0,1 0 15</inkml:trace>
  <inkml:trace contextRef="#ctx0" brushRef="#br0" timeOffset="19378.58">9004 9578 0,'0'35'31,"-17"18"-15,17-36-16,0 2 0,-17 16 15,17-18-15,-18 36 16,18-35-16,0-1 16,0 2-16,0-2 0,0 0 15</inkml:trace>
  <inkml:trace contextRef="#ctx0" brushRef="#br0" timeOffset="19739.48">8916 9683 0,'0'-34'0,"0"16"0,36-18 16,-18 36-16,-1-17 16,0 17-16,1 0 0,0-17 15,0 17-15,-1 0 0,0 0 0,37 17 16,-37 0-1,-17 1 1,-17 0-16,-18 0 16,16-1-1,2 0-15,0-17 0,-1 19 0,0-19 16,0 17-16,1-17 16,0 18-16</inkml:trace>
  <inkml:trace contextRef="#ctx0" brushRef="#br0" timeOffset="20408.49">9428 9719 0,'-18'-17'0,"0"34"15,1 1 1,0-18-16,17 17 0,-18 0 15,18 2-15,0-2 16,0 1 0,18-1-16,16 2 15,2-38 1,-1 2 15,-18-1-15,2 18-1,-2 18 1,-17-1-16,18-17 16,-18 19-1,17-19-15,2 0 16,15-19 0,-16 19-16,-1-17 0,2-1 15,-2 18-15,0-17 0,1-2 0,0-33 16,0 35-16,-1-2 15,-17 2-15,17 0 0,-17-1 16,0 0-16,19 18 0,-19-18 0,0 1 16,17 52-1,-17-17 1,-17 34 0,17-33-16,0-2 0,0 1 15,0-1-15,0 0 0,0 2 16,0-2-16,0 1 0,0-1 15</inkml:trace>
  <inkml:trace contextRef="#ctx0" brushRef="#br0" timeOffset="20588.86">9692 9737 0,'-17'0'16,"34"0"-16,-17-18 15,18 18 1,0 0-16,17 0 16,-18 0-16,2 0 0,-2-17 15,1 17-15,-1 0 0,0 0 0,2 0 16</inkml:trace>
  <inkml:trace contextRef="#ctx0" brushRef="#br0" timeOffset="20762.53">10098 9649 0,'18'17'31,"-18"19"-15,0-1 0,0-18-16,0 0 0,0 2 15,0-2-15,18-17 0,-18 18 0</inkml:trace>
  <inkml:trace contextRef="#ctx0" brushRef="#br0" timeOffset="21694.09">10451 9807 0,'35'-53'15,"-35"18"1,-18 18-16,-16 34 31,34 1 1,0-1-32,0 0 15,17 2 1,18-38-1,1 19 1,-19 0-16,0 0 0,19 0 16,-18 0-1,-1 0-15,-17 19 16,19-19-16,-2 0 0,0 17 16,1-17-16,-1 0 15,2 0-15,15 0 16,-16-17-16,0 17 15,0 0-15,16-36 16,-16 19-16,-18-1 0,18 1 16,-18-2-16,0-15 0,0 16 0,18 0 15,-18 0-15,0 1 16,0 0-16,0-2 16,17 55 15,-17-19-31,17 1 0,-17 0 0,0 0 15,0-1-15,0 36 16,0-35-16,0-1 0,0 0 16,0 19-1</inkml:trace>
  <inkml:trace contextRef="#ctx0" brushRef="#br0" timeOffset="21822.68">10927 9825 0,'-17'0'0,"-1"0"16,53 0-16,-88-18 0,35 18 0,1-17 15,0-2 1,34 2-1,18 0 17,1-1-32,-2 18 0,-15-17 15,16-2-15</inkml:trace>
  <inkml:trace contextRef="#ctx0" brushRef="#br0" timeOffset="21996.46">11244 9578 0,'19'-17'0,"-19"34"31,0 0-31,0 1 0,0 0 16,0 0-16,0-1 0,0 19 16,0-19-1,0 1-15,-19-1 0,19 0 16,-34 2 0,16-19-1,0 0-15</inkml:trace>
  <inkml:trace contextRef="#ctx0" brushRef="#br0" timeOffset="22177.79">10416 9261 0</inkml:trace>
  <inkml:trace contextRef="#ctx0" brushRef="#br0" timeOffset="22823.77">17488 9419 0,'0'0'0,"0"-17"0,-17 17 15,17 17 1,-17 37 0,17-37-16,0 0 15,0 18-15,0-16 0,-18 69 16,18-71-16,0 19 0,0-19 15,0 18-15,0-18 0,0 2 16,0 52 0,18-71-16,-18 17 0</inkml:trace>
  <inkml:trace contextRef="#ctx0" brushRef="#br0" timeOffset="23119.57">17471 9331 0,'36'-36'0,"-19"36"15,18 0-15,-16 19 16,-2-19-16,0 17 0,-17 1 0,18-1 15,-18 0-15,17 2 0,-17-2 16,0 1-16,0-1 0,-17 19 16,17-19-16,-18 1 0,1-1 15,17 2-15,-17-2 0,-2-17 16,2 17-16,-1 1 0,1-18 16,17 18-1</inkml:trace>
  <inkml:trace contextRef="#ctx0" brushRef="#br0" timeOffset="23806.88">17930 9595 0,'-18'-17'0,"1"17"15,-2 0-15,2 0 16,0 17-16,-1-17 0,1 18 16,-2-18-16,2 18 15,0 0-15,17-1 16,-18-17-16,18 17 0,0 2 16,18-19-16,-1 17 15,0-17 1,2-17-16,-2 17 15,1-19 1,-1 19-16,0 0 31,2 0-15,-2 0 0,18 0-1,1-17-15,-19 17 16,1-17-16,0 17 0,-18-18 0,18 0 15,-1 0-15,0-16 0,1 15 16,-18-16-16,18 18 0,0-19 0,-18 19 16,17-18-16,-17 16 0,17 2 0,-17 0 15,19-1-15,-19 1 16,0 52 0,-19 18-1,19-36-15,-17 1 0,17 18 16,0-19-16,0 0 0,0 1 15,0 18-15,0-19 0,17-17 0,-17 17 16,19 1-16,-2 0 16,1-18-16,-1 0 0,19 0 15,-19 0 1,1 0 0,-1 0-1,2 18 1,-2-18-16,0 17 15,1-17 1,-18 17-16</inkml:trace>
  <inkml:trace contextRef="#ctx0" brushRef="#br0" timeOffset="23906.5">18495 9402 0,'0'-19'0,"17"2"0</inkml:trace>
  <inkml:trace contextRef="#ctx0" brushRef="#br0" timeOffset="24090.65">18106 9437 0,'36'0'16,"17"0"0,-18 0-16,-18 0 15,19 0-15,-19 17 0,18-17 0,-16 0 16</inkml:trace>
  <inkml:trace contextRef="#ctx0" brushRef="#br0" timeOffset="24354.72">18688 9595 0,'18'-17'0,"-18"0"0,-18-2 31,18 2-15,-17 17-16,0 17 15,-2 2-15,2-2 16,17 0-16,-18-17 0,18 18 16,0 18-1,18-19 1,-1-17-16,-17 17 0,36-17 16</inkml:trace>
  <inkml:trace contextRef="#ctx0" brushRef="#br0" timeOffset="24996.15">18864 9561 0,'0'0'16,"-17"17"31,0 0-32,17 1 1,0 0 15,-18 0 1,36-18-17,16-18 1,-15 18-1,-2 0-15,1-18 0,-1 18 16,0-18-16,2 18 16,-19-17-16,17 17 15,1-17 1,-1-2-16,-17 2 16,36-18-1,-36 18 1,17-2-16,-17 2 15,0-1-15,18 1 0,-18-2 0,0 2 16,18 0-16,-18-1 0,0 1 31,0 52 1,0-1-17,0-15-15,0 16 16,-18-18-16,18 2 0,18-19 15,-18 17-15,0 0 0,0 1 16,0-1-16,18 2 16,-18-2-1,17-17 1,-17 17 0,17-17-16</inkml:trace>
  <inkml:trace contextRef="#ctx0" brushRef="#br0" timeOffset="25149.51">18918 9473 0,'34'0'16,"2"0"-1,-18 0-15,-1 0 16,19 0-16,-19 0 0,19 0 15</inkml:trace>
  <inkml:trace contextRef="#ctx0" brushRef="#br0" timeOffset="25338.71">19482 9402 0,'-18'35'31,"18"1"-31,0-19 16,-17-17-16,17 17 15,0 1-15,0-1 0,-17 2 0,17-2 16,-19 0-16,2 1 16,17 0-16,-18-18 0,1 18 15,-2-18-15,2 17 0,0-17 16,-18 0-16</inkml:trace>
  <inkml:trace contextRef="#ctx0" brushRef="#br0" timeOffset="27295.84">11051 11713 0,'0'-19'0,"-17"55"15,17-19-15,0 1 0,0 18 0,0-19 16,-19 19-16,2 16 0,17-16 16,0-1-16,-18 1 0,18-19 15,0 18-15,-17 1 0,17-19 0,0 18 16,0-17-16,0 0 0,0-1 15,0 0-15,0 2 0,0-2 16</inkml:trace>
  <inkml:trace contextRef="#ctx0" brushRef="#br0" timeOffset="27612.44">10998 11677 0,'53'-52'16,"-106"104"-16,123-104 0,-52 33 16,-1 19-16,2 0 0,-2 0 15,0 0-15,1 0 0,0 19 0,0-19 16,-1 17-16,0 0 0,-17 1 15,19-1-15,-19 2 0,0-2 0,0 0 16,0 1-16,0 0 0,-19 0 16,19-1-16,-17 0 0,0 19 0,-19-18 15,18-1-15,1 0 0,0 2 16,-2-19-16,19 17 0,-17 1 16</inkml:trace>
  <inkml:trace contextRef="#ctx0" brushRef="#br0" timeOffset="27856.56">11527 11642 0,'-17'71'16,"17"-54"-16,0 18 15,-18-17-15,18 17 0,0 1 16,-18-1-16,18-1 0,-18 37 16,18-35-16,-17-1 0,17-17 15,-17 17-15,17 0 0,0 1 0,0-19 16,0 0-16,0 2 0,0-2 16</inkml:trace>
  <inkml:trace contextRef="#ctx0" brushRef="#br0" timeOffset="28326.76">11791 11977 0,'-35'0'16,"18"0"-16,0 17 0,-2-17 0,2 0 16,-1 19-16,1-2 0,-2 0 0,2 1 15,0 0-15,17 0 16,-18-18-16,18 17 0,0 0 0,-18-17 15,36 18-15,0-18 16,16 0 0,-15 0-16,-2-18 0,1 18 15,-1 0-15,2-17 0,-2 17 0,-17-17 16,17 17-16,1 0 16,-18-18-16,17 18 0,19 18 31,-36-1-31,0 18 15,17-17 1,-17 0 0,18-18-16,0 17 15</inkml:trace>
  <inkml:trace contextRef="#ctx0" brushRef="#br0" timeOffset="28718.85">12198 11923 0,'0'-17'16,"-19"17"-1,-16 36 1,35-19-16,-34 37 16,15-37-16,19 18 15,0-17-15,0 0 16,0-1-16,19-17 15,-19 17-15,17-17 0,18 18 16,-18-36 0,2 18-16,-2 0 0,0 0 0,1-17 0,0 17 15,0-17-15,-1-1 16,0 18 0,-34 18 15,17-1-16,0 0 1,0 1-16,17 0 16,2 0-16,-2-18 15,1 0-15,16 0 0,-15 0 16,-2 0-16</inkml:trace>
  <inkml:trace contextRef="#ctx0" brushRef="#br0" timeOffset="29429.36">12832 11642 0,'-17'52'16,"17"1"-1,-19-17-15,19-18 0,0 16 0,0 2 16,-17-18-16,17 16 0,0-15 16,0 16-16,0-18 0,0 2 0,0 15 15,0-16-15,-17 0 0,17 0 0,0-1 16,0 0 0,34-34 15,-15-18-16,-2 35-15,1 0 0,-1-18 16,2 18-16,-2 0 16,0 0-16,1 0 0,-18 18 15,18-18-15,0 18 0,-18-1 16,-18 0 0,18 1-16,-18 0 0,0-18 15,1 18-15,0-1 0,-2-17 0,2 0 16,-18 17-16,16-17 15,2 0-15,0 0 0,-1 0 16</inkml:trace>
  <inkml:trace contextRef="#ctx0" brushRef="#br0" timeOffset="29926.69">13220 11923 0,'0'0'16,"-34"0"0,34 19-16,-19 16 15,2 1-15,-1-36 16,18 17-16,0 36 15,18-35-15,-18-1 16,53 0 0,-36-17-16,1 0 0,-1-17 15,36 0 1,-35-19 0,-18 18-16,-18-16 15,18 15-15,-17 2 16,0-1-16,-2 1 15</inkml:trace>
  <inkml:trace contextRef="#ctx0" brushRef="#br0" timeOffset="30678.22">14120 11889 0,'-53'70'0,"53"-52"0,0-1 0,0 2 15,-17-2-15,17 0 0,17 1 16,-17 0-16,0 0 0,17-1 15,1 0-15,18-17 16,-19 0 0,0 0-16,2 0 0,-2-17 0,1 17 15,-18-17-15,17 17 0,-17-18 16,17 0-16,-17 0 0,0 1 16,0 0-16,0-2 0,0 2 0,0-1 15,0 1-15,0-2 0,0 2 0,-17 17 16,17-17-16,0-1 0,0 1 15,-17-2 1,34 19 0,19 19-1,-19-2-15,1 1 16,-1-1-16,2 0 0,-2 2 0,0-2 16,-17 1-16,18-1 15,0 2-15,-18-2 0,0 0 0,18 1 0,-18 0 16,0 0-16,0-1 0,-18 0 15,18 1-15,0 0 16,-18 0-16,36-54 47,0-16-31,-1 34-16,0 0 0,1 0 15,0 1-15,-18 0 0,18-2 0,-1 19 16,0-17-16,2-1 0,-2 1 0,1 17 15,-1-19-15,2 19 0,-2-17 16,0 17-16,1-17 16</inkml:trace>
  <inkml:trace contextRef="#ctx0" brushRef="#br0" timeOffset="31531.88">15707 11554 0,'-17'52'16,"17"-33"-16,0 15 0,0-16 0,0 18 16,0-2-16,0 2 0,-18-1 15,18 1-15,0-19 0,0 18 0,0-18 16,0 19-16,0-18 0,0 18 16,0-19-16,0 0 0,0 1 15,0 0-15,0 0 0,0-1 16</inkml:trace>
  <inkml:trace contextRef="#ctx0" brushRef="#br0" timeOffset="31868.88">15655 11642 0,'17'-17'0,"1"-2"16,-18 2-16,17 17 15,2 0-15,-2 17 0,0-17 16,1 19-16,-1-2 0,2 0 16,-19 18-16,34 18 0,-34-35 15,18 18-15,-18-19 0,0 19 0,0-19 16,0 18-16,-18 1 0,18-19 15,-17 18-15,-19 1 16,36-1-16,-17-35 0,-1 18 0,1 0 0,0-1 16,-2 0-16,2-17 0,-1 0 15,1 0-15,-2 18 0,2-18 16,17-18-16,-17 18 16,17-17-1</inkml:trace>
  <inkml:trace contextRef="#ctx0" brushRef="#br0" timeOffset="32199.62">15954 11835 0,'18'0'0,"0"19"0,-1-2 0,0 18 16,-17-18-1,0 2-15,19-2 0,-19 1 16,0-1-16,0 2 0,0-2 16,-19 0-16,19 1 15,0 0-15,19-54 47,-2 2-31,1 15-16,-18 2 0,0-1 0,17 1 15,2 17-15,-19-19 0,0 2 16,17 17-16,0-17 0,1 17 16,-18-18-16,17 18 0</inkml:trace>
  <inkml:trace contextRef="#ctx0" brushRef="#br0" timeOffset="32587.88">16343 11801 0,'-19'34'31,"19"2"-15,0-18-16,0-1 0,0 0 15,0 19-15,19-36 16,-2 35-1,1-35-15,16 0 16,-15-17 0,-2 17-16,1-18 0,-1 1 15,2 17-15,-19-19 16,17 19 0,0-17-1,-17 34-15,18 2 16,-18-2-1,0 1-15,0-1 16,0 2-16,18-2 16,0-17-1,-18 17-15,17-17 0,0 0 0</inkml:trace>
  <inkml:trace contextRef="#ctx0" brushRef="#br0" timeOffset="32974.33">16924 11906 0,'-34'-17'16,"-2"17"0,18 0-1,-16 0 1,15 0 0,19 17-1,0 0-15,0 2 16,0-2-16,19 37 15,-19-37-15,0 0 16,0 19-16,0-18 0,0-1 16,0 0-16,-19 19 0,19-18 0,-35 35 15,18-36 1,-19 18-16,36-18 16,-17-17-16,17 19 0,17-55 31,19-16-16,-19 33-15,18 2 0,-16 0 16,-2-19-16,18 18 0,-18 1 16,19 0-16,-19-1 0,1 18 0,0 0 15,0-18-15,-1 18 16,-17-18-16</inkml:trace>
  <inkml:trace contextRef="#ctx0" brushRef="#br0" timeOffset="34760.51">10856 12965 0,'-17'0'16,"141"0"0,-72 0-16,36 0 0,1 0 0,34 0 15,18 0-15,1 17 0,34-17 16,18 0-16,17 0 0,1 0 0,35 0 0,-18 0 15,283 17-15,-265 2 16,18-2-16,-1 1 0,-17-1 16,18 2-16,-18-2 0,-1 0 0,1 1 15,1-1-15,211 19 16,-249-36-16,2 17 0,-17 1 0,-19-18 16,-35 18-16,1-18 0,-37 0 15,19 0-15,-19 0 0,37-18 16,-90 18-16,1-18 0,-36 18 0,19-17 15,-18 17-15,-18-17 0,17-2 16,0 2-16,-17-1 0,0 1 16,0 0-16,0-2 0,-17 2 15,17-18-15,0 16 0,0-15 0,0 16 16,0-18-16,-17 2 0,17-20 0,17 1 16,-17 1-16,0-1 0,0-1 15,17-16-15,-17 18 0,19-36 0,-2 17 16,1 0-16,-18 18 0,17-18 0,2 19 15,-19-1-15,0-18 16,17 18-16,-17-18 0,0 19 0,0-1 0,0 17 16,0 1-16,0 1 0,0-2 0,-17 1 15,17-18 1,0 35-16,0 0 0,0 0 0,0 1 16,-19 0-16,19-1 15,0 0-15,-17 0 31,-1 18-15,-35 0 0,1 0-16,33 0 0,-15 0 0,-54 0 15,52-17-15,-16 17 16,16 0-16,-35 0 0,19 0 16,-19-17-16,18 17 0,-18 0 15,18-19-15,-18 19 0,19-17 0,-18 17 16,-1-18-16,0 18 0,1-17 15,-89-2-15,71 2 0,0 17 16,17-17-16,-17-1 0,-1 18 0,1-17 16,0 17-16,0-19 0,-17 2 15,17 17-15,-107-35 16,107 17-16,-19 18 0,19-18 0,-17 1 0,17 17 16,-19-17-16,19-1 15,-17 0-15,-195-17 16,212 35-16,-19-17 0,2-2 0,-195-16 15,195 35 1,-2-17-16,19 17 0,0-19 0,-105-15 16,86 34-16,19-18 0,-17 1 15,17 17-15,-2-19 0,2 19 16,0-17-16,18 17 0,-1-17 0,-17-1 16,-88 0-16,105 18 15,-17-18-15,18 1 0,-1 17 0,18-17 16,-18 17-16,19-19 0,-19 19 0,18-17 15,-18 17-15,19-18 16,-72 1-16,19 17 0,69 0 16,-17-17-16,18 17 0,-53 0 15,52 0-15,1 0 16,-1 0-16,2 0 0,-2 0 0,1 0 16,18 0-16,-19 0 0,1 0 0,18 0 15,-19 0-15,18 0 0,1 0 16,0 0-16,-2 0 0,2 0 0,-1 0 15,1 0-15,-19 17 0,1-17 16,17 17 0,0-17-16,1 18 0,0-18 15,17 17-15,0 2 16,-18-2-16,18 0 0,-18 1 16,18 0-16,0 17 0,-18 1 0,18 16 0,-17 19 15,17-18-15,-17 106 16,-2-89-16,19 18 0,-17-17 15,-1 17-15,1-17 0,17-1 0,-19 18 16,2-17-16,-18 88 0,18-89 16,-2 18-16,19-17 0,-17 17 15,0-35-15,17 18 0,0-19 0,-18 1 16,18 1-16,0-2 0,-18-16 0,18-2 16,0 2-16,0-1 0,0-16 15,-18 15-15,18-16 0,0-1 0,0 2 16,0-2-16,0 0 0,0 1 15,18 0-15,0 0 16,0-18-16,-1 0 0,0 0 16,2 0-16,121 0 15,-69 0-15,-1 0 0,1-18 16,17 18-16,0 0 0,1-18 0,-19 18 16,36 0-16,-35 0 0,17 0 0,0 0 15,0 0-15,19 0 0,-37 0 16</inkml:trace>
  <inkml:trace contextRef="#ctx0" brushRef="#br0" timeOffset="89581.04">1772 11325 0,'0'34'31,"0"-16"-31,0 0 0,0 0 16,18-1-16,-18 18 0,18 35 16,-18-51-16,18-2 0,-18 18 15,0-16-15,17-2 16,-17 0-16,0 1 0,0-1 16,-17-52 15,-1-18-16,0 18-15,0-1 0,1 2 0,0-20 16,-1 20-16,0-20 0,0-34 16,1 71-16,17-19 15,0 1 1,0 18-16,17 17 0,1 0 0,18 35 31,16 18-31,-34-18 0,34 35 16,-33-34-16,-2-1 0,1 0 0,-1-17 15,2 17-15,-2 1 16,0-1-16,1 1 16,-1-19-16,2 0 0,-19 1 15,17-1-15</inkml:trace>
  <inkml:trace contextRef="#ctx0" brushRef="#br0" timeOffset="89795.58">1738 11694 0,'-18'0'0,"18"-17"16,35 34-16,-52-17 0,17-35 15,34 18 1,-16 0-16,0 17 15,53-36 1</inkml:trace>
  <inkml:trace contextRef="#ctx0" brushRef="#br0" timeOffset="90096.42">2002 11377 0,'17'0'15,"2"18"-15,-19 0 16,17-18-16,18 34 0,-17-16 16,0 0-16,16 0 0,-15-1 0,-2 0 15,18 2-15,-18-19 0,37 17 16,-37-17 0,19 0-1,-19-17 1,-17-19-16,-17-17 15,0 35 1,17 1-16,-19-36 16,19 35-16,0 1 15,0 0 1</inkml:trace>
  <inkml:trace contextRef="#ctx0" brushRef="#br0" timeOffset="90382.28">2407 11235 0,'19'19'16,"-19"-2"-16,17 1 16,0 35-1,19 0-15,-1-18 16,-18-18 0,19-17-16,-18 18 0,35-18 15,-18 0-15,-18-18 0,2 18 16,-2-17-16,0 17 0,19-35 15,-36-1 1,0 19-16,-18 0 0,0-2 16,1-16-1,0 18-15,-2 17 0,2-19 16,-1 19-16,1 0 16,-2 0-16,2 0 0,17 19 15,-17-19 1,-1 17-16</inkml:trace>
  <inkml:trace contextRef="#ctx0" brushRef="#br0" timeOffset="90561.61">2796 11113 0,'18'0'15,"-1"17"-15,0 19 16,1-36-16,-18 17 0,18 1 15,0 35-15,-1-36 16,-17 1-16,36 18 16,-36-19-16</inkml:trace>
  <inkml:trace contextRef="#ctx0" brushRef="#br0" timeOffset="90842.69">2690 10918 0,'-18'0'15</inkml:trace>
  <inkml:trace contextRef="#ctx0" brushRef="#br0" timeOffset="91351.71">3166 10830 0,'-18'0'15,"36"36"1,-18-19-16,0 1 15,18-1-15,-18 2 0,18-2 0,-1 18 16,-17-17-16,36 34 16,-36-34-1,17-18-15,-17 18 0,18 0 0,-18-1 16,17 0 0</inkml:trace>
  <inkml:trace contextRef="#ctx0" brushRef="#br0" timeOffset="91970.34">3236 10989 0,'-52'18'0,"34"0"16,0-1-1,1 0-15,17 1 0,0 0 0,-17 0 16,17-1-16,0 19 15,17-19-15,-17 1 0,17-1 16,1-17-16,-18 17 0,18-17 0,34-17 16,-16 17-1,-18 0-15,16-17 0,37-18 16,-35 35-16</inkml:trace>
  <inkml:trace contextRef="#ctx0" brushRef="#br0" timeOffset="92539.91">2760 12453 0,'-17'-18'16,"17"54"15,17 16-15,1-16-16,0-1 0,-18-18 16,35 37-16,0 34 15,-17-52-15,0-2 16,16 2-16,-15-18 15,-19-1-15,17-17 0,-17 17 0,18-17 16</inkml:trace>
  <inkml:trace contextRef="#ctx0" brushRef="#br0" timeOffset="92996.04">2636 12489 0,'0'0'16,"0"-18"-16,19-18 15,-2 36-15,1-17 16,-1 17-16,2 0 0,-2 17 15,0 1-15,1 0 16,-18 0 0,0-1-16,0 0 0,0 1 0,0 0 15,18 0-15,-18-1 16,35 0 0,18-17-1,18 19 1,-54-2-16,37 1 15,-54-1-15,17 19 16,0-19-16,-17 1 0,-17 18 16,17-19-16,0 0 15,-36 37 1,19-37-16,-1 0 0,1 1 16</inkml:trace>
  <inkml:trace contextRef="#ctx0" brushRef="#br0" timeOffset="93186.56">3131 12523 0,'53'54'0,"-18"-20"16,-18-15-1,2-2-15,-19 1 0,17-1 0,-17 2 16,18-2-16,-1 0 16,0 1-16</inkml:trace>
  <inkml:trace contextRef="#ctx0" brushRef="#br0" timeOffset="93350.5">3026 12311 0,'-19'0'0,"55"36"31</inkml:trace>
  <inkml:trace contextRef="#ctx0" brushRef="#br0" timeOffset="93744.41">3536 12277 0,'-34'17'15,"15"-17"1,2 17-16,17 2 0,-18-2 0,1-17 0,17 18 15,-17 18 1,17-19-16,0 18 0,0-17 0,0 17 16,17-18-1,0-17 1,18 0 0,-16-17-16,-2-18 15,-17 17-15,17 0 0,-17 1 16,0 0-1,18-2-15,-18 2 16,0-1-16,36 53 31,-19 1-15,0-36-16,2 17 16,-2-17-1</inkml:trace>
  <inkml:trace contextRef="#ctx0" brushRef="#br0" timeOffset="94023.32">3836 12171 0,'-34'18'0,"68"-36"0,-87 36 0,36-1 16,17 0-1,-18-17-15,36 36 16,-18-18-16,17-18 0,2 17 15,-2 0-15,18 2 16,-17-2-16,0 1 0,-1-18 0,18 17 16,1 19-16,-19-19 15,-17 1-15,0 0 0,17 17 16,-34-35 0,17 17-16,0 1 0,-17 0 0,-1 0 15,18-1-15,-18 0 16,0-17-1</inkml:trace>
  <inkml:trace contextRef="#ctx0" brushRef="#br0" timeOffset="94179.56">4278 12294 0,'-18'-17'15,"0"34"1</inkml:trace>
  <inkml:trace contextRef="#ctx0" brushRef="#br0" timeOffset="94614.45">3607 13335 0,'0'0'0,"17"-36"16,37 2-1,-1-2 1,-18 18-16,1-16 0,16-2 0,-16 18 16,69-52-16,-69 35 15,87-54 1,-87 71-16,-2 1 0,-16 0 0,35-1 16,-53 0-16</inkml:trace>
  <inkml:trace contextRef="#ctx0" brushRef="#br0" timeOffset="94838.97">3819 13370 0,'88'-71'16,"-53"37"-16,1 16 0,-2-18 15,73-52 1,-72 54-16,-18 15 0,2 2 0,-2-1 16,36-35-1,-35 53-15,-1-35 16,0 35-16</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729"/>
    </inkml:context>
    <inkml:brush xml:id="br0">
      <inkml:brushProperty name="width" value="0.025" units="cm"/>
      <inkml:brushProperty name="height" value="0.025" units="cm"/>
      <inkml:brushProperty name="ignorePressure" value="1"/>
    </inkml:brush>
  </inkml:definitions>
  <inkml:trace contextRef="#ctx0" brushRef="#br0">28 0,'-4'9,"-3"7,2 4,0 6,2 0,0 1,3 1,-1 0,1-1,0-1,1 1,-1-2,0 2,0-6</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0.449"/>
    </inkml:context>
    <inkml:brush xml:id="br0">
      <inkml:brushProperty name="width" value="0.025" units="cm"/>
      <inkml:brushProperty name="height" value="0.025" units="cm"/>
      <inkml:brushProperty name="ignorePressure" value="1"/>
    </inkml:brush>
  </inkml:definitions>
  <inkml:trace contextRef="#ctx0" brushRef="#br0">9 1,'4'0,"0"0,0 0,0 0,-1 0,1 0,0 1,0-1,0 2,-1-1,1 0,0 1,-2-1,2 0,-1 1,1 0,-1 1,1-2,-2 2,1 0,0-1,-1 1,5 5,-6-4,1-1,-1 1,-1 1,1-1,-1 0,2 0,-2 0,0 0,0 0,0 0,-2 0,2 0,-1 0,1 1,-1-2,-1 1,1 0,-2 0,2 0,-4 5,-30 39,30-42,-1 0,1 1,1 0,-1-1,1 1,0 0,0 1,1-2,0 2,-2 8,5-14,0-1,1 0,-1 1,0 0,2 0,-2-1,1 0,-1 1,1-1,1 0,-2 1,1-1,0 0,1 1,-1-2,-1 1,1 0,1 1,-1-2,0 1,1 0,-1-1,0 2,2-2,-2 0,1 1,-1-1,0 0,1 0,0 1,0-1,-1 0,0 0,1 0,-1 0,3-1,60-3,44-19,-84 21</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182"/>
    </inkml:context>
    <inkml:brush xml:id="br0">
      <inkml:brushProperty name="width" value="0.025" units="cm"/>
      <inkml:brushProperty name="height" value="0.025" units="cm"/>
      <inkml:brushProperty name="ignorePressure" value="1"/>
    </inkml:brush>
  </inkml:definitions>
  <inkml:trace contextRef="#ctx0" brushRef="#br0">161 9,'7'-1,"-14"-3,-22 0,25 5,-66 14,66-15,0 1,0 1,0-1,0 0,0 2,0-2,0 2,0-2,2 2,-2 0,1-1,-1 1,-3 5,7-7,0 1,-1-1,1 0,0 1,0-1,0 0,0 1,0-1,0 0,0 1,0-1,0 0,0 1,1-1,-1 0,0 1,2-1,-2 0,1 1,-1-1,1 0,-1 1,2-2,-1 1,-1 0,1 1,1-2,-1 1,0 0,1-1,-2 2,4-1,44 27,-42-24,14 5,-6-2,-1 0,0-1,1 2,-2 0,20 18,-30-25,0 2,0-1,1 1,-2 0,1 1,0-2,0 1,-1 0,0 1,1-2,-1 1,-1 1,1-1,-1 1,2-2,-2 2,0-1,0 1,0 0,0-1,-2 1,2-2,-1 2,1-1,-1 0,-1 1,1-2,0 2,-1-1,1 0,-3 2,-1 3,-1 0,1-1,0-1,-2 1,0 0,1-1,-2 0,1-1,-1 0,1 1,-17 6,4-3</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630"/>
    </inkml:context>
    <inkml:brush xml:id="br0">
      <inkml:brushProperty name="width" value="0.025" units="cm"/>
      <inkml:brushProperty name="height" value="0.025" units="cm"/>
      <inkml:brushProperty name="ignorePressure" value="1"/>
    </inkml:brush>
  </inkml:definitions>
  <inkml:trace contextRef="#ctx0" brushRef="#br0">28 0,'0'9,"0"7,-5 6,-1 2,1 2,0 2,2 0,0-1,2 0,1-1,0 1,0 0,0-2,1-4</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945"/>
    </inkml:context>
    <inkml:brush xml:id="br0">
      <inkml:brushProperty name="width" value="0.025" units="cm"/>
      <inkml:brushProperty name="height" value="0.025" units="cm"/>
      <inkml:brushProperty name="ignorePressure" value="1"/>
    </inkml:brush>
  </inkml:definitions>
  <inkml:trace contextRef="#ctx0" brushRef="#br0">0 52,'9'0,"7"0,6-4,3-3,2 2,-1 0,2 2,0-4,-1 1,0-1,-1 3,-4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273"/>
    </inkml:context>
    <inkml:brush xml:id="br0">
      <inkml:brushProperty name="width" value="0.025" units="cm"/>
      <inkml:brushProperty name="height" value="0.025" units="cm"/>
      <inkml:brushProperty name="ignorePressure" value="1"/>
    </inkml:brush>
  </inkml:definitions>
  <inkml:trace contextRef="#ctx0" brushRef="#br0">71 49,'-3'2,"-1"-2,1 0,-1 1,2 0,-1-1,-1 2,1-1,1 0,-1 2,0-2,1 1,-1 0,0 0,1 0,-1 1,0-2,2 2,-2 0,2-1,-2 1,2 0,0-1,-1 2,1-1,0 0,-1-1,1 2,1-1,-1 1,1-1,0-1,0 2,0 4,-2 2,1-2,1 1,1-1,-1 1,2-1,-1 2,0-2,2 0,-2 1,3-1,6 15,-5-18,0 2,1-2,0 0,0 1,0-1,1-1,0 0,-1 0,2 0,-1 0,1-1,0-1,-1 1,1 0,0-2,0 0,0 1,0-2,0 1,0-1,12-1,-12 1,0-2,0 2,-2-1,2 0,0-2,-1 2,1-2,-1 0,1 1,-2-2,1 0,0 0,-1 0,0 0,0-2,0 2,0-1,0-2,-1 2,-1 0,1-2,6-9,-10 11,1-1,-2 1,1 0,0-1,-1 1,0 0,0-1,0 1,-1 1,1-1,-1-1,-1 1,1 0,0-1,-2 2,2-1,-2 0,0 1,1 0,-1-2,0 2,-1 0,2 0,-2 0,0 0,-6-4,-3-2,1-2,-1 2,-2 1,2 0,-2-1,0 4,-18-9,9 7</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609"/>
    </inkml:context>
    <inkml:brush xml:id="br0">
      <inkml:brushProperty name="width" value="0.025" units="cm"/>
      <inkml:brushProperty name="height" value="0.025" units="cm"/>
      <inkml:brushProperty name="ignorePressure" value="1"/>
    </inkml:brush>
  </inkml:definitions>
  <inkml:trace contextRef="#ctx0" brushRef="#br0">0 1,'0'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1.477"/>
    </inkml:context>
    <inkml:brush xml:id="br0">
      <inkml:brushProperty name="width" value="0.025" units="cm"/>
      <inkml:brushProperty name="height" value="0.025" units="cm"/>
      <inkml:brushProperty name="ignorePressure" value="1"/>
    </inkml:brush>
  </inkml:definitions>
  <inkml:trace contextRef="#ctx0" brushRef="#br0">72 0,'-7'9,"-1"-1,2 2,-1-2,2 1,-1 2,1-2,0 2,1-2,0 2,1-1,0 1,1 1,-2 13,2-17,2-1,-1 1,1-1,0 1,1-2,-1 2,2-1,-1 0,0 1,2-2,0 1,-1 0,1 1,0-3,1 2,0-1,0 1,0-2,1 1,-1 0,8 5,-9-8,-1-1,2 0,0 0,-1 0,1 0,0 0,0-1,-1 0,1 1,0-1,0-1,0 1,0-1,0 0,0 0,0 0,1 0,-1 0,0-1,0 1,0-1,-1-1,1 1,0 0,0-1,0 1,-2-2,2 2,0-2,-1 1,4-4,-2 2,-1 0,0 0,0-1,0 1,-1-1,1 1,-2-2,1 1,0 0,-1-1,1 1,-2 0,1-1,-1 0,0 0,1 1,-1-2,-1 2,0-2,0 2,-1-7,-2 0,0 1,-1 1,0-1,-1 0,0 2,-1-2,1 2,-2 0,1-1,-2 2,1-1,-1 1,-1 0,1 1,-2-1,1 2,0 0,-15-7,8 6</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2.124"/>
    </inkml:context>
    <inkml:brush xml:id="br0">
      <inkml:brushProperty name="width" value="0.025" units="cm"/>
      <inkml:brushProperty name="height" value="0.025" units="cm"/>
      <inkml:brushProperty name="ignorePressure" value="1"/>
    </inkml:brush>
  </inkml:definitions>
  <inkml:trace contextRef="#ctx0" brushRef="#br0">21 2,'3'0,"0"-1,-1 1,0 0,0 0,1 0,0 0,-1 0,0 0,0 1,1-1,0 0,-2 2,2-1,-1-1,1 1,-2 1,2-1,-2 0,2 1,-2-1,2 0,-2 1,1 0,-1 0,2-1,-2 2,0-2,1 2,-1-2,-1 2,1-1,1 0,-1 0,-1 1,1-2,-1 2,0 0,2-1,-2 1,0-2,0 2,0 0,0-1,-2 1,2-2,0 2,-1 0,1-1,-1 0,-2 4,-4 12,1-2,-1 0,-2-2,1 2,-19 22,8-5,19-32,0-1,0 2,-1-1,1-1,0 1,0 1,0-2,0 1,0 0,0-1,0 2,1-1,-1-1,0 1,0-1,0 2,2-1,-2-1,0 1,1-1,-1 2,1-1,3 2,-1-2,1 0,0 2,0-2,-1 1,1-2,0 1,0 0,0-1,0 0,0 0,0 0,8 0,12 0,0-1,0-2,38-7,-38 4</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4.702"/>
    </inkml:context>
    <inkml:brush xml:id="br0">
      <inkml:brushProperty name="width" value="0.025" units="cm"/>
      <inkml:brushProperty name="height" value="0.025" units="cm"/>
      <inkml:brushProperty name="ignorePressure" value="1"/>
    </inkml:brush>
  </inkml:definitions>
  <inkml:trace contextRef="#ctx0" brushRef="#br0">1 1,'8'0,"9"0,5 0,2 0,2 0,2 0,0 0,-1 0,0 0,5 0,0 0,-2 0,-3 0</inkml:trace>
</inkml:ink>
</file>

<file path=ppt/ink/ink12.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4:56:47.346"/>
    </inkml:context>
    <inkml:brush xml:id="br0">
      <inkml:brushProperty name="width" value="0.05292" units="cm"/>
      <inkml:brushProperty name="height" value="0.05292" units="cm"/>
      <inkml:brushProperty name="color" value="#0070C0"/>
    </inkml:brush>
  </inkml:definitions>
  <inkml:trace contextRef="#ctx0" brushRef="#br0">6619 6261 0,'17'-17'16,"-51"34"31,16 19-32,0-18-15,0-1 16,18 19-16,-17-19 0,0 37 0,-37 51 16,37-52-1,17-18-15,0-18 16,0 2-16,0-2 0,0 1 0,17 16 16,1-15-16,-1-2 15,19-17 1,-19-17-16,1 17 15,-18-19-15,18 19 16,0-34 0,-18 16-16,17-35 15,-17 36-15,17-19 32,1 18-32,0 18 15,0 18-15,16 0 16,-15 17-1,-2-35-15,-17 17 16,18-17-16,-1 36 16,-17-18-1,0-1-15</inkml:trace>
  <inkml:trace contextRef="#ctx0" brushRef="#br0" timeOffset="296.01">6866 6544 0,'17'17'16,"2"19"0,-19-18-16,0-1 15,17 0-15,-17 19 16,0-18-16,17-1 15,-17-34 32,0-1-47,18-18 16,-18 19-16,0 0 16,18-1-1,-18 0-15,18 18 0,-1-18 16,18 1-16</inkml:trace>
  <inkml:trace contextRef="#ctx0" brushRef="#br0" timeOffset="558.17">7166 6491 0,'-18'17'16,"18"19"0,0-19-1,0 1 1,18 18-16,-1-19 15,2-17-15,15 17 16,-16-17 0,18-17-16,-19 17 15,-17-17-15,17-1 16,-34-18 0,0 19-1,-2 17 1,2 0-1</inkml:trace>
  <inkml:trace contextRef="#ctx0" brushRef="#br0" timeOffset="845.73">7448 6439 0,'0'34'16,"18"1"0,-18-16-1,34 15 1,-15-16-16,16-18 16,-35 18-16,17-36 15,19 18 1,-19 0-16,1-18 15,-18 1 1,17 17 0,-17-17-1</inkml:trace>
  <inkml:trace contextRef="#ctx0" brushRef="#br0" timeOffset="1229.54">7800 6420 0,'-17'53'16,"17"-35"-16,0-1 16,17 54-1,-17-18-15,0-17 0,0-1 16,0-18-16,0 19 0,0 16 16,0-33-16,0-2 0,0 36 15,0-35 1,19-54 15,-2-52-15,1 70-1,-1-18-15,0 19 0,2-18 0,16-18 16,-18 53-16,2-17 0,-2-1 16,0 18-1,1 0-15,0 18 16,-18-1-1,0 0 1,-18 2-16,0-19 0,18 17 16,-17-17-16</inkml:trace>
  <inkml:trace contextRef="#ctx0" brushRef="#br0" timeOffset="1666.67">8930 6261 0,'0'18'0,"0"35"16,-18-17-16,18-19 15,0 1-15,0 18 0,-17-19 0,17 18 16,0-18-16,-19 2 0,19 33 15,-17-34-15,17 0 0,0-1 16,-17-17-16,17 17 16,0 2-16,17-55 31,19-17-15,-36 35-16,17-16 0,35-90 15,-33 106 1,-2-18-16,1 19 0,-1 0 0,19-19 15,-36 18 1,17 18-16,1 0 16,-1 18-16,-17 0 0,0 0 15,0-1-15,0 0 0,0 19 16,0-1-16,0-16 16,0-2-16,-17 18 15,17-18-15,0 2 16</inkml:trace>
  <inkml:trace contextRef="#ctx0" brushRef="#br0" timeOffset="1868.78">8859 6544 0,'36'-17'15,"16"-2"-15,-35 19 16,19 0-16,-18-17 0,18 17 0,16-18 16,-35 18-16,2 0 15,51-17 1,-52 17-16,-1-17 0,19 17 0</inkml:trace>
  <inkml:trace contextRef="#ctx0" brushRef="#br0" timeOffset="2658.03">15086 6051 0,'-35'17'0,"16"-17"16,19 17-16,-17 1 0,0-1 16,-19 54-16,18-35 15,18-19-15,-17 18 0,17-17 0,0 0 16,-17 35 0,17-36-16,17 1 15,0-1 1,1-34-1,0 17-15,-18-18 0,18 18 0,-1 0 16,-17-17-16,17 17 0,2 0 0,-2-19 16,1 38-1,-1-19-15,0 17 16,2-17-16,-19 18 16,17-1-16,1 19 15,-18-19 1</inkml:trace>
  <inkml:trace contextRef="#ctx0" brushRef="#br0" timeOffset="2971.67">15279 6227 0,'36'34'16,"-19"20"-16,-17-1 16,18-36-16,-18 1 15,0-1 1,0 2-16,18-38 47,0-16-32,-1 18-15,0-2 16,2 2 0,-2 17-16,18-17 15</inkml:trace>
  <inkml:trace contextRef="#ctx0" brushRef="#br0" timeOffset="3227.91">15615 6279 0,'-17'36'31,"17"-19"-31,0 0 0,0 2 16,17-2 0,0-17-16,-17 18 0,18-18 15,0 0-15,17 0 16,-18-18 0,1 1-16,-18-2 15,0 2-15,0 0 16,-18 17-16,18-18 0,-17 18 15,0-18 1,-1 18-16,0 18 16,0-18-16,1 0 15</inkml:trace>
  <inkml:trace contextRef="#ctx0" brushRef="#br0" timeOffset="3945.6">15967 6227 0,'0'-18'16,"0"36"-16,-17-1 31,17 0-16,-18 1-15,18 0 16,18 0 0,-18-1-16,17-17 15,2 0-15,-2 0 16,0 0 0,1 0-16,0-17 0,0 17 15,-1 0 1,-17 17-16,17-17 15,-17 17 1,18-17-16,0 0 16,34-17-1,-52 0-15,19 17 16,-2-18-16,1 0 16,-1 0-16,-17 1 0,19 0 0,-2-1 0,-17 0 15,17 0-15,-17 1 0,18 17 0,-18-17 16,17 17-1,-17 17 1,-17 71 0,17-53-16,-35 71 15,18-71-15,17 18 0,-19 1 0,2-20 16,-1 2-16,18-1 0,-17 1 0,17-19 16,0 1-16,-19-1 0,19 0 15,0-51 16,36-20-15,-18 2-16,-1 16 0,2 2 0,15-2 0,-16 1 16,-1 18-16,19-2 0,-36 2 0,35-1 15,-17 18 1,0 18-16,-36-1 16,18 2-1,-18-2-15,0 0 0,-16 1 16,15-1-16,2 2 0,-18-2 15</inkml:trace>
  <inkml:trace contextRef="#ctx0" brushRef="#br0" timeOffset="4219.32">17255 5980 0,'-35'35'16,"-1"18"0,36-18-16,-52 35 15,52-34-15,-18-18 0,18-1 16,-18 0-16,1 37 15,17-37-15,0 0 0,-17-17 16,17 19 0,17-19-16</inkml:trace>
  <inkml:trace contextRef="#ctx0" brushRef="#br0" timeOffset="4728.34">17220 6015 0,'35'-35'16,"-70"70"-16,87-70 0,-33 35 15,-2 0-15,-17 17 16,0 1 0,0-1-16,-17 2 15,17-2-15,0 0 0,0 18 16,0-16-16,0-2 16,35 18-1,-35-17-15,17 0 16,-17-1-16,-17 0 15,17 1-15,-18 0 16,-35 17 0,18-35-16,-1 17 15</inkml:trace>
  <inkml:trace contextRef="#ctx0" brushRef="#br0" timeOffset="16557.32">22300 671 0,'0'-19'0,"-18"72"31,18-35-31,0 35 0,0-18 16,0 1-16,-18-2 0,1 73 16,0-2-1,17-87-15,0 35 16,0-36-16,0 1 0,-18-18 0,18 18 15</inkml:trace>
  <inkml:trace contextRef="#ctx0" brushRef="#br0" timeOffset="16867.45">22230 741 0,'52'-70'0,"-34"51"0,0 19 0,-1 0 16,36 0-1,-35 0-15,-1 0 0,2 19 0,-2-2 16,0 18-1,-17-17-15,0 0 0,0 16 16,-17-16-16,17 0 0,-17 0 16,-19 35-16,18-36 15,18 1-15,-17-18 0,-19 17 16</inkml:trace>
  <inkml:trace contextRef="#ctx0" brushRef="#br0" timeOffset="17093.34">22547 671 0,'0'0'0,"17"0"16,-17 17 0,18 0-16,-18 1 0,0 18 15,0-19-15,0 18 0,0-17 0,-18 17 16,18 53-16,-17-52 15,17 35 1,-17-37-16,17-16 0,0 0 0,0 0 16,0-1-1</inkml:trace>
  <inkml:trace contextRef="#ctx0" brushRef="#br0" timeOffset="17501.06">22882 900 0,'0'0'0,"-18"-19"0,-16 19 16,15 19-1,2-2-15,17 1 16,-18-18-16,1 36 16,17-19-16,0 0 15,0 1 1,17-36-16,18 18 31,-16-17-31,-2 17 31,0 0-15,-17 17-16,18-17 0,-18 18 16,0-1-16,17 2 15,-17-2-15,19 0 16,-19 1-16,17-18 16</inkml:trace>
  <inkml:trace contextRef="#ctx0" brushRef="#br0" timeOffset="17904.95">23288 847 0,'-18'-18'0,"0"0"16,-35 54 15,36-19-31,17 0 0,-18 2 16,1-2-16,-2 1 15,19-1-15,0 2 0,0-2 16,0 0-16,0 1 16,19-1-1,-2 2-15,1-19 0,-1 0 0,19-19 16,-19 19 0,1 0-16,0-17 0,0 17 0,-1-18 0,36-16 15,-53 15 1,18 19-16,-18-17 0,17-1 15,-34 53 17,17 1-17,-18-36-15,18 17 16,0 1-16,18 18 16,-1-19-1,0-17-15</inkml:trace>
  <inkml:trace contextRef="#ctx0" brushRef="#br0" timeOffset="18316">23799 652 0,'0'-35'0,"-17"70"31,17 1-16,0-19-15,-18 19 16,18-1-16,-18-18 0,18 19 0,0-1 16,-18-18-16,1 37 15,17-37-15,0 2 0,0-2 16,17-34 31,19-2-47,-18 2 15,-1 17-15,0-18 0,2 18 16,-2 0-16,1 0 16,-18 18-16,17-18 0,2 17 15,-38 19 1,19-19-16,-35 18 16,18-35-1,17 19-15,-19-19 0,2 17 0,0-17 16,-19 17-1</inkml:trace>
  <inkml:trace contextRef="#ctx0" brushRef="#br0" timeOffset="18665.79">24187 864 0,'0'-17'0,"0"34"0,-35-17 16,35 36-1,-17-36-15,17 52 16,0-33-16,0-2 16,0 0-16,17-17 0,1 18 15,-18-1-15,17-17 0,19 0 16,-19 0-1,-17-17-15,18 17 0,-18-18 16,17 1 0,-17 0-16,0-2 0,-17-16 15,17 18 1,0-2-16,0 2 16,-18 17-16</inkml:trace>
  <inkml:trace contextRef="#ctx0" brushRef="#br0" timeOffset="18942.84">24911 988 0,'-19'0'0,"55"0"31,-18 0-31,-1-17 0,2 17 0,33 0 16,-35 0-16,2 0 15,-2-19-15,18 19 0,-17 0 0,0 0 16,-1 0-16,0-17 15,2 17-15,-2 0 0,-17-18 16,18 18-16</inkml:trace>
  <inkml:trace contextRef="#ctx0" brushRef="#br0" timeOffset="19177.99">25246 759 0,'0'0'0,"0"-18"15,34 36 1,2 16 0,-18-16-16,35 18 15,-36-19 1,1 0-16,-1 37 16,-17-37-16,0 2 0,0 15 15,-17-16-15,-1 18 16,1-19-16,0 0 0,-37 19 15</inkml:trace>
  <inkml:trace contextRef="#ctx0" brushRef="#br0" timeOffset="22757.47">26234 688 0,'0'-17'0,"17"17"0,-70 17 63,53 0-63,-18 19 15,1-18-15,0-1 0,-2 18 16,19-17-16,-17 17 0,17-18 15,0 2-15,0 16 0,0 18 16,0-18-16,0-18 16,0 2-16,17-2 0,-17 0 0,19 1 15,-2 0-15,54 17 16,-54-35-16,0 0 0,71 0 16,-52 0-16,-1 0 15,1 0-15,-19-17 16,18 17-16,18-18 0,-35 18 0,18-18 15,17-17-15,-36 18 16,18-37 0,-18 37-16,2 0 0,-19-2 0,0-33 15,17 33 1,-34 2-16,17-54 16,-36 19-1,19 52-15,-1-18 0,1 0 0,-2 1 16,-51 0-1,52-2-15,-16 19 0,15-17 0,2 17 16,-1 0-16,-16 0 16,-2 0-16,18 0 0,-18 0 15,19 0-15,0 17 16,-1-17-16,18 19 0,-18-19 16,0 17-16</inkml:trace>
  <inkml:trace contextRef="#ctx0" brushRef="#br0" timeOffset="23091.9">26127 1005 0,'53'-34'0,"-35"34"16,18 0-16,-19-19 0,18 19 15,1-17-15,69-1 16,-69 18-16,-1 0 0,1-17 0,-2 17 16,20-19-1</inkml:trace>
  <inkml:trace contextRef="#ctx0" brushRef="#br0" timeOffset="24741.94">30467 317 0,'17'18'47,"-34"18"-32,17-19-15,0 0 0,0 1 0,0 0 16,0 0-16,-17 35 16,17-36-16,0 18 15,0-18-15,0 2 16</inkml:trace>
  <inkml:trace contextRef="#ctx0" brushRef="#br0" timeOffset="25077.5">30431 335 0,'19'-35'0,"-2"35"0,18 0 16,1 0 0,-19 0-16,0 35 15,1-35-15,-18 18 0,18 17 16,-18-18-16,0 1 16,0 0-16,-36 17 15,36-18-15,-17 2 0,17-2 16,-17-17-16,-2 18 15,2 16-15,-1-34 16,1 19-16</inkml:trace>
  <inkml:trace contextRef="#ctx0" brushRef="#br0" timeOffset="25405.54">30731 441 0,'-17'35'31,"17"-18"-15,0 2-16,17 16 16,0-35-1,2 17 1,16-17-16,-18-17 15,2-1 1,-19 1 0,0-19-1,0 19-15,-19-1 16,2 18 0,-18 0-16,16 0 15</inkml:trace>
  <inkml:trace contextRef="#ctx0" brushRef="#br0" timeOffset="25596.82">30960 264 0,'18'0'15,"-18"19"1,0-2-1,0 0-15,0 1 0,-18 35 16,18-36-16,-17 1 16,0 35-1,17-36-15</inkml:trace>
  <inkml:trace contextRef="#ctx0" brushRef="#br0" timeOffset="25899.51">31155 459 0,'0'34'31,"0"-15"-15,17-2-1,1-17 1,-1 0-16,2 0 15,-2 0 1,-17-17-16,17-2 16,-34 2-1,17 0 1,-17 17-16,-2 0 16,2 0-1</inkml:trace>
  <inkml:trace contextRef="#ctx0" brushRef="#br0" timeOffset="26305.61">31702 229 0,'17'-17'16,"-34"34"-16,-1 18 31,0 1-15,18-19-16,-18 19 15,1-1-15,17-18 0,0 1 0,-17-18 16,17 18-16,17 17 15,-17-18-15,35 2 16,-17-19 0,0 0-1,-1 0-15,-17-19 16,0 2 0,-17 0-16,-1 17 31,0 0-31,-17-18 15</inkml:trace>
  <inkml:trace contextRef="#ctx0" brushRef="#br0" timeOffset="26635.12">31948 283 0,'0'-19'15,"-17"38"-15,0-19 16,17 17 0,0 0-1,0 1 1,0 0-16,17 0 15,-17-1 1,-17 0 0,-2 1-16,2 0 15,-1-18-15,1 18 16,-2-18-16,19 17 0,-17-17 16</inkml:trace>
  <inkml:trace contextRef="#ctx0" brushRef="#br0" timeOffset="26913.91">32090 353 0,'0'35'31,"17"-18"-31,0-17 15,19 0 1,-18-17-16,-1 17 16,0-17-16,-17-1 15,19 18 1,-38-18-16,19 0 0,-17 18 16,0 0-16,-1 0 15,-18 0-15,19 0 0,0 18 0,-19-18 16,18 0-16</inkml:trace>
  <inkml:trace contextRef="#ctx0" brushRef="#br0" timeOffset="27997.83">30908 952 0,'-18'19'16,"0"-2"-1,18 0-15,-17 37 16,17-37-16,0 0 0,0 1 15,0 0-15,0 0 0,0-1 0,17 0 16,-17 1-16,18-18 0,0 0 0,17 0 16,-18 18-16,37-18 15,-37 0-15,19 0 0,-19 0 16,18-18-16,36 18 16,-35-18-16,-19 1 15,-17 0-15,17-1 0,-17-18 16,0 19-16,0 0 15,0-2-15,0 2 0,-17-1 0,17 1 16,-17 0-16,-2-2 0,2 2 0,-1-1 16,-52 1-1,52 17-15,-18 0 0,19 0 16,0 17-16,-1-17 0</inkml:trace>
  <inkml:trace contextRef="#ctx0" brushRef="#br0" timeOffset="28278.72">30890 1111 0,'36'0'31,"34"-18"-15,-52 18-16,16 0 0,2 0 0,-18 0 0,16 0 15,-15 0-15</inkml:trace>
  <inkml:trace contextRef="#ctx0" brushRef="#br0" timeOffset="30886.96">25616 1869 0,'-17'195'16,"17"-143"-16,0 1 0,-19 1 0,2-2 16,0 1-16,17-17 0,-18-1 0,18 1 15,-18-2-15,18-16 0,-18-1 0,18 19 16,-17-36-16,17 17 0,-17 19 16</inkml:trace>
  <inkml:trace contextRef="#ctx0" brushRef="#br0" timeOffset="31461.94">25634 1940 0,'17'-17'16,"54"17"-1,-35-18-15,-2 18 16,37-18-16,-18 18 0,-1-18 0,19 18 16,70-17-16,-87 0 15,16 17-15,1-18 0,0 18 0,-19-18 16,1 0-16,0 18 0,-18 0 0,-18 0 15,2-17-15,16 17 0,-18 0 16,0 0-16,2 0 0,-2 0 16,-17 17-16,18-17 0,-1 18 0,2 0 15,-2 34 1,0-16-16,-17-18 0,0 16 16,18 2-16,0-1 0,-18 1 15,18-1-15,-18 1 0,17 34 16,-17-35-16,17 0 0,-17-17 15,0 17-15,18-18 0,-18 2 0,0-2 16,-18 1-16,18 18 0,-17-19 16,17 0-16,-17 1 0,-1-1 15,0 2-15,-17-2 0,-1-17 16,1 17-16,-1-17 0,-16 18 16,-1 0-16,0-18 0,1 0 0,-19 18 15,18-18-15,-18 17 0,18-17 0,1 0 16,-19 0-16,18 0 0,18 0 0,-1 0 15,1 0-15,-1 0 0,2 0 16,16 0-16,0 0 0,-17 0 16,18-17-16,-1 17 0</inkml:trace>
  <inkml:trace contextRef="#ctx0" brushRef="#br0" timeOffset="31870.33">25863 2064 0,'-17'52'0,"34"-16"31,-17-19-31,53 37 32,-35-54-32,-1 0 0,0 0 31,-17-18-31,19 18 0,-19-18 15,-19 0 1,19 1-16,-17 0 16,0-2-16,-1 19 15,0 0-15,0 0 16,1 0-16</inkml:trace>
  <inkml:trace contextRef="#ctx0" brushRef="#br0" timeOffset="32197.76">26163 2047 0,'-17'17'15,"17"0"1,0 18-1,17-16-15,-17-2 16,17-17 0,1 0-1,0 0 1,0-17-16,-18-2 16,0 2-1,-18-1 1,18 1-1,-18 17-15</inkml:trace>
  <inkml:trace contextRef="#ctx0" brushRef="#br0" timeOffset="32481.86">26515 1957 0,'0'0'0,"0"19"0,0-2 16,0 1-16,19-1 15,15-17 48,-34-35-48,18 18 1,-53 17 0,18 17-1,-2-17-15,-16 18 0</inkml:trace>
  <inkml:trace contextRef="#ctx0" brushRef="#br0" timeOffset="32869.64">25916 2416 0,'0'19'15,"0"-2"1,18 0-16,-1-17 0,0 18 16,2-18-16,-2 0 15,-17-18 1,18 18-16,-1-17 15,-17 0-15,17-2 16,-34 2 0,17-1-16,-17 18 15</inkml:trace>
  <inkml:trace contextRef="#ctx0" brushRef="#br0" timeOffset="33182.06">26234 2328 0,'0'17'0,"0"2"15,0-2-15,17-17 0,-17 18 16,17-18-16,1 17 15,0-17 1,0 0-16,-1 0 16,0-17-1,-17-1-15,19 1 16,-19-2-16,0 2 31,-19 17-15</inkml:trace>
  <inkml:trace contextRef="#ctx0" brushRef="#br0" timeOffset="33457.98">26568 2240 0,'0'35'15,"18"-35"1,0 18 0,0-18-1,-1-18-15,0 18 16,2-18 0,-19 1-16,0 0 31,-19-1-16,2 36-15,0-18 16,-1 17 0</inkml:trace>
  <inkml:trace contextRef="#ctx0" brushRef="#br0" timeOffset="35789.8">26675 1799 0,'0'-18'0,"0"1"15,17 0-15,-17-2 0,-17-16 16,17 18-1,0-36 1,0 18-16,0 16 0,0 2 16,0 0-16,0-1 0,0 0 15,0 0-15,0 1 0,0 0 16,0-2-16,0 2 0,0-1 16,0 1-1,-19 17-15</inkml:trace>
  <inkml:trace contextRef="#ctx0" brushRef="#br0" timeOffset="35997.51">26710 1323 0,'-35'17'0,"16"2"16,19-2-16,-17 0 0,0-17 16,17 18-16,-18-1 0,0 2 0,18-2 15,-18 0-15,18 1 0,-17 0 16,0 0-16,17-1 0</inkml:trace>
  <inkml:trace contextRef="#ctx0" brushRef="#br0" timeOffset="36230.67">26604 1393 0,'18'0'0,"-1"0"16,0 18-1,2-18-15,16 17 16,-18-17 0,0 19-16,2-19 0,-2 0 15,-17 17-15</inkml:trace>
  <inkml:trace contextRef="#ctx0" brushRef="#br0" timeOffset="37037.75">27044 1023 0,'36'17'16,"-1"2"0,-18-19-16,2 0 15,-2 0-15,1 0 0,-1 0 16,2 0-16</inkml:trace>
  <inkml:trace contextRef="#ctx0" brushRef="#br0" timeOffset="37310.28">27327 935 0,'0'0'0,"17"36"31,1-19-15,-18 0-16,0 1 16,0-1-16,0 19 15,0-19-15,-18 1 0,18 0 0,0 0 16,-17-18-16,17 17 0,0 0 15,0 1-15</inkml:trace>
  <inkml:trace contextRef="#ctx0" brushRef="#br0" timeOffset="37705.58">27680 864 0,'-18'17'16,"18"2"-16,-18-19 0,18 17 16,0 1-16,0-1 0,-17 2 0,17-2 15,0 0-15,0 1 16,0-1-16,0 2 0,0-2 15,17 0-15,-17 1 16,18-18-16,0 18 16</inkml:trace>
  <inkml:trace contextRef="#ctx0" brushRef="#br0" timeOffset="38063.01">27874 829 0,'0'-18'16,"-18"54"0,18-19-16,0 0 0,0 2 15,0-2-15,-17 1 0,17-1 16,0 2-16,0 15 15,0-16 1,0-1 0,17-17-1,1 0 1,-1 0 0,19 0-1,-19 0 1,1 19-16,-1-19 15,2 0 1</inkml:trace>
  <inkml:trace contextRef="#ctx0" brushRef="#br0" timeOffset="38371.76">28139 971 0,'17'-19'0,"-17"2"32,-36 53-1,19-36-31,17 17 15,-17 0 1,34 18 15,0-35-31,2 19 0,-2-19 16</inkml:trace>
  <inkml:trace contextRef="#ctx0" brushRef="#br0" timeOffset="38953.1">28315 935 0,'0'-18'16,"-17"53"31,17-16-32,0-2-15,-19 0 16,19 1 0,0-1-16,19-17 47,-2 0-32,0 0 1,1 0-1,0 0 32,0 0-31,-1 0 0,0 0-1,-17-17 1,18 17-16,0 0 15,17 0 1,-18-18 0,19 18-16,-18-17 15,-1 17 1,-17 17 31,0 1-32,0-1 1,-17-17 0</inkml:trace>
  <inkml:trace contextRef="#ctx0" brushRef="#br0" timeOffset="39093.96">28615 917 0,'0'-17'0</inkml:trace>
  <inkml:trace contextRef="#ctx0" brushRef="#br0" timeOffset="39766.74">28791 935 0,'-17'17'31,"17"2"-31,0-2 0,-18-17 16,18 17-16,-18 1 0,18-1 15,0 2-15,0-2 16,18 0 0,0-17-1,16 0 1,-16 0-16,-18-17 16,18 17-16,0-17 15,-1 17-15,-17-19 16,0 55 31,0-19-32,17-17 1,2 18 0,-2-36-1,1 18 1,-1 0-1,-17-17-15,19 17 16,-19 17 31,17-17-16,0 0-15,1-17-16,-1 17 0,2-17 15,-2-2-15,0 19 16,-17-17 0,18 17-1,-18 17 1,-18 19 0</inkml:trace>
  <inkml:trace contextRef="#ctx0" brushRef="#br0" timeOffset="40010.69">28086 1288 0,'53'0'31,"35"-19"-15,-53 19-16,1-17 0,16 17 0,18 0 16,-34-17-16,16 17 0,2-18 0,-18 18 15,16 0-15,-16-18 0,-19 18 16,18 0-16,-17 0 0,0 0 0,-1 0 16</inkml:trace>
  <inkml:trace contextRef="#ctx0" brushRef="#br0" timeOffset="40220.68">28032 1411 0,'54'0'16,"-20"0"-16,-15 0 0,50-18 15,-15 18-15,-1-17 16,18 17-16,-37-17 0,2 17 15,16-19-15,19 19 0,-35-17 0,-19 17 16,18 0-16,-16-18 0,-2 18 16,0 0-16,1 0 0</inkml:trace>
  <inkml:trace contextRef="#ctx0" brushRef="#br0" timeOffset="49442.3">28156 617 0,'-17'-70'16,"-2"70"-16,19-18 0,-17 1 15,0-2-15,-1 2 0,0-18 16,0 17-16,1 0 0,-19 1 0,19 0 16,-18 17-16,-1-18 0,-16 0 15,16 0-15,1 18 0,-1 0 16,2 0-16,16 0 0,-18 0 16,2 0-16,-2 0 0,1 18 0,-1-18 15,1 18-15,18 0 0,-19-18 16,1 17-16,17 0 0,0 1 0,1-18 15,0 18-15,-1-18 0,0 18 0,0-18 16</inkml:trace>
  <inkml:trace contextRef="#ctx0" brushRef="#br0" timeOffset="49720.54">27344 229 0,'-34'18'0,"16"-1"0,70-52 0,-140 89 15,71-37-15,0 0 16,-19 1-16,18 18 0,1-19 0,-2 0 16,2 19-16,0-18 0,-1 16 15,18-15-15,0-2 0,0 1 16,0-1-16,18 0 15,-1 2-15,0-2 0,2-17 0,-2 18 0,18-1 16,1-17-16,-19 19 0,19-19 16,16 0-16,-16 17 0,-1-17 15</inkml:trace>
  <inkml:trace contextRef="#ctx0" brushRef="#br0" timeOffset="55798.33">6654 7056 0,'-35'-19'0,"70"19"16,-17 0-16,88-17 16,-53 17-16,18 0 15,87-17-15,-70-1 0,18 18 16,-18-18-16,89 0 16,-72 1-16,-34 17 0,-18 0 15,70-17-15,-70 17 0,-18-18 0,1 18 16,-1 0-16,-17 0 0,0 0 15</inkml:trace>
  <inkml:trace contextRef="#ctx0" brushRef="#br0" timeOffset="56044.83">6936 7161 0,'0'0'0,"36"0"16,-1-17 0,160 0-1,-107-2-15,105 2 0,-86-1 16,69 1-16,-106 17 16,18 0-16,-17-19 0,34 19 15,-51 0-15,-20 0 0,2 19 16,18-19-16,-20 0 0</inkml:trace>
  <inkml:trace contextRef="#ctx0" brushRef="#br0" timeOffset="56705.58">15086 6615 0,'34'0'15,"2"0"-15,-18-18 0,35 18 16,52 0-16,-34 0 0,194-18 31,-125 18-31,-52 0 0,36-18 16,-53 18-16,70 0 15,-106 0-15,-16 0 16,15 0-16,-16 0 0,-1 0 0,2 0 16</inkml:trace>
  <inkml:trace contextRef="#ctx0" brushRef="#br0" timeOffset="56962.52">15544 6685 0,'176'0'15,"-122"0"-15,68-17 16,-68 17-16,16 0 0,-16 0 16,-20 0-16,213-19 31,-228 19-16,51-17-15,-52 17 16</inkml:trace>
  <inkml:trace contextRef="#ctx0" brushRef="#br0" timeOffset="58039.03">6972 7549 0,'0'-17'0,"-18"52"16,18-18-16,0 2 16,0-2-16,0 18 0,0-17 0,0 17 15,0-18-15,0 2 0,0 33 16,0-35-16,-18 2 0,18-2 16,0 1-16,0-1 0,0 2 15,0-2-15,0 0 0,18-17 16</inkml:trace>
  <inkml:trace contextRef="#ctx0" brushRef="#br0" timeOffset="58375.62">6936 7515 0,'36'-36'0,"-1"18"15,-18 18 1,-17-17-16,18 17 0,0 0 0,0 17 16,16-17-16,-15 18 0,-19-1 15,17-17-15,1 71 16,-18-54-16,-18 2 15,18-2-15,-17 18 0,-2-17 16,2 0-16,17-1 16,-17-17-16,-1 17 0,18 2 0,-36-2 15,19-17-15,17 18 16,-17-18 0</inkml:trace>
  <inkml:trace contextRef="#ctx0" brushRef="#br0" timeOffset="59190.91">7360 7691 0,'0'-18'16,"-18"18"-16,-17 0 31,18 18-31,-2-18 0,2 17 16,-1 0-16,18 2 15,-17-2-15,17 1 16,0-1-16,17 0 15,18-34 1,-16 17 0,-2-17-16,0-1 15,1 1-15,0-2 16,-18 2-16,18 17 16,-1 0 15,-17 36-16,17-19-15,-17 1 0,18-1 16,18 0 0,-36 2-16,17-19 15,0 0-15,37-36 32,-37 19-32,2-1 0,-2-18 15,0 19-15,-17-18 0,18 17 16,-18-17-16,17 18 0,-17-2 15,19-16-15,-19 18 0,0 0 16,17-2-16,-17 2 16,0-1-16,-17 72 31,17-37-31,0 0 16,0 1-16,0 18 0,0-19 15,0 0-15,-19 1 0,19 0 16,0 0-16,19-1 0,-19 19 15,17-19 1,0-17-16,1 0 16,0-17-16,0 17 15,-1-19-15,0 38 32,2-2-17,-19 1-15,0-1 16,0 19-1,0-19 1</inkml:trace>
  <inkml:trace contextRef="#ctx0" brushRef="#br0" timeOffset="59340.27">8048 7515 0,'0'-19'16</inkml:trace>
  <inkml:trace contextRef="#ctx0" brushRef="#br0" timeOffset="59543.64">7590 7584 0,'17'-17'47,"0"17"-47,18-18 0,36 36 31,-53-18-31</inkml:trace>
  <inkml:trace contextRef="#ctx0" brushRef="#br0" timeOffset="60283.95">8066 7867 0,'17'-88'16,"-17"70"-16,0 1 0,0-2 15,0 2 1,-17 34 15,17 2-31,0-2 16,0 18-1,0-18-15,17 2 16,-17-2-16,17 1 16,1-18-16,-18 17 0,18-17 15,0 19-15,-1-19 16,0 0 0,2-19-1,-2 2-15,-17-1 16,18 1-1,-1-2 1,2 2-16,-2 17 16,0 0 15,1 0-31,-1 17 16,-17 2-1,19-2-15,-19 1 16,17-18 15,0 0-15,1 0-1,0 0 1,0 0 0,-1-18-16,0 18 15,1 0-15</inkml:trace>
  <inkml:trace contextRef="#ctx0" brushRef="#br0" timeOffset="60474.85">8718 7655 0,'17'-106'15,"-17"89"-15,0 0 16,-17 157 0,17-299-16,0 212 31,-18-18-31,18-16 0,0 33 15,0 18 1,0-51-16,0-2 0,0 1 16,0 16-16,0-15 15</inkml:trace>
  <inkml:trace contextRef="#ctx0" brushRef="#br0" timeOffset="60843.63">8612 7813 0,'-17'-17'0,"34"0"15,1 17-15,-18-18 16,36 18-16,-19-17 16,35-2-16,-33 19 15,33-34-15,-34 16 16,17 0-16,-35 0 15,17 18 1,-17 18 15,0 0-15,0 0-16,0-1 0,0 0 16,0 2-16,19-2 0,-19 1 15,0 16-15,0 2 16,0-18-16,-19-1 15,-15 19 1,-2-19-16,18-17 16,1 18-16,0-18 0</inkml:trace>
  <inkml:trace contextRef="#ctx0" brushRef="#br0" timeOffset="61612.1">15844 7037 0,'-17'36'16,"17"-1"-16,0-16 0,-19 15 15,2 54 1,17-52-16,-17 16 0,17 2 16,-18-37-16,18 0 15,0 19-15,0-18 16</inkml:trace>
  <inkml:trace contextRef="#ctx0" brushRef="#br0" timeOffset="61890.53">15844 6949 0,'71'-34'0,"-19"34"15,-33 17 1,33 0-1,-34 1-15,17 35 16,-18-53-16,-17 36 16,-17-19-16,0 37 15,-1-37-15,-35 18 16,36-18-16,-37 2 16,37-2-16,-2-17 15</inkml:trace>
  <inkml:trace contextRef="#ctx0" brushRef="#br0" timeOffset="63107.52">16303 7267 0,'-17'-18'16,"-19"36"-16,18 0 15,1-18-15,-2 18 0,2-1 16,0 0-16,-1 1 15,18 0 1,18-18 0,16-18 15,-15 0-31,-2 18 0,1-17 16,-1 17-16,2 0 31,-2 35-16,-17-17-15,0 0 16,17-1-16,-17 0 16,35 2-1</inkml:trace>
  <inkml:trace contextRef="#ctx0" brushRef="#br0" timeOffset="63351.82">16655 6985 0,'-17'35'31,"17"-18"-15,0 19-16,-18 52 15,18-53-15,0 18 16,0-35-16,0 18 0,0-2 15,0-16-15,0 0 16,18 0-16,-18-1 0,0 0 16,17-17-16</inkml:trace>
  <inkml:trace contextRef="#ctx0" brushRef="#br0" timeOffset="63525.17">16532 7215 0,'0'-19'15,"18"2"-15,-1 17 16,0 0-16,2-18 0,16 18 16,-18 0-16,2 0 0,-2 0 15,0 18-15</inkml:trace>
  <inkml:trace contextRef="#ctx0" brushRef="#br0" timeOffset="63975.82">16903 7267 0,'17'-71'16,"-17"54"-1,-36 34 1,36 2 0,-17-19-16,17 17 0,-17 0 0,-1 1 15,18 0-15,0 0 16,0-1-16,18 0 15,-1-17-15,0 0 16,2 0-16,-2 0 16,1 0-16,-1 0 0,19-17 15,-19 0-15,1-1 16,-1 0-16,2 18 0,-2-18 16,0 18-1,-17 18 1,0 18-1,0-19 1,0 0 0,0 1-16,0 0 15</inkml:trace>
  <inkml:trace contextRef="#ctx0" brushRef="#br0" timeOffset="64101.61">17167 7144 0</inkml:trace>
  <inkml:trace contextRef="#ctx0" brushRef="#br0" timeOffset="64408.76">17255 7232 0,'17'17'16,"-17"1"-1,-17-53-15,34 88 0,2-53 31,-2 0 1,1 0-17,-1 0-15,2 0 32,-2 18-17,0-18-15</inkml:trace>
  <inkml:trace contextRef="#ctx0" brushRef="#br0" timeOffset="64596.71">17714 6932 0,'0'-17'16,"-18"69"15,1-16-31,17-19 0,-19 19 15,19-19-15,-17 18 16,17-16-16,0-2 0,-17 35 16,17-33-16,0-2 0,-18 0 15</inkml:trace>
  <inkml:trace contextRef="#ctx0" brushRef="#br0" timeOffset="64760.2">17555 7215 0,'35'-36'16,"-17"36"-16,0-18 0,16 1 16</inkml:trace>
  <inkml:trace contextRef="#ctx0" brushRef="#br0" timeOffset="64939.64">17855 7056 0,'17'0'0,"-17"-19"16,-17 38 0,52-2-16,-35 1 15,-18-1-15,18 2 16,18-2-16,-18 0 0,0 1 0,-18-1 16,18 2-1,0 15-15,-17-34 0,17 18 16,-36 0-16,36 0 0,-17-18 0,-1 17 15,1 0-15</inkml:trace>
  <inkml:trace contextRef="#ctx0" brushRef="#br0" timeOffset="66574.42">7095 8220 0,'-17'0'15,"51"0"-15,20 0 16,-1 0-16,-1-19 0,19 19 16,-18-17-16,18 17 0,-1 0 0,1-17 15,0 17-15,-1-18 0,-18 18 16,19 0-16,-18-17 0,1 17 0,-20 0 0,2 0 15,-18 0-15,-1 0 0,0 0 16,1 0-16,0 0 0</inkml:trace>
  <inkml:trace contextRef="#ctx0" brushRef="#br0" timeOffset="66790.74">7078 8413 0,'-71'18'0,"159"-53"47,-35 35-47,18-17 0,0 17 16,17-18-16,17 0 0,-17 18 16,19-18-16,-19 18 0,-18 0 0,36-17 15,-36 17-15,1 0 0,17 0 0,-17 0 16,17 0-16</inkml:trace>
  <inkml:trace contextRef="#ctx0" brushRef="#br0" timeOffset="67443.67">16603 7673 0,'105'0'31,"-17"0"-31,-17 0 16,70-18-16,-70 18 0,0 0 0,51-18 15,-51 18 1,-18-17-16,18 17 0,-36 0 0,35 0 15,-52 0-15,18 0 0,-19 0 0</inkml:trace>
  <inkml:trace contextRef="#ctx0" brushRef="#br0" timeOffset="67631.46">16867 7744 0,'36'0'0,"-19"0"0,18 0 0,72 0 16,-55 0-1,72-19-15,-90 19 0,20 0 16,-18 0-16,16-17 0,-16 17 16,-2 0-16</inkml:trace>
  <inkml:trace contextRef="#ctx0" brushRef="#br0" timeOffset="70338.94">8647 8979 0,'19'52'16,"-19"-35"0,0 2-16,0-2 0,0 18 0,0-17 15,0 17-15,0-18 0,0 37 16,0-37-16,0 0 0,0 2 15,0-2-15,0 1 0,0-1 16,0 2-16,0-2 0,17 0 16</inkml:trace>
  <inkml:trace contextRef="#ctx0" brushRef="#br0" timeOffset="70652.49">8612 8960 0,'0'-17'16,"18"-1"-16,-1 18 15,-52 35-15,89-87 0,-37 52 0,0 17 16,1-17-16,-1 0 0,2 18 0,-2-18 15,0 17-15,1 2 0,-18-2 0,18 0 16,-18 1-16,0-1 0,0 2 16,0-2-16,0 0 0,-18 1 0,0 0 15,-16 34-15,15-33 0,19-2 16,-35 1-16,18-1 16,0 0-16,-2-17 0</inkml:trace>
  <inkml:trace contextRef="#ctx0" brushRef="#br0" timeOffset="70903.92">9000 8943 0,'18'53'15,"-1"-36"-15,-17 1 16,0 18-16,0-19 0,0 18 0,-17-17 16,17 53-16,0-36 15,0-18-15,0 19 0,-18-19 0,18 18 16,0-16-16,0-2 0,0 0 16,0 1-1,18-18-15,-18 18 0</inkml:trace>
  <inkml:trace contextRef="#ctx0" brushRef="#br0" timeOffset="71413.48">9318 9172 0,'-18'-17'16,"36"34"-16,-53-17 15,16 0-15,2 17 0,0 2 0,-1-19 16,18 17-16,-18 1 0,18-1 16,-18 0-16,18 2 0,0-2 15,0 1-15,0-1 0,0 2 16,18-19 0,0 0-16,0 0 15,-1-19-15,0 2 16,2 17-16,-19-18 15,17 18-15,-17-17 16,18 17-16,-18-19 0,17 38 31,0 16-15,-17-18-16,19-17 0,-19 19 16,0-2-16,17 0 15,1 1-15,-1-18 16,2 0-16</inkml:trace>
  <inkml:trace contextRef="#ctx0" brushRef="#br0" timeOffset="71860.44">9671 9172 0,'-19'-17'16,"2"34"-16,0-17 15,17 17-15,-18 2 16,18-2-16,-18-17 16,0 35-16,18 1 0,0-19 15,-17 1-15,17-1 0,0 2 0,0-2 16,17-17-16,-17 35 16,18-35-16,0 18 0,0-18 15,16 0-15,2-18 16,-1 18-16,-16-18 15,15 1-15,-16 0 16,18-2-16,-36 2 0,17 17 16,-17-18-16,17 1 15,-51 34 17,34 1-17,-19-18-15,19 17 0,0 2 16,-17 15-16,34-16 15,-17 0-15,19-18 16,-2 18-16,0-18 16,1 0-16,0 0 0,0 0 0,-1 0 15,0 0-15,2 0 16</inkml:trace>
  <inkml:trace contextRef="#ctx0" brushRef="#br0" timeOffset="72344.28">10235 8996 0,'-36'105'16,"36"-51"-16,0-37 16,0 19-16,-17-19 0,17 18 0,0-18 15,0 2-15,0-2 0,0 1 16,-18-1-16,18 2 0,0-2 16,18-53 15,18 1-16,-19 35 1,0-17-16,1 17 0,0-19 16,0 19-16,-1 0 0,0 0 15,2 19-15,-2-2 0,-17 1 16,0-1 0,-17-17-16,17 19 0,0-2 15,-19-17-15,19 17 0,-17-17 0,17 18 16,-17-18-16,-1 18 15,0-18-15</inkml:trace>
  <inkml:trace contextRef="#ctx0" brushRef="#br0" timeOffset="72652.53">10570 9189 0,'0'0'0,"-18"36"47,18-1-32,-17-18-15,17 2 0,0-2 16,0 1-16,17-18 0,-17 17 0,18 2 16,0-19-1,0 0-15,-1 0 16,18 0-16,-35-19 0,18 19 0,0-17 15,-1-1 1,-17 1-16,-17-19 16,-1 19-16,18-1 15,-18 18-15,0-17 0,1 17 0,0 0 16,-1 0-16,0 0 16,0 0-16,1 0 0,0 17 15</inkml:trace>
  <inkml:trace contextRef="#ctx0" brushRef="#br0" timeOffset="73474.61">12052 8979 0,'0'-19'0,"-18"55"31,18-19-31,-18 1 0,18-1 15,0 2-15,0-2 16,0 0-16,0 19 0,0-18 0,18-1 16,-18 0-16,18 2 15,-18-2-15,18-17 0,-1 18 16,0-18 0,1-18-16,0 1 15,-18-2-15,0 2 16,0-18-16,0 17 15,18 0-15,-18 1 16,0 0-16,-18-2 0,18-16 16,18 35-16,-18-17 15,0 0 1,17 17-16,0 0 16,2 0-16,-2 17 15,1 0-15,-18 1 16,36 18-16,-36-19 0,17 0 15,-17 1-15,0 0 0,0 0 16,0-1-16,0 0 0,0 2 16,0-2-16,0 1 15,0-1-15,17-17 16,1-17 0,-1-1-1,-17 1-15,19-2 0,-2 2 16,0 0-16,1-1 15,0 0-15,-18 0 0,18 1 0,-1 17 16,-17-17-16,17-2 0,1 19 16,0 0-16,-18-17 0,18 17 0</inkml:trace>
  <inkml:trace contextRef="#ctx0" brushRef="#br0" timeOffset="74274.66">13868 8784 0,'-17'53'0,"17"-35"0,0-1 0,0 0 16,-17 37-16,17-18 0,0-2 16,0-16-16,0 18 0,-19-19 15,19 0-15,0 1 0,0 0 16,0 0-16,0 16 0,0-15 16,0-2-16,0 1 15</inkml:trace>
  <inkml:trace contextRef="#ctx0" brushRef="#br0" timeOffset="74594.2">13886 8749 0,'18'-18'0,"-18"0"15,18 18-15,-18-17 0,17 17 0,19 17 32,-19-17-32,1 18 0,16 18 15,-34-19-15,19 0 0,-19 19 0,0-18 16,17 16-16,-17-15 0,0-2 16,-17 18-16,17-16 0,-19-2 0,19 0 15,-17 18-15,-18 1 16,18-19-16,-2 1 0,2 0 15,0 0-15,-1-18 0,0 17 0,0-17 16,1 17-16,0-17 0,-2 0 0,19 19 16,-17-19-16,-1 0 15</inkml:trace>
  <inkml:trace contextRef="#ctx0" brushRef="#br0" timeOffset="74927.35">14080 8908 0,'18'0'0,"-1"0"0,19 17 15,-36 1-15,17-1 16,-17 2-16,0-2 16,0 0-16,0 1 0,0-1 0,0 2 15,0-2-15,0 18 16,0-17-1,18-36 32,-1 0-47,2-16 16,-2 15 0,0 2-16,19-1 15,-1 1 1,-18 17-1</inkml:trace>
  <inkml:trace contextRef="#ctx0" brushRef="#br0" timeOffset="75310.83">14503 8943 0,'0'-18'0,"-35"53"31,35 1-15,-17-19 0,34 18-1,-17-16 1,35-19 0,-16 0-16,-2 0 0,0 0 15,1-19-15,0 19 16,-18-17-16,18 17 0,-1-18 15,-17 1-15,17 17 0,1-17 16,0 17 31,-18 17-31,0 0-16,0 1 15,0-1-15,0 2 0,18-19 16,-1 17-16,0-17 15,2 0-15,-2 0 0</inkml:trace>
  <inkml:trace contextRef="#ctx0" brushRef="#br0" timeOffset="75992.92">14962 8872 0,'-88'36'0,"70"-36"15,1 17-15,-19 1 16,36-1 0,0 2-1,19-19 1,-2 0-16,0 0 15,1 0-15,-1 0 0,-17 17 16,19-17-16,-2 17 0,0 1 16,-17-1-16,0 2 15,-17-2-15,17 0 0,-17 1 16,17 0-16,-54 34 0,37-33 16,0-2-16,-2 1 0,2-18 0,17 17 15,-18-17-15,1 17 0,-2-17 16,19-17-1,19 0 1,-2-1-16,1 1 16,-1-2-16,2 2 0,-2 17 0,35-35 15,-33 35-15,15-18 16,-16 18-16</inkml:trace>
  <inkml:trace contextRef="#ctx0" brushRef="#br0" timeOffset="76729.75">9442 9719 0,'0'0'15,"52"0"1,1 0 0,0 0-16,35-18 0,106 18 15,176-17 1,-211-2-16,18 19 0,-54-17 15,53 17-15,1-17 0,-1-1 0,0 1 16,2 17-16,-20-19 0,1 2 0,0 0 16,105-1-16,-140 0 15,-2 0-15,2 18 0,88-17 16,-106 17-16,-36-17 0,1 17 16,-18 0-16,-1-18 0,-16 18 0,-18 0 15,35 0-15,-36 0 16,1-18-16,-1 18 15,-52 18 17,18-18-32,0 18 0,-2-18 15,2 17-15</inkml:trace>
  <inkml:trace contextRef="#ctx0" brushRef="#br0" timeOffset="77267.84">12404 9665 0,'-17'-17'16,"0"34"-16,17 2 0,0-2 15,0 1-15,0-1 0,0 2 16,0-2-16,0 18 0,0-17 0,0 17 16,0-18-16,0 19 0,0-18 0,0 16 15,0 20-15,0-37 16,0 2-16,-19-2 0,19 0 0,0 37 16,0-37-1,-17 0-15,17 1 16,-18-18-16,1 18 0,0-18 15,-2 0-15,2 18 16,-1-18-16,1 0 16,-2 0-16,2 17 0,0-17 15,-1 0-15,0 0 0,0 0 16,1 0 0,0 0-16,-1 0 15</inkml:trace>
  <inkml:trace contextRef="#ctx0" brushRef="#br0" timeOffset="77657.77">12087 10055 0,'-17'-19'15,"-1"38"1,0-2-16,0-17 16,18 17-16,-17-17 0,0 18 15,17-1-15,-36 2 0,18-2 16,18 0-16,-17 1 0,-2 0 0,19 0 15,-17-18-15,17 17 16,0 0-16,0 2 16,0-2-16,17 1 0,2-1 15,-2-17 1,1 17-16,-1-17 0,2 0 0,-2 0 16,18 19-16,-17-19 0,17 0 15,-18 0 1</inkml:trace>
  <inkml:trace contextRef="#ctx0" brushRef="#br0" timeOffset="78319.05">8876 10407 0,'-17'36'15,"17"-19"-15,0 18 0,0-17 16,-17 0-16,17 16 0,0-16 16,-18 35-16,18-36 0,-18 54 15,18-54 1,0 2-16,0-2 0,0 1 0,0-1 15,18 2-15</inkml:trace>
  <inkml:trace contextRef="#ctx0" brushRef="#br0" timeOffset="78819.97">8842 10460 0,'34'-17'0,"-15"17"15,-2 0-15,18 0 16,-35 17-16,17-17 0,-17 35 16,0-17-1,0 0-15,-17-1 0,17 0 16,-17 1-16,-1 0 0,1 0 16,17-1-16,-19-17 0,19 17 0,-17-17 15,34 19 1,2-19-16,-2 17 15,1-17-15,-1 18 16,0-18-16,2 17 0,-2 0 16,1 2-16,-1-2 15,-17 1-15,-17-1 16,17 2-16,-18-2 0,1-17 16,17 17-16,-19 1 0,-15 0 15,16 0-15,1-18 0,-19 17 16,19-17-16,-1 17 0,0-17 15,0-17 1</inkml:trace>
  <inkml:trace contextRef="#ctx0" brushRef="#br0" timeOffset="79176.78">9230 10477 0,'0'-17'0,"0"52"16,0-17-16,0 0 0,0-1 15,-18 0-15,18 1 16,0 18-16,0-2 0,0-15 0,0-2 16,0 18-16,0-18 15,0 2-15,0-2 0,18-17 16,-1 18-16,0-18 15,19 0 1,-18-18-16,-1 18 16,0 0-16,2 0 15,-2 18 1,-17-1 0,0 2-1,18-2 1</inkml:trace>
  <inkml:trace contextRef="#ctx0" brushRef="#br0" timeOffset="79323.39">9600 10531 0,'-18'0'0</inkml:trace>
  <inkml:trace contextRef="#ctx0" brushRef="#br0" timeOffset="79719.64">9671 10601 0,'0'35'0,"0"-18"15,0 2-15,0-2 0,-19 1 0,19-1 16,0 0-1,0 2-15,0-2 0,-17 1 16,34-18 0,2 0 15,16-18-15,-18 18-16,54 0 31,-35 0-16,16 18 1,-34-18 0,17 17-16</inkml:trace>
  <inkml:trace contextRef="#ctx0" brushRef="#br0" timeOffset="80291.75">10376 10407 0,'18'36'15,"-36"-2"-15,18 2 16,0 70 0,0-89-16,0 0 15,0 2-15,0-2 0,0 1 0,0 16 16,18-15 0,-36-2-16,1-34 31,-19-2-16,19 19 1,-1 0-16,0 19 16,0-19-16,18 17 15,-17-17-15,17 18 0,-17-1 16,17 2 0,17-2-16,0-17 0,1 0 15,18 0-15,-19-17 16,0 17-16,2 0 0,16-19 15,-18 19-15,0-17 0,2 17 0,-2 0 16,1-18-16,-1 18 0,2 0 0,-2-17 16,0 17-1,1 0-15,0 17 16,-18 1 0,0-1-1,0 2 1</inkml:trace>
  <inkml:trace contextRef="#ctx0" brushRef="#br0" timeOffset="80414.78">10676 10653 0,'0'-17'16</inkml:trace>
  <inkml:trace contextRef="#ctx0" brushRef="#br0" timeOffset="80767.42">10782 10653 0,'17'19'16,"-17"-2"0,17 1-1,-17-1 17,0 0-17,36-34 16,-18 0-15,-1 17 0,2 0-16,-2 0 15,0 17 1,1-17 0,0 0-16</inkml:trace>
  <inkml:trace contextRef="#ctx0" brushRef="#br0" timeOffset="81097.38">11135 10636 0,'0'-17'0,"0"51"63,0-15-63,17-19 0,-17 17 0,0 1 15,0 16-15,0-15 16,-17-2-16,17 1 0,0-1 0,0 2 16,-19-2-16,19 0 0,-17 1 15,17 0 1,0-54 15,36 2-15,-19 15-16,1 2 15,-1-1-15,2 18 0,-2-36 0,0 36 16,1-17-16,-1 17 16,-17-17-16,19 17 15</inkml:trace>
  <inkml:trace contextRef="#ctx0" brushRef="#br0" timeOffset="84329.93">8876 11165 0,'-17'0'16,"70"0"-16,-35 0 0,-1 0 16,19 0-16,-1 0 0,1 0 15,122 18-15,-106-1 16,19-17-16,0 19 0,-1-19 0,1 0 15,17 0-15,-17 0 0,17 0 16,0 0-16,53-19 16,-53 19-16,-17 0 0,-1-17 0,18 17 15,-17 0-15,0 0 0,-1-18 16,1 18-16,-18 0 0,18 0 0,-19-17 16,36 17-16,-52 0 0,-1-17 15,1 17-15,-2 0 0,-16 0 16,18-19-16,-19 19 0,19 0 15,-19-17-15,1 17 0,-1 0 16,2-18-16,-2 18 0,0 0 0,18-17 16,-16 17-16,15-19 15,-16 19-15,0 0 0,-18-17 16,18 17-16,-1 0 0,0-17 16,2-1-1,-19 0-15,17 18 16,-17-18-16,0 1 15,18 0-15,-1-1 16,-17 0-16,0 0 16,0 1-16,0 0 15,0-2-15,0 2 16,0-1-16,0 1 0,0-2 16,0 2-16,0 0 0,0-1 15,0 1-15,0-2 0,-17-15 0,17 16 0,0 0 16,-18-17-16,18 18 15,-17-1-15,17 0 16,-19 0-16,2 1 0,17 0 16,-17-2-16,-1 19 0,18-17 15,-18 17-15,0-18 0,1 18 0,0-17 16,-19-2-16,18 19 0,1-17 16,0 17-16,-2-17 15,-33-1-15,33 18 0,2-17 0,-18 17 16,17-19-16,0 19 0,1-17 15,-18 17-15,17-17 0,-17 17 0,18-18 16,-2 18-16,2-18 0,-18 18 16,-1-18-16,1 18 0,18-17 15,-2 17-15,2 0 0,0-17 16,-1 17-16,0 0 0,-34-19 16,34 19-16,-18 0 0,19-17 15,0 17-15,-2 0 0,2 0 16,-1 0-16,1 0 0,-19 0 15,19 0-15,-1 0 0,-18 0 0,19 0 16,0-18-16,-1 18 16,0 0-16,-17 0 0,18 0 0,-2 0 15,-33 0-15,35 0 0,-19-17 16,18 17-16,1 0 0,-2 0 16,-15 0-16,16 0 0,1 0 0,-2 0 15,-15 0-15,-2 0 0,18 0 16,1 0-16,0 0 0,-2 0 15,2 0-15,-1 0 0,1 0 16,0 0-16,-2 0 0,2 0 0,-1 0 16,1 0-16,-2 0 0,2 0 15,0 0-15,-1 0 0,-18 0 16,19 0-16,0 0 0,-1 0 0,-18 0 16,19 0-16,-19 0 0,1 0 15,18 0-15,-19 0 0,-16 0 16,-1 0-16,35 0 0,-18 0 15,19 0-15,0 0 0,-2 0 16,2 0-16,-1 0 0,1 17 16,0-17-16,-2 0 0,2 0 15,-1 0-15,1 18 16,-2-18-16,2 17 0,0-17 0,-1 0 16,1 19-16,-2-19 0,2 17 15,0-17-15,-19 17 0,18 1 16,1-18-16,0 18 0,-2-18 15,2 0-15,-1 18 0,1-1 16,0-17-16,17 17 0,-19-17 16,19 19-16,-17-19 0,17 17 0,-18 1 15,18-1-15,-17 0 16,17 2-16,-19-2 16,19 1-16,0-1 0,-17 2 0,17-2 15,0 0-15,0 1 0,-17 0 16,17 17-16,0-18 0,-18 1 0,18 18 15,0-19-15,0 19 0,0-19 16,0 18-16,0 1 0,0-1 16,0 1-16,18-2 0,-18 2 0,17-18 15,19 52-15,-19-35 0,1 1 16,18-1-16,-19-18 0,0 2 16,37 15-16,-37-16 0,18-1 15,-17 2-15,17-2 0,-18-17 16,2 17-16,33 1 0,-35-18 15,2 0-15,-2 18 0,1-18 0,-1 0 16,2 0-16,-2 18 0</inkml:trace>
  <inkml:trace contextRef="#ctx0" brushRef="#br0" timeOffset="86326.47">11258 10231 0,'0'-36'0,"0"18"16,0 1-16,0-19 15,17 36-15,-17-17 16,0-1-16,0 1 0,0 0 16,0-2-16,19 2 0,-19-1 0,0-18 15,0 19-15,0 0 16,17-1-1,-17 0 1</inkml:trace>
  <inkml:trace contextRef="#ctx0" brushRef="#br0" timeOffset="86557.47">11346 9807 0,'-35'36'31,"35"-19"-31,0 0 0,-17-17 16,17 18-16,-19 0 0,2 0 0,-18 35 16,18-36-1,17 1-15,-19-1 0,2 2 16,-1-19-16</inkml:trace>
  <inkml:trace contextRef="#ctx0" brushRef="#br0" timeOffset="86703.32">11240 9965 0,'18'0'0,"-1"0"15,2 0 1,-19 19-16,34-2 15,-16-17-15,18 0 16,-36 18-16</inkml:trace>
  <inkml:trace contextRef="#ctx0" brushRef="#br0" timeOffset="88619.43">2562 8908 0,'-18'35'0,"18"-18"16,0 2-16,0 15 0,0-16 0,0-1 16,18 2-16,-18-2 0,0 18 15,0 1-15,0-19 16,0 0-16,0 2 0,0-2 16,0 1-16,0-1 15,0-69 32,-18-19-31,18 35-16,0 2 15,0 15-15,0 2 16,0-1-16,0-16 16,0 15-1,18 38 1,-1-2-16,-17 0 15,19 1-15,-2-1 0,0 19 16,1-19-16,-18 1 0,18 0 16,0-18-16,-18 18 0,17-1 0,0-17 15,-17 17-15,19-17 0,-2 19 16,1-38 0,-1 19-16,-17-17 15,0 0-15,17-1 0,-17 0 16,0 0-16,0-16 15,0 15-15,19 2 0,-19-1 0,0 1 16,0 0-16,0-2 0,0 2 0,0-1 16</inkml:trace>
  <inkml:trace contextRef="#ctx0" brushRef="#br0" timeOffset="88967.47">2915 8943 0,'17'53'15,"-17"-36"-15,0 1 0,0 18 16,18-19-1,-18 0-15,18-17 16,-18 18-16,18-18 16,-1 0-16,0 0 15,1 0-15,0-18 16,-18 1-16,18 17 16,-18-17-16,17-2 15,-17 2 1,17 17-16,-17-18 0</inkml:trace>
  <inkml:trace contextRef="#ctx0" brushRef="#br0" timeOffset="89271.43">3232 8889 0,'35'19'47,"-16"33"-31,-2-16 0,-17-19-1,0 1-15,0-1 16,17-52 15,1 18-15,-18 0-16,18-2 15,-18 2 1,18-1-16,-1 1 16,0 17-16,1 0 0,-18-19 15,18 19-15</inkml:trace>
  <inkml:trace contextRef="#ctx0" brushRef="#br0" timeOffset="89498.43">3603 8801 0,'0'19'16,"0"-2"0,17 1-16,-17-1 15,0 0-15,0 2 16,0 16-16,0-18 15,-17-17-15,17 19 0,-17-2 32,-2 0-32</inkml:trace>
  <inkml:trace contextRef="#ctx0" brushRef="#br0" timeOffset="89767.6">3796 8855 0,'0'-18'0,"19"1"16,-38 52-16,38-89 16,-38 90 15,2-36-16,17 18-15,0-1 0,-17 19 32,34-19-17,-17 1-15,17-18 16,19 17 0,16-34-1</inkml:trace>
  <inkml:trace contextRef="#ctx0" brushRef="#br0" timeOffset="90647.67">4326 8625 0,'17'35'16,"-17"-16"0,0 15-16,0-16 0,19 18 15,-19-2-15,0-15 0,0 16 16,17-18-16,-17 19 15,0-19 1,0 1-16,0-1 16,0-69 15,0 33-31,0 2 16,0-18-16,0 18 0,0-19 0,17 1 15,-17-1-15,0-17 0,0 1 16,18 35-16,-18-19 15,0 18-15,18 18 0,-18-17 16,18 17 0,-1 17-16,0-17 0,-17 18 15,18-1-15,-18 2 0,18-2 0,-18 0 16,18 1-16,-1 35 16,-17-36-16,17 1 0,-17 0 15,19 0-15</inkml:trace>
  <inkml:trace contextRef="#ctx0" brushRef="#br0" timeOffset="90879.35">4362 8837 0,'52'-36'15,"-34"19"-15,17 0 16,0 17-16,-17-18 0,17 0 0,36 0 16,-54 18-16,19-17 15,-19 17-15,37-17 0,-37 17 16,18-19-16,-17 19 0,0 0 0</inkml:trace>
  <inkml:trace contextRef="#ctx0" brushRef="#br0" timeOffset="92301.05">19848 8113 0,'0'-17'16,"-17"53"31,17-19-32,0 1 1,-19-1 0,38-52 31,-19-1-32,0 19-15,17 0 16,-17-1-16,0 0 0,0 0 15,18 1 1,-1 34 0,-17 1-1,19 52 1,-2-51 0,-17-2-16,17 1 0,1-1 15,-1 0 1,2-34-1,-2 0-15,0-1 16,-17 1-16,0-2 16,18-33-16,-18-1 15,18 36-15,-18-2 0,0 2 16,0-1-16,18 1 16,-18 0-16,0-2 0</inkml:trace>
  <inkml:trace contextRef="#ctx0" brushRef="#br0" timeOffset="92684.43">20166 7937 0,'0'18'15,"-35"-36"-15,70 53 16,-18-16-16,-34-73 0,34 125 15,-17-54-15,17-17 16,-17 18-16,19-18 0,-19 18 0,17 0 16,1-18-1,-1 0-15,19 0 16,-19-18 0,-17 0-1,18 0-15,-1 1 0,-17-19 16,19 19-1,-19-1-15,17 1 0,-17 0 16,0-2 0,17 55 15,-17-19-31,18 18 16,-18 1-1,0-19-15,18 1 16,-18 0-16,18 0 15</inkml:trace>
  <inkml:trace contextRef="#ctx0" brushRef="#br0" timeOffset="93047.82">20624 7903 0,'18'17'16,"-18"0"-16,0 18 16,0 1-1,0-1 1,0-17-16,0 0 15,-18-1-15,36-52 47,-18-1-31,0 19-16,17 17 0,-17-36 16,19 36-16,-2-17 15,-17-1-15,17 18 0,1 0 16,0-17-16</inkml:trace>
  <inkml:trace contextRef="#ctx0" brushRef="#br0" timeOffset="93258.98">20907 7832 0,'0'35'15,"0"-18"1,0 2-16,0-2 15,0-105-15,0 193 0,0-87 16,-19-1-16,19 19 0,-17-36 16,0 17-16,17 1 15,-18 0-15,0-18 16,18 18-16,-18-18 0</inkml:trace>
  <inkml:trace contextRef="#ctx0" brushRef="#br0" timeOffset="93566.89">21030 7972 0,'17'-35'15,"2"18"1,-19 0-16,-36 51 47,36-16-32,0-1 1,-18-17-16,36 36 16,-18-19-16,0 1 15,17-18-15,2 18 0,15-18 16,-16 0-16,18 0 15,-2 0-15,20 0 16</inkml:trace>
  <inkml:trace contextRef="#ctx0" brushRef="#br0" timeOffset="93855.87">21700 7655 0,'0'18'31,"-17"0"-31,17 16 0,-19 2 16,19-18-1,-17 16-15,17-15 0,-17 16 16,17-18-16,-18 19 16,18-19-16,0 1 15</inkml:trace>
  <inkml:trace contextRef="#ctx0" brushRef="#br0" timeOffset="94618.71">21683 7708 0,'0'-17'0,"17"-1"16,1 18-16,-1-18 16,19 18-16,-19 18 15,1-18 1,0 18-16,-18-1 15,0 0 1,-18 2 0,0-2-1,36 1 1,-18-1-16,18 0 16,-18 2-16,0-2 15,18 1-15,-18-1 16,0 2-1,-18-2-15,18 0 16,-18-17-16,18 18 0,-35-1 16,18-17-16,-19 36 15,18-36-15,1 17 16</inkml:trace>
  <inkml:trace contextRef="#ctx0" brushRef="#br0" timeOffset="94882.89">20554 8291 0,'53'-36'15,"18"18"-15,34 1 16,-52 17-16,-1-19 15,72 2-15,-53 17 0,34-17 16,-34-1-16,70 1 16,-106 17-16,36-19 15,-35 19-15,-19 19 16</inkml:trace>
  <inkml:trace contextRef="#ctx0" brushRef="#br0" timeOffset="95118.54">20871 8325 0,'-17'0'15,"87"0"17,1 0-32,-36 0 15,1-17-15,122 0 16,-106 17-16,2 0 0,16-19 15,-599 72-15,1093-106 0,-528 36 0,-19 17 16,37 0-16,-1-18 16,-36 18-16,1 0 15,-1 0-15,0-17 16</inkml:trace>
  <inkml:trace contextRef="#ctx0" brushRef="#br0" timeOffset="96037.55">2898 9631 0,'122'-54'15,"-51"37"-15,0 0 16,87-37-16,18 2 16,-86 16-16,86-17 15,-71 18-15,-17 18 0,71-36 16,-1-1-16,-104 37 16,34-18-16,-18 17 15,-52 0-15,18 18 16</inkml:trace>
  <inkml:trace contextRef="#ctx0" brushRef="#br0" timeOffset="96287.66">3391 9631 0,'71'-18'31,"-18"1"-31,-18-2 16,70-15-16,-52 16 0,1 0 15,-1 0-15,-1 1 0,55-18 16,-73 17-16,72-17 16,-88 35-16,17-17 15,-18 17-15,2 0 0</inkml:trace>
  <inkml:trace contextRef="#ctx0" brushRef="#br0" timeOffset="97504.53">2862 10477 0,'-18'36'0,"18"-18"0,0-1 15,0 0-15,0 1 0,0 0 16,0 0-16,0 16 0,0-15 0,0 16 16,0-18-16,-17 54 15,17-54-15,0 2 0,0-2 16,0 0-16,0 1 0,0 0 16</inkml:trace>
  <inkml:trace contextRef="#ctx0" brushRef="#br0" timeOffset="98116.42">2844 10565 0,'124'-17'16,"-106"34"-16,-1-17 0,-17 18 15,0 0-15,0 0 16,0-1-16,0 0 0,-17 19 15,17-18-15,-18-18 0,18 17 0,-18 0 16,0 2-16,18-2 16,18 1-1,0-18-15,0 17 16,-1-17-16,0 0 16,1 19-16,18-2 15,-19 0-15,-17 1 16,0 0-16,0 0 15,-17-1-15,-1 0 16,-18 19-16,19-18 16,0-18-16,-1 17 15,0-17-15,0 0 0,1 0 16</inkml:trace>
  <inkml:trace contextRef="#ctx0" brushRef="#br0" timeOffset="98471.42">3144 10531 0,'18'17'32,"-18"36"-17,0-35 1,0-1-16,17 0 0,-17 2 0,0 16 15,0-18-15,19 0 0,-19 2 16,17-2-16,0 1 16,1-18-16,-1 0 15,2 0 1,-2-18-16,0 18 16,1 0-1,0 18 1,0-1-1,-18 2-15,17-19 16,-17 17 0,0 0-16,0 1 0</inkml:trace>
  <inkml:trace contextRef="#ctx0" brushRef="#br0" timeOffset="98605.39">3426 10601 0</inkml:trace>
  <inkml:trace contextRef="#ctx0" brushRef="#br0" timeOffset="98949.75">3567 10653 0,'0'36'16,"19"-18"-1,-19-1-15,17-17 79,0-17-64,1 17 1,-1 17-16,2-17 15,-2 0-15,0 0 0,19 0 16</inkml:trace>
  <inkml:trace contextRef="#ctx0" brushRef="#br0" timeOffset="99514.62">4132 10336 0,'0'-17'16,"0"70"15,0-36-31,0 1 0,0-1 16,18 19-16,-18-19 0,0 1 15,0 0-15,0 0 16,17-1-16,-17 0 16,-17 1-1,-1-18 1,0 0-16,0 0 16,18 18-16,-17-18 0,0 0 0,-2 18 15,-16-18-15,18 17 16,17 0-16,-17-17 0,17 19 15,-19-2 1,38-17 0,-19 18-16,17-18 0,0 0 15,18-18-15,-16 18 16,-2-17-16,18-2 0,1 2 16,-2 0-16,-15-1 0,-2 0 15,1 0-15,-1 1 16,0 17-16,-17-17 15,19 17 1,-2 17-16,-17 0 16,0 1-1,0 0-15,18 0 16,-18-1-16</inkml:trace>
  <inkml:trace contextRef="#ctx0" brushRef="#br0" timeOffset="99657.44">4326 10424 0,'-18'0'16,"36"0"-16</inkml:trace>
  <inkml:trace contextRef="#ctx0" brushRef="#br0" timeOffset="99978.94">4432 10513 0,'18'52'16,"-1"-52"0,-17 18-16,0 0 15,35-36 32,-17 18-31,0 0-1,-1 0 1,0 0-16,2 0 16,-2 0-1</inkml:trace>
  <inkml:trace contextRef="#ctx0" brushRef="#br0" timeOffset="100327.78">4731 10477 0,'0'-17'0,"0"52"15,0-17 1,0 0-16,0-1 0,19 18 16,-19-17-16,0 0 15,0 16-15,0 20 16,-19-1-16,2-1 15,-1-33-15,1-2 0,17 18 32,-17-35-32,17-35 15,0 18 1,17-2-16,0-16 16,1 18-16,-1-2 0,19-15 15,-19 16-15,1 1 16,35-36-16,-17 53 15,-1-36-15,-18 18 0,19 18 16,-19-17-16,18 17 0</inkml:trace>
  <inkml:trace contextRef="#ctx0" brushRef="#br0" timeOffset="101101.76">20466 9348 0,'-36'36'0,"36"-19"0,0 1 16,-18 0-16,18 17 0,0 0 15,0-17-15,0 34 16,0-16-16,0-18 0,0 16 16,0-15-16</inkml:trace>
  <inkml:trace contextRef="#ctx0" brushRef="#br0" timeOffset="101833.68">20466 9313 0,'17'-17'16,"19"17"0,-19 0-16,-17 17 15,0 18-15,-17 18 32,-2-35-32,19 0 0,-17 0 0,0 16 15,17-16 1,-18-18-16,36 18 15,-18 0 1,17-18-16,0 0 0,2 17 0,-2 0 16,1-17-16,-1 19 0,0-2 15,19 1 1,-36-1-16,18-17 0,-18 17 0,0 2 16,-18 16-1,1-18-15,-2-17 0,2 19 16,0-2-16,-1-17 15,1 17-15,-2-17 0,2 0 16,0 0-16,-1 0 16</inkml:trace>
  <inkml:trace contextRef="#ctx0" brushRef="#br0" timeOffset="102175.31">20712 9367 0,'0'34'47,"0"-68"-47,0 86 0,0-34 0,0 0 16,0 16-16,0-16 16,0 18-16,0-19 0,18 19 15,-18-19-15,18-17 16,-18 18-16,18-18 0,-1 0 15,18 0-15,-17 0 16,0-18-16,-1 18 16,0 0-16,2 0 15,-19 18 1,17-18 0,-17 17-16,18 0 15,-18 2-15,0-2 16</inkml:trace>
  <inkml:trace contextRef="#ctx0" brushRef="#br0" timeOffset="102305.68">21030 9437 0,'0'-18'0</inkml:trace>
  <inkml:trace contextRef="#ctx0" brushRef="#br0" timeOffset="102649.87">21066 9507 0,'0'36'32,"0"-19"-32,17 0 15,-17 2-15,0-2 16,0 1 0,0-1-1,35-34 16,-35-1-15,18 18-16,17 0 31,-18 18 1,1-18-17</inkml:trace>
  <inkml:trace contextRef="#ctx0" brushRef="#br0" timeOffset="103109.49">21612 9348 0,'-17'53'0,"17"-35"16,0 0-16,-19 17 0,19 18 31,0-35-31,0-1 16,0 0-16,0 2 31,-17-19-15,-18 0 15,17 0-31,0 17 0,-16 18 15,15-35 1,2 17-16,17 2 16,0-2-16,17-17 15,2 0-15,-2 0 16,0 0-16,1 0 0,0-17 16,0 17-16,16-19 15,-15 19-15,-2-17 0,1 17 16,-1 0-1,0 0-15,2 0 32,-19 17-17</inkml:trace>
  <inkml:trace contextRef="#ctx0" brushRef="#br0" timeOffset="103267.42">21806 9437 0,'0'-18'16,"-18"36"15</inkml:trace>
  <inkml:trace contextRef="#ctx0" brushRef="#br0" timeOffset="103615.56">21842 9525 0,'0'35'15,"0"-18"-15,0 2 32,0-2-17,0 1-15,17-18 32,0 0-17,1-18 1,0 18-16,0 0 15,-1-17 1,19 17 0,-19 0-1,1-19 1</inkml:trace>
  <inkml:trace contextRef="#ctx0" brushRef="#br0" timeOffset="103900.92">22071 9525 0,'0'0'47,"17"18"-47,-17-1 0,0 0 0,-17 2 15,17-2-15,0 1 16,0 16-16,-19-15 0,19-2 0,0 1 0,-17-1 16,0 2-1,17-2-15,0 0 0,-18-17 16,36-34 15,-18 15-31,17 19 16,-17-17-16,36-1 0,-36 1 15,17 17-15,18-19 16,-16 2-16,-2 17 16</inkml:trace>
  <inkml:trace contextRef="#ctx0" brushRef="#br0" timeOffset="104160.04">20624 10089 0,'0'0'0,"54"0"15,-2-17-15,54 0 16,-54 17-16,19-19 16,0 2-16,70-1 0,-70 1 15,-1 17-15,72-36 0,-90 36 16,1-17-16,-17 17 16,-1-18-16,-1 18 0,2 0 0,-18 0 15,-1 0-15,2 0 0</inkml:trace>
  <inkml:trace contextRef="#ctx0" brushRef="#br0" timeOffset="104378.84">20959 10160 0,'53'0'15,"-18"0"-15,1-17 16,52-2-16,-35 19 0,18-17 15,-19-1-15,19 18 0,-18-17 16,0 0-16,-1 17 0,2-19 16,34 2-16,-52 17 0,-2-18 0,-16 18 15,18 0-15,-19-17 16,0 17-16,1-19 0,0 19 16</inkml:trace>
  <inkml:trace contextRef="#ctx0" brushRef="#br0" timeOffset="105243.92">2950 11377 0,'177'-53'0,"-125"36"15,89-37-15,-70 37 0,17-19 0,0 19 16,0-18-16,1 18 0,-1-19 15,0 18-15,0 1 0,-17-19 0,17 19 16,-35-1-16,-1 0 0,38 0 16,-56 18-16,-16 0 0,0 0 15,0 0-15,-1 0 16</inkml:trace>
  <inkml:trace contextRef="#ctx0" brushRef="#br0" timeOffset="105541.52">3250 11429 0,'-18'19'16,"36"-38"-16,18 19 16,210-70-1,-158 35 1,0 18-16,-17-1 0,0 0 15,17 0-15,-35 1 0,18 0 0,-1-2 16,-18 2-16,2-1 0,16 1 16,18-19-16,-34 36 15,-37-17-15,0 17 0,1 0 16,-18-18-16,18 18 0,0-17 16</inkml:trace>
  <inkml:trace contextRef="#ctx0" brushRef="#br0" timeOffset="107665.15">4008 11519 0,'0'34'16,"0"-16"-16,0 18 0,-17-2 0,0 73 15,-2-55-15,2 1 0,17 1 16,-18-2-16,18 1 0,-17 0 16,17-18-16,-19 36 0,19-35 15,0-2-15,19-16 0,-19 18 0,17-2 16,-17-16-16,18 18 15,-1-19-15,2 0 0,15 1 0,1-18 0,1 18 16,17-18-16,-1 18 0,19-18 0,17-18 16,19 18-16,-19 0 15,36-18-15,-2 0 0,2 1 0,52 17 0,-17-17 16,17 17-16,-35-18 0,35 18 16,2 0-16,-2-18 0,-35 18 15,159 0-15,-124 0 0,0 0 16,1 18-16,-1-18 0,-34 0 0,-1 0 15,-1 18-15,-16-18 0,17 0 16,-17 0-16,-1 17 0,-16-17 0,15 0 16,-16 0-16,-17 17 0,-1-17 0,-17 0 15,-1 0-15,18 0 16,-53-17-16,1 17 0,-1-17 16,18-1-16,-18 0 0,-18 18 0,2-18 15,-2 1-15,-17-19 0,17-16 16,1 16-16,-18 1 15,0-18-15,0 0 0,0 1 0,0-2 16,-18 1-16,18 1 0,0-1 16,0-1-16,-17 2 0,17 16 0,0 2 15,0-2-15,0 18 0,-17-16 0,17 15 16,0 2-16,0-1 16,0 1-16,-19-2 0,-16 38 15,18-2 1,0 1-16</inkml:trace>
  <inkml:trace contextRef="#ctx0" brushRef="#br0" timeOffset="108131.18">6902 12383 0,'0'-18'16,"0"70"15,0-34-31,17 18 0,-17-19 0,-17 19 15,17-1-15,0 1 0,0-2 16,0 1-16,-19 72 16,19-73-16,-17 2 0,17-18 0,0 16 15,0-15-15,0-2 0,0 1 16,0-1-16,0 2 16</inkml:trace>
  <inkml:trace contextRef="#ctx0" brushRef="#br0" timeOffset="108691.44">6795 12876 0,'71'0'15,"-18"0"1,88 0 0,-89-17-16,90 17 15,-54 0-15,0-18 0,18 18 0,0-17 16,0 17-16,17-19 15,-16 19-15,15-17 0,2 17 0,18-17 16,158-1-16,-142 0 0,-18 18 16,2 0-16,-1-18 0,-17 18 15,17 0-15,-18 0 0,1 0 0,-19 0 16,2-17-16,-38 17 0,2 0 0,-18 0 16,-18 0-16,1 0 0,-19 0 15,1 0-15,0 0 16,0 0-16,-54-17 31</inkml:trace>
  <inkml:trace contextRef="#ctx0" brushRef="#br0" timeOffset="108995.6">10006 12365 0,'124'52'0,"-90"-34"15,-16 18-15,18-2 0,-2-15 0,-16 16 0,0-18 16,0 19-16,-1-19 15,0 37-15,-17-37 0,0 0 16,0 1-16,-17 35 0,17-17 16,-17-19-16,-1 18 0,0-18 15,0 19-15,1-18 0,0-1 0,-19 2 16,36-2-16</inkml:trace>
  <inkml:trace contextRef="#ctx0" brushRef="#br0" timeOffset="109650.25">11099 12595 0,'0'34'15,"-17"-16"1,17-1-16,0 19 0,0-19 16,0 37-16,0-1 15,-18-18-15,18-18 0,0 19 0,0-1 16,-18-18-16,18 2 0,0-2 16,-18 18-16,18-18 0,-17 2 15,0-19 1,-19-36-1,36 18 1,0 1-16,0-36 0,18 35 16,-18-35-16,18 18 0,-1-18 0,36-18 15,-35 37-15,16-2 16,20 18-16,-37 18 16,2-17-16,-2 34 0,35-17 15,-33 18-15,-2-1 0,18 19 16,-35-19-16,0 19 15,0-18-15,0 16 0,-18-15 16,1 16-16,-36 18 16,35-18-16,-16 1 0,-2-19 0,18 0 15,-35 18-15,36-35 0,-1 19 16,0-19-16,-17 17 16,18-17-16</inkml:trace>
  <inkml:trace contextRef="#ctx0" brushRef="#br0" timeOffset="109970.7">11416 12841 0,'-34'52'31,"34"-33"-31,0-2 15,0 1-15,0 18 16,0-19-16,17 0 0,0-17 16,2 0-16,-2 18 15,18-36-15,-18 18 16,-17-17-16,19 0 16,-19-2-16,0 2 15,-19-1-15,19 1 16,0-2-16,-17 19 0,17-17 0,-17 0 15,-1 17 1</inkml:trace>
  <inkml:trace contextRef="#ctx0" brushRef="#br0" timeOffset="110423.38">11716 12841 0,'0'18'47,"0"-1"-47,0 0 16,0 2-16,0-2 15,18 1-15,-18-1 16,18 19-1,0-36 1,-1 17-16,0-17 16,19-17-1,-18 0-15,-1 17 16,0-19 0,2-16-16,-2 18 15,-17-2-15,18 2 0,-18 0 16,0-1-1,17 18-15,-17-17 0,0 52 47,0-18-47,0 0 16,0 2 0,0-2-16,0 1 0,19-18 15,-2 17-15,0-17 0,1 19 16,0-19-1</inkml:trace>
  <inkml:trace contextRef="#ctx0" brushRef="#br0" timeOffset="111099.44">12158 12717 0,'0'36'0,"0"-18"0,0-1 15,0 19-15,0 33 16,0 2 0,0-52-16,0-2 0,0 0 15,0 1-15,-18-1 0,36-34 47,-1 17-47,0-18 16,19 1-1,-18 17 1,-1 0-16,2 0 0,-19 17 16,17 1-16,-34-1 15,17 2-15,-19-2 0,19 0 16,-17-17-16,-1 18 0,18 0 15,-17 0-15,-2-1 0,-15 0 16,16-17-16,0 0 16</inkml:trace>
  <inkml:trace contextRef="#ctx0" brushRef="#br0" timeOffset="111299.66">12475 12629 0,'0'0'0,"0"18"16,0 35-1,17-36-15,-17 1 16,0 0-16,0 0 0,0 16 16,0 2-16,0-18 0,0-1 0,0 0 15,0 19-15,0-18 16,0-1-16,0 19 0,18-19 0,-18 1 15</inkml:trace>
  <inkml:trace contextRef="#ctx0" brushRef="#br0" timeOffset="111573.65">12634 13088 0,'53'-71'31,"-53"54"-31,0 0 0,17-19 16,-51 53 15,15 2-15,2-19-16,17 17 16,-18 18-16,1-18 0,17 2 0,0-2 15,17 0-15,1 1 16,-1 0-16,2-18 15,-2 0-15,0 0 0,18 18 0,-16-18 16,15-18-16</inkml:trace>
  <inkml:trace contextRef="#ctx0" brushRef="#br0" timeOffset="112160">13939 12417 0,'0'54'16,"0"-37"-16,0 36 0,17-18 15,-17 36-15,-17-35 0,17 16 16,0-16-16,0-2 15,0 2-15,0-1 0,-17 1 0,17-1 16,0-18-16,0 2 0,17-38 47,-17 2-47,17-1 0,19 1 16,-18-2-1,-1 2-15,0 0 0,2 17 0,-2-18 0,18 18 16,-16 0-1,-2 18-15,-34-1 16,17 0-16,-19 2 0,19-2 16,-35 37-16,-18-20 15,36-16-15,-1-1 16,-18 2-16,19-19 0,0 17 0,-1 0 16,0-17-16,-17 18 0,18-36 31</inkml:trace>
  <inkml:trace contextRef="#ctx0" brushRef="#br0" timeOffset="112509.38">14256 12524 0,'18'17'31,"-18"1"-31,-18 18 0,18-2 15,-17 20-15,17 16 16,-17-52-16,-2 70 16,19-71-16,0 0 0,0 2 15,0-2-15,0 1 0,19-1 16,-2-17-16,18 0 16,-17-17-1,0 17-15,-1 0 16,-17-18-16,17 18 0,2 0 15,-2 0 1,1 18 0,-18-1-1,0 2-15,0-2 0,17-17 16,-17 35-16,0-18 16</inkml:trace>
  <inkml:trace contextRef="#ctx0" brushRef="#br0" timeOffset="112625.42">14451 12824 0</inkml:trace>
  <inkml:trace contextRef="#ctx0" brushRef="#br0" timeOffset="112954.09">14539 12859 0,'17'34'0,"-17"-15"15,0-2-15,0 1 16,0-1-16,0 2 15,0-2-15,0 0 16,18-17 0,0 0 31,0 0-32,-1 0 1,-17-17-16,17 17 15,1 0 1,0-17-16</inkml:trace>
  <inkml:trace contextRef="#ctx0" brushRef="#br0" timeOffset="113213.3">14803 12893 0,'0'-17'15,"19"34"1,-2 2-16,-17-2 15,0 1-15,0-1 16,0 2-16,0-2 0,-17 0 0,17 1 16,0-1-16,-19 2 0,19-2 15,-17 18-15,17-17 16,17-36 15,2 0-31,69-104 16,-54 86-16,2 1 15,-18-18-15,16 18 16,20-54-16,-20 54 0,-15-18 16,-2 18-16</inkml:trace>
  <inkml:trace contextRef="#ctx0" brushRef="#br0" timeOffset="117766.64">20430 3845 0,'53'0'93,"-17"0"-77,-19 0-16,1 0 0,16 0 16,-15 0-16,33 0 0,-16 0 15,-1 0-15,1 0 0,-2 18 0,2-18 16,16 0-16,-16 0 0,16 0 16,2 0-16,-1 0 0,18 0 15,-19 0-15,-16 0 0,17 0 0,-1 0 16,-16 0-16,16 17 0,-16-17 15,17 0-15,-18 0 0,1 0 0,16 0 16,-16 0-16,-1 0 0,18 0 0,-18 0 16,1-17-16,-2 17 15,20 0-15,-20 0 0,2 0 0,16 0 0,38 0 16,-56 0-16,20 0 0,-20 0 16,2 0-16,16 0 15,-16 0-15,-1 0 0,1 0 0,-1 0 0,1 0 16,16 0-16,-16 0 0,16 0 15,-16 0-15,17 0 0,-18 0 16,18 0-16,-18 0 0,18 0 0,-18 0 16,1 0-16,17 0 0,-18 0 0,-1 0 15,-15 0-15,16 0 0,1 0 16,16 0-16,-34 0 0,17 0 16,-18 0-16,1 0 0,0 0 15,0 0-15,-1 0 0,0 0 16,2-18-16,-2 18 0,1 0 0,-1 0 15,2 0-15,-2 0 0,0 0 0,1 0 16,-1 0-16,19 0 16,-19 0-1,1 0-15,0 0 16,0 0 0,-1 0-1,0 0 16</inkml:trace>
  <inkml:trace contextRef="#ctx0" brushRef="#br0" timeOffset="119657.47">1944 5168 0,'54'-17'16,"16"17"-1,-35 0 1,1 0-16,-1 0 0,1 0 16,34 0-16,0 0 0,0 0 15,1-18-15,36 18 0,-19 0 0,17-18 16,2 18-16,-2-18 0,0 18 15,19-17-15,-18 17 0,18-17 0,0-2 16,-2 19-16,2-17 0,-18 17 0,18 0 16,-19-18-16,19 18 0,-19-17 15,1 17-15,-17 0 0,-1 0 0,-17 0 16,17 0-16,-18 0 0,72 0 16,-90 0-16,-16 0 0,16 0 15,-16 0-15,-19 0 0,19 0 0,-19 0 16,1 0-16,-1-17 0,0 17 15,2 0-15,-2 0 0,1 0 16,-1 0-16,2 0 31,-2 0-15,-17-19 0</inkml:trace>
  <inkml:trace contextRef="#ctx0" brushRef="#br0" timeOffset="122394.25">24752 4409 0,'-36'18'15,"36"0"-15,-17 0 16,0-1-16,-19 0 0,18 2 0,1-2 15,-2 1-15,-15 16 0,-1-15 0,16-2 16,2 18-16,-36 1 0,35-19 16,1 1-16,0 0 0,-19 0 15,18-18-15,1 17 0,17 0 16,-17-17-16,-2 18 0,2 0 16,-1-18-1</inkml:trace>
  <inkml:trace contextRef="#ctx0" brushRef="#br0" timeOffset="122601.51">24911 4516 0,'0'17'0,"-71"71"15,35-70-15,2 18 16,-20 16-16,-51 36 16,52-52-16,-89 52 0,89-35 15,-16-18-15</inkml:trace>
  <inkml:trace contextRef="#ctx0" brushRef="#br0" timeOffset="155645.57">4079 9419 0,'-71'36'31,"54"-19"-31,0-17 0,-2 17 16,2-17-16,-1 18 0,-35 18 15,1 17-15,16-36 16,-35 35-16,18-16 16,18-18-16,1 18 0,-56-2 15,56-16-15,-90 35 16,53-18-16,19-17 15,16-18-15,-35 18 16,37-18-16,-2 0 0,-34 0 16,0 0-16,34-18 15,-52 0-15,0-17 16,52 18-16,-52-19 16,17-16-16,0-2 15,-17 1-15,18 1 16,-1-19-16,-17 1 15,71 34 1,-37-35-16,20 19 16,-2-1-16,18 35 15,1-18-15,-18-34 0,17 52 16,0-52-16,1 18 16,17-2-16,0-16 15,17-36 1,19 17-16,-1 1 15,18 17-15,18 1 16,0 0-16,-19 17 16,54-18-16,17-17 15,18 18-15,1-1 16,-54 35-16,176-52 16,-175 53-16,122-18 15,125-35 1,-126 53-16,-103 17 15,86-17-15,-86 18 16,52 17-16,-18-19 16,-70 38-16,34-19 15,-70 17-15,35 0 0,-16-17 16,-1 36-16,-1-1 16,-16-18-16,-1 37 15,1-20-15,-19 20 0,36 16 16,-1 54-1,-16-89-15,-1 18 16,18 18-16,18 0 16,-36-37-16,-17 2 0,17-18 15,18 52 1,-18 1 0,-18-36-16,2 18 15,-19-36-15,0 1 0,0-1 16,0 19-16,-36 17 0,-17 18 15,-17-2-15,34-50 16,-17 16-16,-35 35 16,-17 1-16,51-36 15,-34 18-15,35-17 0,1-1 16,-36 18-16,-1-1 16,-70 55-16,107-90 15,-1 18-15,-53 35 16,36-34-16,16-1 0,-16 1 15,-1-1-15,-34 18 0,-2 0 16,2-18-16,51-18 16,-16 1-16,-1 0 15,19 0-15,-1-1 16,35-17 0,-18 17-16,19-17 0</inkml:trace>
  <inkml:trace contextRef="#ctx0" brushRef="#br0" timeOffset="170322.46">9318 8572 0,'-35'0'0,"87"0"31,-35 0-15,37 0-16,34 0 15,-18 0-15,125-17 16,-143 17-16,1 0 0,1 0 15,51 0-15,-88 0 16,19 0-16,-18 0 0</inkml:trace>
  <inkml:trace contextRef="#ctx0" brushRef="#br0" timeOffset="170551.7">9388 8820 0,'54'17'15,"-2"-34"1,-16 17-16,-2 0 16,2 0-16,35-19 0,-19 19 0,19-17 15,-1 17-15,-16 0 0,68-17 16,-15-1-16,34 0 15</inkml:trace>
  <inkml:trace contextRef="#ctx0" brushRef="#br0" timeOffset="170952.84">13568 8291 0,'71'-19'0,"17"19"15,-69-17-15,50 17 0,-16 0 16,-17 0-16,-18-18 0</inkml:trace>
  <inkml:trace contextRef="#ctx0" brushRef="#br0" timeOffset="171171.38">13798 8396 0,'0'17'0,"17"-17"16,-34-17-16,53 34 0,-2-17 15,-16 0-15,0 0 16,0-17-16,35 17 0,-36 0 16,18 0-16,-18 0 0,2 0 0,-2 0 15,1 0-15,-1 0 0,2 0 16,-2 0-16,0 0 0</inkml:trace>
  <inkml:trace contextRef="#ctx0" brushRef="#br0" timeOffset="174751.62">24416 6015 0,'0'-18'16,"0"72"15,-17 15-15,0-33-16,17-19 16,-19 1-16,19 0 0,0 0 0,0-1 15,-17 0-15,17 1 16,17 0-16,-17 0 0,0-1 15,19-17-15,-19 17 16,17-17-16,0 19 0,1-19 16,0 0-16,0 0 0,-1 0 15,0 0-15,2 0 16,-2 0-16</inkml:trace>
  <inkml:trace contextRef="#ctx0" brushRef="#br0" timeOffset="175090.25">24416 6297 0,'18'-18'31,"0"18"-15,0 0-16,16 0 0,-15 0 15,-2 0-15,1-18 0,-1 18 0,0 0 16,2 0-16,-2 0 0,-17-17 15,-17-18 1,-19 17 0,19 0-1,-1 18-15,1-17 0,-2 0 16,-15-2-16,16 2 16,36-1 15,35 18-16,-36 0-15,18 0 16,18 0 0,-18 0-16,1 0 0</inkml:trace>
  <inkml:trace contextRef="#ctx0" brushRef="#br0" timeOffset="175252.11">24963 6051 0,'53'-19'31,"-70"55"-15,0-19-16,-2 1 15,2-1-15,34-86 0,-52 157 16,18-54-16,-2-16 0,2 0 16,0 0-16,-1-1 0,0 0 0,-17 19 15,35-18-15,-17-1 0,-1-17 16,18 17-16,0 2 0</inkml:trace>
  <inkml:trace contextRef="#ctx0" brushRef="#br0" timeOffset="175418.24">24840 6156 0,'0'0'16,"18"17"0,-1 1-16,-17 0 0,17 0 15,2-1-15,-19 0 0,17-17 16,1 18-16,-1-18 0</inkml:trace>
  <inkml:trace contextRef="#ctx0" brushRef="#br0" timeOffset="175869.29">25404 5997 0,'0'-17'0,"18"17"16,-36 17-16,36 1 15,-36-1-15,18 2 16,0 15-16,-17 20 0,17-37 16,-17 18-16,-2 35 15,19-34-15,-17-18 16,17 16-16,-18-15 0,18-2 16,0 1-16,-17-18 15,-2-18 16,38-35-15,-19 18-16,17-1 0,1 2 0,-1-20 16,2 1-16,15-16 15,1 33-15,-16 1 0,15-1 16,-16 19-16,0 17 0,0-18 0,16 0 16,-15 18-1,-2 18-15,-17 0 16,0 16-16,-17-15 0,17-2 15,-36 18-15,19-16 16,-1-2-16,0 0 0,0 1 16,-35-1-16,1 19 0,35-36 15,-2 17-15,2-17 0,-1 0 16,1 0-16</inkml:trace>
  <inkml:trace contextRef="#ctx0" brushRef="#br0" timeOffset="176675.38">29972 5768 0,'-17'35'32,"17"-17"-32,-17 17 0,17-18 15,-18 19-15,0 16 0,0-16 0,1-18 16,17 18-16,-17-2 0,17-16 16,-18 35-16,0-36 15,18 19-15,0-18 0,0-1 16,0 0-1</inkml:trace>
  <inkml:trace contextRef="#ctx0" brushRef="#br0" timeOffset="177023.55">29884 5821 0,'71'-53'16,"-54"53"-16,2 0 0,16 0 16,35 0-1,-52 17-15,-1-17 16,-17 18-16,19-18 0,-19 18 0,0 0 15,-19-1 1,19 0-16,0 1 0,-17 0 0,-1-18 16,18 18-16,-34-1 0,15 0 15,2 2-15,-1-2 16,1-17-16,-2 18 16,-15 18-16</inkml:trace>
  <inkml:trace contextRef="#ctx0" brushRef="#br0" timeOffset="177679.41">30291 6068 0,'-19'-17'16,"-33"34"-1,34-17-15,0 17 0,1-17 0,17 18 16,-17-1-16,-2 2 16,-16-2-16,35 0 0,-17 1 15,17 0-15,0 0 16,17-18-1,1 0-15,18-18 16,-19 18-16,0-18 0,1 0 16,0 18-16,17-17 0,-18 0 0,19-2 15,-36 2-15,18 17 16,-18-18-16,17 18 0,0 0 16,2-17-16,-2 17 15,-17 17 1,18-17-16,-1 0 15,2 0-15,-2 0 0,0 0 16,1 0-16,-1-17 16,2 17-16,-2-17 15,0 17-15,1-19 0,0 2 0,0-1 0,16-35 16,-15 36-16,-19-1 16,35-18-16,-18 2 15,0 16-15,-17 0 16,19 0-1,-38 54 1,2-18-16,0-1 0,-1 36 16,1-35-16,-2 16 15,19-15-15,-34 16 0,34 1 16,-18-2 0,18-16-16,0 18 0,18-36 15,-18 17-15,17 0 16,0-17-16,19 18 15</inkml:trace>
  <inkml:trace contextRef="#ctx0" brushRef="#br0" timeOffset="177877.51">30996 5961 0,'18'-17'0,"-54"53"31,36-19-31,-18 1 16,1 18-16,17-19 0,-17 0 15,-1 18 1,0-16-16,0-2 16</inkml:trace>
  <inkml:trace contextRef="#ctx0" brushRef="#br0" timeOffset="178067.06">30714 5873 0,'282'88'15</inkml:trace>
  <inkml:trace contextRef="#ctx0" brushRef="#br0" timeOffset="178429.23">31084 6173 0,'52'-34'0,"-33"15"16,-19 2-16,17 17 15,-17-18-15,18 18 0,-18-17 16,17 0-16,-52 34 47,18 0-47,-2 1 0,19-1 16,-17-17-16,17 19 15,0-2-15,-17 0 16,34-17-16,0 18 15,2-18-15</inkml:trace>
  <inkml:trace contextRef="#ctx0" brushRef="#br0" timeOffset="178737.51">31366 6103 0,'-18'36'63,"18"-19"-32,0 0-16,0 1 1,18-18 0,0 0-1,0 0-15,-1-18 16</inkml:trace>
  <inkml:trace contextRef="#ctx0" brushRef="#br0" timeOffset="178915.57">31595 5997 0,'36'-53'15,"-19"53"17,-51 36-17,15-1 1,2-18-16,-1 2 16,18-2-16,-17 0 0,69-105 0,-121 194 0,50-89 15,2 2-15,-1-2 0,1-17 16</inkml:trace>
  <inkml:trace contextRef="#ctx0" brushRef="#br0" timeOffset="179021.42">31402 6209 0,'105'-89'63,"-69"72"-47</inkml:trace>
  <inkml:trace contextRef="#ctx0" brushRef="#br0" timeOffset="179899.89">27486 4568 0,'0'-17'15,"-18"87"1,1-52-16,17-1 0,-19 36 16,2-17-16,17-18 15,0-1-15,0 0 0,-17 1 0,17 0 16,0 17-16,0-18 16,0 2-16</inkml:trace>
  <inkml:trace contextRef="#ctx0" brushRef="#br0" timeOffset="180253.6">27398 4480 0,'17'-17'16,"0"17"-16,2-18 15,16 18-15,1 0 0,52 52 32,-54-16-32,-16-1 0,0 1 15,0-19-15,-18 37 16,-18-37-16,18 0 15,-18 19-15,0-1 0,1-18 16,0-17-16,-37 54 16,1-20-1,36-34-15,-18 19 32</inkml:trace>
  <inkml:trace contextRef="#ctx0" brushRef="#br0" timeOffset="180727.37">27803 4551 0,'17'0'16,"-34"0"-16,53 0 15,-36 17-15,17 0 0,-17 19 16,0-18-16,0-1 15,0 2-15,0-2 0,0 0 16,-17-17-16,17 18 0,0 0 16,0 0-16,0-1 31,0 0-31,0-51 125,17 34-109,-17-18-16,35-35 15,-16 36 1,15-19-16,-16 18 0,-1 1 15,-17-2-15,19 19 16,-2-17-16,0 0 0,1 17 16,0-18-16</inkml:trace>
  <inkml:trace contextRef="#ctx0" brushRef="#br0" timeOffset="181026.25">28156 4516 0,'-53'35'15,"53"-18"-15,0 0 0,-17-17 0,17 19 16,0-2-16,0 1 16,0 18-16,0-19 0,17 0 15,0-17 1,-17 18-16,19-18 15,-2-18-15,1 18 16,-1 0-16,0-17 16,2 0-16,-2-2 15,1 2 1,-18-1 0,17 18-16</inkml:trace>
  <inkml:trace contextRef="#ctx0" brushRef="#br0" timeOffset="181382.09">28456 4516 0,'-53'35'0,"36"-18"31,-1 0-31,18 2 16,0-2-16,0 1 31,18-18-31,-1 17 16,0 19 0,-17-19-16,0 19 15,0-18-15,0-1 0,-17 36 16,17-35-16,-17 16 0,17-15 15,-36 16-15,18 1 16,1-36-16,0 17 16,-2 0-16,2-17 15,34-17 17,-17 0-32</inkml:trace>
  <inkml:trace contextRef="#ctx0" brushRef="#br0" timeOffset="181943.56">29038 4375 0,'0'0'31,"-18"17"-15,18 0-16,-17 1 0,17 0 16,-17 0-16,17-1 0,0 19 15,-19-19-15,19 1 0,0-1 16,0 0-16,0 2 0,0-2 16,19 1-1,-2-18 1,0-18-16,1 1 15,-18-2-15,17 2 16,-17 0-16,0-1 0,0 1 0,0-2 16,19 2-16,-19 0 15,17-1-15,0 18 16,1 35 0,0-35-1,-18 17-15,0 2 16,0-2-16,18 1 0,-18-1 0,0 0 15,0 2-15,0-2 16,17 1-16,-17-1 16,0 2-1,17-19-15,2-19 32,-2 2-32,1-1 15,-1 18-15,-17-17 0,17 17 0,-17-19 16,19 2-16,-2 17 0,-17-17 15,35-18-15,-16 16 16</inkml:trace>
  <inkml:trace contextRef="#ctx0" brushRef="#br0" timeOffset="182427.3">29991 4180 0,'-19'36'0,"2"-19"15,17 1-15,0-1 0,-17 54 16,-1-18-16,18-18 16,-18 1-16,18-2 0,0 2 15,0-1-15,-18-18 0,18 37 0,0-37 16,0 2-16,0-2 0,-17 0 15,17 1-15,0-53 47,0-1-47,17 19 16,-17-18-16,18-18 0,0-1 0,17-34 16,-18 36-16,19-1 0,-18 17 15,18-16-15,16-19 0,-35 54 16,36-36-1,-17 53-15,-18 0 0,-1 0 16,-17 17-16,17-17 16,-17 17-16,0 2 0,0-2 0,0 1 0,0-1 15,0 0-15,-34 19 0,16-1 16,0-16-16,0-2 16,1 18-16,0-17 0,-19 0 0,1-1 15,35 0-15,-17 1 0,-2 0 16</inkml:trace>
  <inkml:trace contextRef="#ctx0" brushRef="#br0" timeOffset="182665.24">30538 4021 0,'0'36'31,"-19"-18"-31,19 16 0,-17-15 16,-1 50-16,1-33 0,-19 18 16,19-20-16,-1 20 0,1-20 15,-2 20-15,-15-20 0,16 20 16,1-1-16,-2-18 16,2-18-16,17 2 15,17-2 1</inkml:trace>
  <inkml:trace contextRef="#ctx0" brushRef="#br0" timeOffset="183387.46">30590 4409 0,'-52'0'16,"33"0"-16,19 18 15,-17 0-15,-1-18 0,1 18 0,17-1 16,-17 0-16,-2 2 16,19-2-16,0 1 0,19-1 15,-2-17 1,0-17 0,1-1-1,-1 18-15,2-17 16,-2 34 31,-34 35-32,17-33-15,0 16 16,0-18 0,17-17-16</inkml:trace>
  <inkml:trace contextRef="#ctx0" brushRef="#br0" timeOffset="183782.19">30960 4339 0,'-17'0'0,"34"0"0,-34-18 16,0 18-1,-1 18-15,0 0 0,0 0 16,1-1-16,0 0 15,-2 1-15,2 18 16,17-19-16,0 0 0,0 2 16,0-2-16,0 1 15,17-1-15,2-17 16,15 0-16,-16 0 16,0 0-16,0 0 0,-1-17 15,0-1-15,1 1 16,0 17-1,-18-19-15,-18 38 32,18-2-32,-18 1 15,18-1-15,0 0 16,0 2-16,0-2 16,18 1-16,0-18 15,0 0-15</inkml:trace>
  <inkml:trace contextRef="#ctx0" brushRef="#br0" timeOffset="184234.3">31436 4251 0,'0'-18'16,"0"36"-16,-34-1 15,16 2-15,0-2 16,18 0-16,-35 37 0,18-20 16,-1-16-16,0 18 0,0-2 15,1 20-15,0-37 0,-2 0 16,19 2-16,0-2 0,-17-17 0,17 18 16,0-1-16,-18-17 15,53-17 16,-35-1-31,19 18 0,-2-17 16,0 17-16,-17-19 0,18 19 16,0 0-16,0-17 0,-1 17 15,0 0-15,1 17 0,0 2 16,-18-2 0,0 1-1,-18-18-15,18 17 16,-18-17-16,18 19 0,-17-19 15,17 17-15,-17-17 0,-1 17 0,0-17 16,18 18 0</inkml:trace>
  <inkml:trace contextRef="#ctx0" brushRef="#br0" timeOffset="184513.73">31507 4568 0,'0'36'47,"0"-55"-47,-17 38 0,34-55 0,-34 89 0,17-35 16,17-1 0,2-17-16,-2 19 15,0-19 1,18-19-16,-16 19 15,-19-17-15,17 17 0,0-18 16,-17 1-16,0-2 16,0 2-16,-17 17 15,0-17-15,-2 17 0,2 0 16,-18 0-16,18 17 0,-19-17 16,1 0-16,-1 0 0</inkml:trace>
  <inkml:trace contextRef="#ctx0" brushRef="#br0" timeOffset="185869.74">29691 8820 0,'0'-19'16,"0"55"15,0-18-31,0-1 0,0 0 15,0 2-15,-19-2 0,19 18 0,0-16 16,0-2-16,-17 35 0,17-33 16,0-2-16,-17 0 0,17 1 15,0 0-15,0 0 16,0-1-16,0 0 0</inkml:trace>
  <inkml:trace contextRef="#ctx0" brushRef="#br0" timeOffset="186965.81">29708 8801 0,'71'-34'0,"-54"34"16,19 0-16,-36 17 0,18-17 0,-1 17 16,18 19-1,-17-18-15,-18-1 0,0 19 0,0-19 16,0 1-16,0-1 0,-18 2 16,18-2-16,-18 0 0,1 18 15,0-16-15,-1-2 0,-18 18 16,19-35-16,0 18 0,-2-18 15,19 18-15,-17-18 0,-1 0 16,18 17-16,-17-17 0,-2 0 16,2 0-16</inkml:trace>
  <inkml:trace contextRef="#ctx0" brushRef="#br0" timeOffset="187318.23">29972 8872 0,'19'-17'0,"-38"34"0,55-17 16,-18 17-16,-18 2 15,17-2-15,-17 1 16,0-1-16,0 2 15,0-2-15,-17 0 0,17 1 0,0-1 16,-18 19 0,36-72 31,18 1-32,-36 18-15,17 17 0,-17-17 16,17 17-16,1-19 0,-1 2 15,19-1-15,-19 18 16</inkml:trace>
  <inkml:trace contextRef="#ctx0" brushRef="#br0" timeOffset="187651.12">30360 8820 0,'0'0'15,"-17"17"16,0 1-31,17-1 0,0 0 16,-18 2-16,18-2 0,18 1 16,-18-1-16,17 19 31,0-36-31,2 0 16,16 0-1,1-36 1,-19 19-1,0-1-15,-17 36 63,18-1-47,-18 2-16,17-19 15,2 17-15</inkml:trace>
  <inkml:trace contextRef="#ctx0" brushRef="#br0" timeOffset="187957.51">30696 8908 0,'18'-36'16,"-36"72"-16,18-36 31,0 35-15,-17 1-1,-2-2 1,19-16-16,-17-18 0,17 17 16,-17 2-16,34-38 47,19 2-32,-19-1-15,35-16 16,-16-2-16,-1 18 0,-16 1 15,15 17-15,-16-19 0,18 19 16,-19-17-16,0 17 0,19-17 0,-18 17 16,-1 0-16</inkml:trace>
  <inkml:trace contextRef="#ctx0" brushRef="#br0" timeOffset="188807.23">29955 10072 0,'0'-17'15,"0"51"1,0 20 0,-17-37-16,17 0 0,0 1 15,-18 18-15,18-19 0,0 19 0,0-19 16,-18 1-16,18-1 0,0 0 15,0 2-15</inkml:trace>
  <inkml:trace contextRef="#ctx0" brushRef="#br0" timeOffset="189121.05">30026 9948 0,'17'-17'0,"2"17"16,-19-18-16,52 36 16,-35 16-1,-17-15 1,0-2-16,0 1 0,0-1 0,-17 2 15,17-2-15,-18 0 0,18 1 16,-34 18-16,15-19 0,2 0 16,-1 1-16,18 0 0,-17-18 0,-2 18 15,2-18-15,17 17 16,-17-17-16</inkml:trace>
  <inkml:trace contextRef="#ctx0" brushRef="#br0" timeOffset="189387.61">30450 9913 0,'-19'18'31,"19"-1"-31,0 0 15,-17 2-15,17-2 0,-35 37 16,16-20-16,19-16 0,-17-1 16,0 19-16,-1 17 0,1-35 15,-2-1-15,19 0 0,-17 2 0,0-2 16,17 1-16,-18-1 16,18 0-16,-18 2 0</inkml:trace>
  <inkml:trace contextRef="#ctx0" brushRef="#br0" timeOffset="189741.97">30643 10143 0,'-35'0'31,"70"0"-31,-88 0 0,35 17 15,1-17-15,0 0 0,-2 35 16,2-35-16,17 18 0,-18-18 16,18 18-1,-17-1-15,34-17 16,1 0 0,18-17-1,-19 17 1,0 0-1,1 17 1,-18 0 0,18 2-1,0-19 1</inkml:trace>
  <inkml:trace contextRef="#ctx0" brushRef="#br0" timeOffset="190105.24">30890 10107 0,'-18'-18'0,"1"36"16,0-18-16,17 17 0,-19-17 0,19 19 0,-17-19 15,17 17-15,-18 0 16,18 1-16,-17 0 15,17 0-15,17-18 16,1 17 0,-1-34-1,2 17-15,-2 0 16,0-18-16,1 18 16,0 0-16,-18-18 15,18 36 1,-36 0-1,18-1 1,18 0 0</inkml:trace>
  <inkml:trace contextRef="#ctx0" brushRef="#br0" timeOffset="190514.29">31331 9843 0,'0'0'0,"-17"17"31,-19 36-15,18-35-16,1 16 0,0-15 15,-2 16-15,2 1 0,-1-19 16,1 0-16,-2 18 0,2 1 15,0-36-15,17 17 0,-18 1 16,36-18 15,16-18-15,2 18 0,-18 0-16,-1 0 15,2 0-15,-2 0 16,0 0-16,1 18 0,0 0 15,-36 0 1,0-1 0,1 0-16,0-17 15,17 19-15,-19-19 16</inkml:trace>
  <inkml:trace contextRef="#ctx0" brushRef="#br0" timeOffset="190795.12">31526 10055 0,'0'0'16,"0"34"-1,34-34 1,-16 0-1,-1 0-15,2-17 0,-2 17 16,-17-17-16,17 17 0,1-19 16,-18 2-16,0-1 0,18 1 15,-18-2 1,-18 2-16,0 17 16,1 17-1,0-17 1,-2 19-16</inkml:trace>
  <inkml:trace contextRef="#ctx0" brushRef="#br0" timeOffset="191039.02">32124 10036 0,'-34'19'16,"16"-19"-16,0 17 0,-17 18 16,-18-18-16,18 19 0,-36-1 0,-34 35 15,52-34-15,-1-1 16,20 1-16,-20-19 0,1 18 16,18 1-16,18-19 15</inkml:trace>
  <inkml:trace contextRef="#ctx0" brushRef="#br0" timeOffset="191191.15">32195 10055 0,'-247'193'31,"494"-386"-31,-582 439 0,159-123 16,-36 18-1,106-53-15,0-17 0,-106 70 16</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5.898"/>
    </inkml:context>
    <inkml:brush xml:id="br0">
      <inkml:brushProperty name="width" value="0.025" units="cm"/>
      <inkml:brushProperty name="height" value="0.025" units="cm"/>
      <inkml:brushProperty name="ignorePressure" value="1"/>
    </inkml:brush>
  </inkml:definitions>
  <inkml:trace contextRef="#ctx0" brushRef="#br0">1 20,'13'0,"13"-4,7-2,2 1,-6 1</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7.881"/>
    </inkml:context>
    <inkml:brush xml:id="br0">
      <inkml:brushProperty name="width" value="0.025" units="cm"/>
      <inkml:brushProperty name="height" value="0.025" units="cm"/>
      <inkml:brushProperty name="ignorePressure" value="1"/>
    </inkml:brush>
  </inkml:definitions>
  <inkml:trace contextRef="#ctx0" brushRef="#br0">0 0,'5'0,"5"0,6 0,4 0,4 0,1 0,2 0,-1 0,1 0,0 0,-1 0,1 0,0 0,-2 0,2 0,-6 0</inkml:trace>
</inkml:ink>
</file>

<file path=ppt/ink/ink122.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37:58.433"/>
    </inkml:context>
    <inkml:brush xml:id="br0">
      <inkml:brushProperty name="width" value="0.05292" units="cm"/>
      <inkml:brushProperty name="height" value="0.05292" units="cm"/>
      <inkml:brushProperty name="color" value="#0070C0"/>
    </inkml:brush>
  </inkml:definitions>
  <inkml:trace contextRef="#ctx0" brushRef="#br0">10398 5309 0,'-17'-17'15,"34"34"1,0-17 15,2 0-31,-2 17 16,37-17-1,-2 19-15,1-19 16,18 17-16,-37-17 0,2 18 16,-1-18-16,18 17 15,18-17-15,-18 19 16</inkml:trace>
  <inkml:trace contextRef="#ctx0" brushRef="#br0" timeOffset="1615.97">14579 5326 0,'35'19'31,"-18"-19"-31,19 17 0,-1 1 16,70-1-16,2 19 0,52-19 16,-89 1-1,106 18-15,-88-36 0,107 17 16,-107 0-16,71-17 15,-1 0-15,-52 0 16,-17-17-16,87 0 0,-17-37 16,-1 1-1,-104 36-15,16-18 0,36-54 0,-36 1 16,-16-52 0,-37 16-1,-34 70-15,-37-87 0,18 89 16,-16-19-16,-18 18 0,16 0 15,-34 1-15,-176-126 16,52 108-16,106 35 0,-105-18 16,-1 35-1,-123 36-15,141 18 16,0 16 0,105 1-16,-140 88 15,159-87-15,-54 122 16,71 18-1,53-142-15,36 55 16,-19-36-16,71 34 0,88 36 16,-34-89-1,-36-16-15</inkml:trace>
  <inkml:trace contextRef="#ctx0" brushRef="#br0" timeOffset="3532.75">21493 4304 0,'0'-18'0,"0"53"15,-18 1 1,18-19-1,0 1-15,0-1 16,-17 2-16,17-2 16,0 0-1,35-51 17,-17 15-17,17 2-15,-18-18 16,19 18-16,-1 17 15,-18-19-15,2 19 16,16 19-16,-18-19 16,2 17-16,-2 0 15,0 1-15,1-1 16,-1 2 0,2-19-16,15 17 15</inkml:trace>
  <inkml:trace contextRef="#ctx0" brushRef="#br0" timeOffset="3856.31">22358 4357 0,'0'0'15,"17"0"1,18 0-16,-16 0 0,15 0 15,1 0 1,1 0-16,-19 0 0,19 0 16,-18 0-16,34 0 15,-34 0-15</inkml:trace>
  <inkml:trace contextRef="#ctx0" brushRef="#br0" timeOffset="4185.95">22710 4145 0,'-17'0'15,"17"-17"1,17 51 15,0-16-31,19 18 16,-18-2-16,-1 20 15,2-37 1,-19 19-16,-19-19 16,19 1-16,-17 35 15,-1-36-15,1 19 16,-2-18-1</inkml:trace>
  <inkml:trace contextRef="#ctx0" brushRef="#br0" timeOffset="4502.68">24033 4074 0,'0'88'16,"-18"-34"0,1-1-1,17-36-15,0 18 16,17-16-16</inkml:trace>
  <inkml:trace contextRef="#ctx0" brushRef="#br0" timeOffset="4745.76">24527 4162 0,'-17'0'47,"34"0"-47,-105 36 0,52-1 16,-86 53-1,86-52-15,-140 123 16,88-89-1,52-18 1,18 2 0,18-37-1</inkml:trace>
  <inkml:trace contextRef="#ctx0" brushRef="#br0" timeOffset="5225.68">24633 4445 0,'-18'35'16,"1"-17"-16,17 0 0,-19-1 16,2 19-1,0-1 1,-1-18-1,53-17 17,1-17-17,-1-1-15,18 1 16,-36 17-16,19-19 16,-18 19-1,34 19 1,-16-2-1,-36 1 1,17-1 0</inkml:trace>
  <inkml:trace contextRef="#ctx0" brushRef="#br0" timeOffset="5382.64">25197 4569 0,'0'-19'16</inkml:trace>
  <inkml:trace contextRef="#ctx0" brushRef="#br0" timeOffset="8126.79">13873 2698 0,'53'0'15,"-17"0"-15,69 0 16,-34 0-16,88 18 16,53-18-16,-107 0 15,230 0-15,1 18 16,-126 0-1,144-1 1,-160 0 0,-106-17-16,-17 0 15,-54 19 1,1-19-16</inkml:trace>
  <inkml:trace contextRef="#ctx0" brushRef="#br0" timeOffset="8433.7">15090 2857 0,'53'19'0,"35"-19"15,-34 0-15,104 0 16,18 17-16,0-17 15,-105 0-15,158 17 16,-87-17-16,-37 18 16,-16-18-16,-54 17 15,18-17 1,-1 0-16,-16 0 16,-36 19-16,18-19 15,-1 0-15,2 17 16,-2-17-1</inkml:trace>
  <inkml:trace contextRef="#ctx0" brushRef="#br0" timeOffset="11423.45">19077 1429 0,'-106'17'0,"53"1"0,0 18 16,-70 69-16,52-52 0,18-1 0,0 19 16,-53 70-16,70-70 15,-16 34-15,35-69 16,17 52-16,35 0 0,35 0 16,1-52-16,0-1 15,105 36-15,-88-54 16,36 2-16,-2-2 0</inkml:trace>
  <inkml:trace contextRef="#ctx0" brushRef="#br0" timeOffset="12041.41">25374 2805 0,'52'0'15,"-16"17"-15,-1-17 0,-158-17 0,282 69 16,-106-33-16,-18 15 0,53 54 15,-52-34-15,-2-20 0,2 73 16,-18-72-16,-18 53 16,-71 53-16,-17-53 15,35-35-15,-18-18 16,-17 1-16,-71 35 0,53-37 16,0-16-16,-35 18 0,-176 17 15,-71-36 1</inkml:trace>
  <inkml:trace contextRef="#ctx0" brushRef="#br0" timeOffset="14182.4">26114 2452 0,'36'0'0,"17"0"0,-1 17 15,19-17-15,0 17 0,-1-17 16,106 36-16,2-18 16,-20-1-16,-70-17 0,-17 19 15,0-19-15,51 17 16,-86-17-16,16 0 0,-33 0 15,16 17-15</inkml:trace>
  <inkml:trace contextRef="#ctx0" brushRef="#br0" timeOffset="15295.75">2566 3845 0,'53'0'0,"-35"0"16,18 0-16,52 0 0,-18 0 0,1 0 16,17 0-16,105 17 15,-103-17-15,15 0 0,107 19 16,-89-19-16,89 0 0,-88 0 15,-19 17-15,0-17 16,2 0-16,69 0 0,-17 0 16,-89 0-16,-16 0 0,-2 0 15,-16 0-15,-2 0 0,2 0 16,-18 0-16,35 0 0,-36 0 16,1 0-16,-1 0 15</inkml:trace>
  <inkml:trace contextRef="#ctx0" brushRef="#br0" timeOffset="16108.47">15919 3952 0,'71'0'15,"-18"0"-15,-18 0 0,106 0 16,1 0-16,68 17 16,-103-17-16,-2 0 15,19 0-15,88 17 16,-106 1-16,-18-18 0,106 17 0,-35 2 15,-36-2 1,-70-17-16,0 17 16,-18-17-16,-18 0 15</inkml:trace>
  <inkml:trace contextRef="#ctx0" brushRef="#br0" timeOffset="20212.5">10681 6721 0,'17'0'47</inkml:trace>
  <inkml:trace contextRef="#ctx0" brushRef="#br0" timeOffset="20572.62">11545 6702 0</inkml:trace>
  <inkml:trace contextRef="#ctx0" brushRef="#br0" timeOffset="20992.62">12179 6685 0</inkml:trace>
  <inkml:trace contextRef="#ctx0" brushRef="#br0" timeOffset="21438.72">12955 6632 0</inkml:trace>
  <inkml:trace contextRef="#ctx0" brushRef="#br0" timeOffset="21799.76">14279 6632 0</inkml:trace>
  <inkml:trace contextRef="#ctx0" brushRef="#br0" timeOffset="28366.8">12338 6209 0,'-17'-53'0,"-1"35"31,1 18-31,0 0 0,-37 35 16,18-16-16,19-2 0,-18 18 16,-1 1-16,-16 34 15,52-52-15,-18 16 0,0-15 0,18 33 16,-17-33-16,17-2 15,17 0-15,1 1 16,18-36-16,-19 18 16,18-17-16,-17 0 15,0-2-15,16 2 0,-15-18 0,33-18 16,-33 17-16,-2 18 0,-17 1 16,17 0-16,-17-1 0,0 0 15,-17 18 1,-19 18-16,19 0 0,-18 16 15,-1-16-15,19 18 0,-1-2 16,-18 20-16,19-37 0,0 2 16,17-2-16,0 0 0,0 1 0,0-1 15,17-17 1,0-17-16,1 17 16,0-18-16,0 1 0,-1-19 15,0 19-15,2-1 0,-2-18 16,-17 19-16,35-18 0,-35 17 15,0 0-15,-17 54 16,-1-18 0,1 16-16,-2-15 0,19 33 15,-34 1-15,34-18 16,0-16-16,-18 15 0,18 2 16,18-1-16,-18-18 15,17-17-15,0 0 16,2 0-16,16-34 15,-18 16-15,2 0 16,-19 0-16,17 1 0,-53 34 47,36 1-47,-17 0 16,17 0-16,-35 16 0,35-15 15,0-2-15,-19 1 16,38-18-16,-2 0 15,1 0-15,52-35 16,-52-1 0,18 19-16,-19-1 0,18-35 15,-17 17-15,0 19 0,-1-18 16,-17 18-16,0-2 0,17 2 16,-34 17-1,-18 0-15,-1 36 16,19-19-16,-19 0 0,19 18 15,-35 36 17,52-53-32,0 0 0,17-18 15,18-18-15,1 0 16,-19-17-16,0 18 16,1-2-16,0-50 15,0 15-15,-18 1 16,0 0-16,-18 35 0,0-16 15,0 16 1,1 18-16,0 0 0,-2 0 0,-16 35 16,18-18-16,0 1 15,-2 18-15,2-2 16,-1-15-16,18 33 0,0-33 16,0-2-16,18 0 0,-1-17 15,19 0-15,-19 0 16,37-17-16,-37 0 15,0-2-15,1-16 0,0 18 16,0-19-16,-1 19 0,0-19 0,-17-16 16,0 34-16,0-35 15,-17 36-15,17-2 16,-17 19-16,-1 0 0,-35 0 16,36 19-16,-19-2 15,-16 54-15,33-37 16,2-16-16,17 0 0,-18 17 15,18-18-15,18 2 16,-1-2-16,2-17 16,-2-17-16,0 17 15,1-19-15,-1 2 0,2 0 16,33-54-16,-34 18 16,-18 35-16,18 1 0,-18 0 15,-18-2-15,18 2 0,-18 17 16,0 0-1,-35 17-15,18 2 0,18 15 16,0-16-16,-19 35 16,18-18-16,1 1 15,-2 17-15,19-36 16,19 1-16,-19-1 0,17-17 16,18 0-16,-16 0 15,15-17-15,-16-1 0,-1-18 16,2 19-16,15-18 0,-16-1 15,-18 2-15,18 16 0,-18-35 16,0 0-16,0 35 16,-18 1-16,0 17 0,1-19 15,-36 38-15,35-2 16,-16-17-16,15 35 0,-52 36 16,54-35-16,-18 52 15,-1-35-15,36-1 0,0-33 16,18 15-16,-18-16 15,18-1-15,17 2 16,1-38-16,-19 19 16,1-17-16,35-18 0,-36 18 15,18-19-15,1-18 16,-19 20-16,1-2 0,-18 18 16,18 1-16,-18-18 0,0-1 15,-18 36 1,-17 18-16,18 0 15,-2 17-15,-33 36 0,35-37 16,-19 56-16,1-38 16,35-35-16,0 2 15,0 15-15,0-16 0,0 18 16,17-36-16,1 17 16,-1-34-16,2 17 15,-2-18-15,18 0 0,-18 18 0,2-35 16,15 18-16,20-54 15,-37 54-15,0 17 0,1-36 16,-36 72 15,1-36-31,17 17 16,-17 0-16,17 1 0,-18 18 0,18-19 16,0 18-16,0-17 15,18 0 1,-1-18-16,0 0 15,1-18-15,0 18 16,-18-18-16,18 18 0,16-35 16,-15 18-16,-2-2 15,1 2-15,-36 34 47,1 2-47,-2-2 16,19 0-16,-17 1 15,34 0 1,2-18 15,-2 0-15,-53 0 78,36-18-94,-17 18 15,17-18-15,0 1 0,0 0 0,-17-2 16,17 2-16,0-1 0,0-16 16,0-2-16,0 18 0,0-18 15,0 19-15,0-18 16,0 17-16,-18 18 15,0-18-15,0 18 0,1 18 16,0-18-16,-54 18 0,54 0 16,-71 35-16,52-36 15,-18 1-15,20 18 0</inkml:trace>
  <inkml:trace contextRef="#ctx0" brushRef="#br0" timeOffset="36484.39">4754 7761 0,'0'-17'0,"0"-1"16,0 0-1,0-17 1,-17 18-1,17-2-15,-19 19 0,2-17 16,-1-1-16,1 1 16,-19-2-16,-16 2 15,16 0-15,19-1 0,-37 18 16,20-17-16,16 17 16,-18 0-16,2 0 0,-37 0 15,-36 17-15,19 1 16,54-1-16,-20 19 0,20-19 15,-2 1-15,1 18 0,-160 210 32,178-192-17,0-20-15,-2 20 0,19-20 0,-17 37 16,17-35-16,0-1 0,17 35 16,19 18-1,17 0-15,-35-52 0,16-1 16,54 18-16,-52-18 0,18-18 15,-20 2-15,54 16 16,-52-35-16,52 17 16,35-17-16,-52 0 15,-18-17-15,0-1 16,53 1-16,-72-2 0,2-15 16,35-1-16,-36-1 15,1 19-15,16-54 0,1 36 16,-17-18-16,16-18 15,-33 35-15,-19 19 16,34-54-16,-16 19 16,-18-1-16,17 36 15,-17-19-15,0-16 0,-17-2 16,17 37-16,-18-19 16,1-17-16,-19 1 15,1-2-15,-1 37 16,2-19-16,16 19 0,-52-18 15,-1 16-15,-53 2 16,89 17-16,-18 0 16,-35-17-16,17 34 15</inkml:trace>
  <inkml:trace contextRef="#ctx0" brushRef="#br0" timeOffset="38309.08">714 9278 0,'-88'18'0,"71"-1"16,-18 0-16,-1 19 0,1-1 0,-1 18 16,-16 1-16,-54 87 15,18 18-15,53-71 0,-1-18 16,1 18-16,-1-17 0,-17 70 16,53-89-16,0 2 0,0 34 15,19-35-15,-19-18 0,17 1 16,0-19-16,37 18 15,-37-35-15</inkml:trace>
  <inkml:trace contextRef="#ctx0" brushRef="#br0" timeOffset="38796.47">1226 9242 0,'17'0'0,"19"18"15,-89-36-15,141 72 0,-52-1 16,52 106-16,-71-89 16,18 89-16,-35 0 15,0-1-15,-17-70 16,-1 0-16,-16 71 16,-20-35-16,18-19 15,-16-17-15,34-69 16,18-2-16</inkml:trace>
  <inkml:trace contextRef="#ctx0" brushRef="#br0" timeOffset="39798.05">2249 9366 0,'-18'35'0,"1"1"0,-36 87 15,-18 18-15,36-53 16,-1 1-16,2-1 0,-90 264 16,106-264-1,-35 90-15,36-126 16,-1 54-16,18-71 0,0 36 16,0-54-16,18 2 15,-18-2-15,17-17 0,2 17 16,-2-17-16</inkml:trace>
  <inkml:trace contextRef="#ctx0" brushRef="#br0" timeOffset="40809.85">2814 9190 0,'105'194'16,"-87"-124"-16,-1 89 15,-17-88-15,-17 105 0,17-88 16,-18 1-16,1 104 16,0-34-16,-19 0 15,1-35-15,35-71 16,-36 52-16,1-17 16,-1-34-16,19-20 15,-36 20-15,35-37 16,-16 0-1</inkml:trace>
  <inkml:trace contextRef="#ctx0" brushRef="#br0" timeOffset="41889.58">4154 9120 0,'-88'352'0,"71"-264"16,17 1-16,-19 16 0,2-17 15,-1 18-15,1 0 0,17 0 0,-17 159 16,17-177 0,17-36-16,0 55 15,37-19-15,-2-18 16,1-52-16,-36-18 0,54-18 16</inkml:trace>
  <inkml:trace contextRef="#ctx0" brushRef="#br0" timeOffset="42286.41">5089 9137 0,'36'123'0,"-36"37"16,0-72-16,0 122 0,-19-103 15,2 34-15,-18 1 0,-1-20 0,-35 144 16,-17-37 0,-34 35-16,68-193 15,1-1-15</inkml:trace>
  <inkml:trace contextRef="#ctx0" brushRef="#br0" timeOffset="43016.65">6659 9032 0,'-53'52'16,"36"-16"-16,-19 16 15,1 36-15,-89 194 16,71-35-16,18-140 15,-36 227-15,54-246 16,17 19-16,-17 69 16,34-35-16,18 35 15,18-105-15,-18-36 16,1-17 0</inkml:trace>
  <inkml:trace contextRef="#ctx0" brushRef="#br0" timeOffset="43421.3">7277 8942 0,'88'107'0,"17"140"16,-69-142-16,35 160 16,-37-142-16,1 89 15,-16 123 1,-55-17 0,-35-36-16,0-124 15,37-87-15,-72 70 16</inkml:trace>
  <inkml:trace contextRef="#ctx0" brushRef="#br0" timeOffset="44933.38">10803 9401 0,'-158'283'16,"106"-71"-1,52-142-15,0-18 0,0 2 16,17-1-16,0 52 0,19-51 16,-18-20-16,140 90 15,-123-106 1,36-18-16,-35 0 0</inkml:trace>
  <inkml:trace contextRef="#ctx0" brushRef="#br0" timeOffset="45409.56">12039 9242 0,'70'212'15,"-70"-158"-15,0 104 16,-18 1-16,1-71 16,-18 71-16,-18-18 15,-18 35-15,18-88 16,36-52-16,-18 16 16,16-16-16</inkml:trace>
  <inkml:trace contextRef="#ctx0" brushRef="#br0" timeOffset="46032.79">13255 9366 0,'-52'106'0,"16"-18"16,124-282-16,-193 441 0,88-176 0,-2-18 16,19-1-16,-17 19 0,17-18 0,17 0 15,2 35-15,15-34 0,2-20 16,35 37-16,69-18 16,-87-35-1</inkml:trace>
  <inkml:trace contextRef="#ctx0" brushRef="#br0" timeOffset="46512.42">14897 9137 0,'70'88'16,"-52"-35"-16,-1-1 0,0 2 0,1 70 15,-18-72-15,0 177 16,-18-158-16,1-1 16,-36 72-16,35-72 0,-16 1 15,-37 34-15,0-17 16,35-52-16,2-1 0,-2-16 16</inkml:trace>
  <inkml:trace contextRef="#ctx0" brushRef="#br0" timeOffset="47327.95">15919 9066 0,'-212'212'0,"178"-160"15,-37 72-15,0 18 16,18 51-16,53-16 16,17-89-1,19-34-15,35 15 16,17 2-16,17-35 15,2-2-15,-36-34 16</inkml:trace>
  <inkml:trace contextRef="#ctx0" brushRef="#br0" timeOffset="47775.19">17507 9013 0,'18'36'16,"-1"-19"-16,18 54 15,1 88-15,-19-18 16,-17 0-16,0-70 16,0 17-16,-35 53 15,-18-1-15,-18-16 16,37-53-16,-73 52 16,72-87-16</inkml:trace>
  <inkml:trace contextRef="#ctx0" brushRef="#br0" timeOffset="48500.56">18335 8854 0,'-176'283'16,"159"-212"-16,-36 70 15,53-89-15,-18 72 0,36-53 16,18 34-16,-19-52 16,18 1-16,1-2 0,16-16 0,54 34 15,17-35 1,-70-35-16</inkml:trace>
  <inkml:trace contextRef="#ctx0" brushRef="#br0" timeOffset="48869.88">19711 8678 0,'54'54'15,"-108"-108"-15,178 178 0,-53-1 16,-36-52-16,1-1 0,-2 89 15,-16 0-15,0-89 0,-36-16 16,18 16-16,-52 70 16,33-69-16,-69 53 0,-17-19 15,-1-15-15</inkml:trace>
  <inkml:trace contextRef="#ctx0" brushRef="#br0" timeOffset="50782.62">23381 7232 0,'17'0'0,"-52"36"31,17-36-15,0 17-16,-35 36 16,1 17-16,16-52 0,-35 53 15,19-19-15,35-35 16,-2 2-16,2-2 0,17 1 16,-17-1-16,17 2 0,-18-19 15,36 34-15,-1-34 16,0 18-16,37-18 15,-37 0-15,36 0 16,-18 18-16,1-18 0,35-18 16,-37 18-16,37 0 15,-18 0-15,-18-18 0,1 18 16,-19-17-16,1 17 16,-1 0-16,2-36 15,-19 19-15</inkml:trace>
  <inkml:trace contextRef="#ctx0" brushRef="#br0" timeOffset="51008.4">23398 7214 0,'-17'35'15,"17"-16"-15,-18 51 16,0-35-16,-17 70 15,123-369-15,-229 706 0,123-390 16,1 1-16,0 35 16,-2 0-16,2-69 0,-1 69 15,18-71-15,0 0 16,0 1-16,0 0 16</inkml:trace>
  <inkml:trace contextRef="#ctx0" brushRef="#br0" timeOffset="51358.63">21987 8308 0,'282'-18'15,"-88"18"-15,36-17 16,16 34 0,-122-17-16,158 0 0,-141 0 15,18 0-15,123 0 0,-140 0 16,-1 0-16,106 0 15,-35 18-15,-36-18 16,-54 0-16,-51 0 16,-52 0-16,-2 0 0</inkml:trace>
  <inkml:trace contextRef="#ctx0" brushRef="#br0" timeOffset="53913.61">12269 10672 0,'176'17'15,"-124"-17"-15,18 0 0,142 0 16,-105 0-16,33 17 0,1-17 0,230 0 15,-176 19-15,193-2 16,-178-17-16,2 0 0,-17 18 16,16-18-16,1 0 0,0 0 15,-19 0-15,2 0 0,-2 0 0,2 0 16,-19-18-16,-35 18 0,0 0 16,-18 0-16,89 0 0,-141 0 15,-1 0-15,-34 0 0,-1-17 16</inkml:trace>
  <inkml:trace contextRef="#ctx0" brushRef="#br0" timeOffset="54309.54">13343 10936 0,'178'36'0,"-126"-19"15,37-17-15,122 17 0,-105-17 16,17 18-16,142-18 0,87 18 16,-174 0-16,-2-18 15,0 0-15,1 17 0,140 0 16,-53-17-16,-140 0 0,123 19 16,-142-19-16,-34 0 15,0 0-15,-18 0 16,-1 0-16,-33-19 0,15 19 0,-16 0 0,18 0 15</inkml:trace>
  <inkml:trace contextRef="#ctx0" brushRef="#br0" timeOffset="57774.44">22763 9420 0,'-17'-19'0,"17"2"16,-19 17 0,2 0-16,0 17 15,-1 19-15,0-19 16,18 18-16,-35 54 15,18-54-15,17 1 16,0-19-16,0 18 0,0-18 16,17 37-16,-17-37 0,17-17 15,1 36-15,0-36 0,0 0 16,-1 17-16,36-17 16,-35-17-16,35 0 0,-36 17 15,1-19-15,-1 2 0,2-18 16,-2 16-16,0-33 0,-17 35 15,0-2-15,0-33 0,0 16 16,-17 2-16,17 15 0,-17 2 16,-2-1-16,19 1 0,-17 0 15,-1-19-15,1 36 0,17-18 16,-17 18-16,-2 0 16,19 18-1</inkml:trace>
  <inkml:trace contextRef="#ctx0" brushRef="#br0" timeOffset="57928.35">23186 9525 0</inkml:trace>
  <inkml:trace contextRef="#ctx0" brushRef="#br0" timeOffset="58466.22">23503 9278 0,'-17'52'0,"17"-33"0,17-2 16,-17 18-16,19-16 0,-19 33 15,17-16-15,1 16 0,-18-34 16,17 0-16,-17 16 16,0-15-16,0-2 0,-17 18 15,-1-18-15,1-17 16,-2 0-16,19 19 0,-34-19 16,16-19-16,1 19 0,-2 0 15,2-17-15,0 17 16,17-17-16,0-1 15,0 1-15,17 17 0,0-19 16,2 2-16,33-18 16,-16 17-16,-1 0 0,-18 1 15,36-19-15,-35 19 0,35-18 16,-36 18-16,-17-2 16,18 2-16,-18-1 0,0 1 0,0-2 15,0 2-15,0 0 16,-18-1-16,1 0 0,0 18 15,17-18-15,-18 18 0,0 0 16,0 0 0</inkml:trace>
  <inkml:trace contextRef="#ctx0" brushRef="#br0" timeOffset="58810.4">23945 9260 0,'-35'0'0,"18"0"15,-2 0-15,-16 18 16,18-18-16,-2 18 16,2-1-16,17 0 0,159-87 0,-318 159 15,176-89 1,2 17-1,16-17-15,-18 0 16,2 0 0,-2 0-16,-17 18 15,0-1-15,0 2 0,0-2 16,0 0-16,0 1 0,0-1 0,0 19 16,-17-19-16,-2 37 15,19-37-15,0 0 0,-17 19 0,17-18 16,-18 16-16,18-15 15</inkml:trace>
  <inkml:trace contextRef="#ctx0" brushRef="#br0" timeOffset="59252.18">24491 9366 0,'-17'18'16,"0"-1"-1,17 19 1,-18-1-16,36 1 16,-18-19-16,0 18 0,0-17 15,0 17-15,0-18 0,0 2 16,0 16-16,0-1 15,-18-34-15,0 36 0,-17-18 16,18-1-16,-19 2 16,1-19-16,18 0 0,-37 17 15,37-17-15,-19-17 0,19 17 16</inkml:trace>
  <inkml:trace contextRef="#ctx0" brushRef="#br0" timeOffset="59740.48">26450 8185 0,'0'-19'0,"17"19"16,1 0-16,-1-17 15,19 17-15,-19 0 16,19 0-16,16 0 0,-16 0 16,-18 17-16,-1-17 15,0 0-15</inkml:trace>
  <inkml:trace contextRef="#ctx0" brushRef="#br0" timeOffset="59908.77">26414 8449 0,'19'0'16,"50"0"-1,-33 0-15,17 0 16,-18-17-16,53 17 16,-52 0-16,16 0 0,-16 0 15,52 0-15,-53-18 0</inkml:trace>
  <inkml:trace contextRef="#ctx0" brushRef="#br0" timeOffset="62472.67">24545 9384 0,'17'-18'0,"0"18"16,2 0-16,-2 0 0,1 0 16,-1 0-16,2-17 0</inkml:trace>
  <inkml:trace contextRef="#ctx0" brushRef="#br0" timeOffset="64954.46">29413 7885 0,'-35'17'15,"18"1"-15,-73 35 16,56-36-1,16 1-15,-35 18 0,36-19 16,-1 0-16,0 1 0,0 0 16,18 0-16,-17-1 15,17 0-15,17 2 0,1-2 16,0 1-16,34-1 16,-33-17-16,16 17 0,-1-17 15,2 0-15,18 19 0,15-19 16,-33 0-16,-19 0 15,37-19-15,-20 19 0,-15-17 16,-2 17-16</inkml:trace>
  <inkml:trace contextRef="#ctx0" brushRef="#br0" timeOffset="65170.26">29537 7990 0,'-54'159'15,"37"-123"-15,0 16 16,-19 36-16,18-35 16,18-35-16,-17 18 0,0-2 15,17 2-15,0-18 16</inkml:trace>
  <inkml:trace contextRef="#ctx0" brushRef="#br0" timeOffset="65321.46">29713 8325 0,'0'-17'0,"0"34"15</inkml:trace>
  <inkml:trace contextRef="#ctx0" brushRef="#br0" timeOffset="72951.34">30259 8025 0,'18'-17'16,"0"17"-16,-36 36 47,0-36-47,-16 17 15,16 0-15,0 19 0,-17-18 16,18-1-16,-2 0 15,2 2-15,-1-2 16,18 1-16,18-1 16,-1-17-1,2 17-15,-2-17 16,18 0-16,-17 0 0,70 19 16,-53-19-16,36 0 15,-18 0-15,18 0 16,-54-19-16,18 19 15,-17-17 1</inkml:trace>
  <inkml:trace contextRef="#ctx0" brushRef="#br0" timeOffset="73191.88">30506 8044 0,'-35'17'0,"18"0"15,0 19-15,-2-18 16,-16 35-16,18-36 16,-19 54-16,1-19 15,35-33-15,-18 15 16,18-16-16,0 0 15</inkml:trace>
  <inkml:trace contextRef="#ctx0" brushRef="#br0" timeOffset="73532.52">30877 7956 0,'0'-19'16,"0"38"-16,-35-19 16,18 17-16,-19 18 15,18 18-15,-18 0 16,36-35 0,0 16-16,19 2 15,-2-1-15,1-18 16,-1 2-1,2-19-15,-2-19 16,0 2 0,-17 0-16,0-1 15,0 1 1,-34 17-16,-2 0 16,18 17-16,-18-17 15,2 18-15,-20-1 0</inkml:trace>
  <inkml:trace contextRef="#ctx0" brushRef="#br0" timeOffset="74093.32">29642 8696 0,'0'17'15,"17"-17"-15,19 0 0,35 19 16,-36-19-16,71 17 16,-35-17-16,52 0 15,1 0-15,-54 0 0,53 0 16,-52 0-16,-1-17 16,125-2-16,-72-16 15,-70 18-15,0-19 0,70-16 16,-70 16-16,18 1 15,-18-1-15,53-52 16,-18 0-16,0 0 0,-18 0 16,-52 35-16,18-52 15,-19-73 1,-52 56-16,-123-108 16,87 177-1,-88-52-15,-35 34 16,-18 18-16,-52 18 15,122 35-15,-175 35 16,-159 70 0,52 54-16,195-18 15,123-70-15,-18 53 16,54-54-16,-1 53 16,54 1-16,53 52 15,52-52 1,-36-71-16,89 35 15,-70-53-15,70 36 0,35-1 16,-88-52 0</inkml:trace>
  <inkml:trace contextRef="#ctx0" brushRef="#br0" timeOffset="80714.89">10610 13194 0,'0'18'31,"-17"-1"-31,17 19 16,-18-36-16,0 52 16,18-35-16,-18 19 0,1 18 15,0-20 1,17-16-16,-19-18 0,19 18 0,0 0 15,-17-1-15,17 0 16,36-34 15,-2-18-15,2-1-16,-18 19 16,34-19-16,-16-16 15,17 16-15,-36 19 16,18-1-16,1 1 15,-19 17-15,1-19 16,-1 19-16,2 19 16,-2-19-16,-17 17 0,17 1 15,1 16-15,0 20 16,-18-18-16,0-2 16,0-16-16,0 0 15,0 0-15,0-1 16,0 0-16,0 1 0,0 0 15,0 0 1</inkml:trace>
  <inkml:trace contextRef="#ctx0" brushRef="#br0" timeOffset="82828.42">6623 14217 0,'-34'17'0,"68"1"32,2-18-17,87 18-15,-52 0 16,105-1-16,18 0 16,-88 1-16,18 0 15,17-18-15,194 18 0,-159-1 0,194 0 16,-175 2-16,228-2 15,-194-17-15,476 35 16,-457-16-16,280-2 16,-16 0-16,18 18 15,-266-16-15,1-19 16,247 34-16,-19 2 16,-17-1-16,-264-35 0,194 36 15,-212-19-15,-18 1 16,-52-18-16,-1 17 0,1-17 0,69 17 15,-69-17-15,-89 0 16,1 0-16</inkml:trace>
  <inkml:trace contextRef="#ctx0" brushRef="#br0" timeOffset="84970.57">7629 14817 0,'-18'35'16,"18"-18"-1,-17 19-15,17-1 0,-17 18 16,-2-18-16,19-17 15,-17 53-15,-1-54 0,1 37 16,-2-2 0,19-35-16</inkml:trace>
  <inkml:trace contextRef="#ctx0" brushRef="#br0" timeOffset="85238.54">7189 15398 0,'52'-17'15,"-16"17"-15,-19 0 16,106 0-16,-105 0 15,17 0-15,1 0 16,-1 0-16,35 0 0,-35 0 16,-16 17-16,33-17 0,-16 0 15</inkml:trace>
  <inkml:trace contextRef="#ctx0" brushRef="#br0" timeOffset="85969.89">7118 15752 0,'-53'-54'0,"35"54"16,0 0-16,0 0 15,1 18-15,0 0 16,-1 0-16,-18 16 16,19-15-16,17-2 15,-17 18-15,-2-18 16,19 19-16,19-36 16,-19 18-16,17-18 15,-17 17-15,17-17 16,19-17-16,-18 17 15,-1-18-15,36-18 16,-35 19 0,-1 0-1,0-1-15,2 36 47,-19 16-31,0-15-1,0-2-15,0 1 16,0-1-16,0 2 0,0-2 16</inkml:trace>
  <inkml:trace contextRef="#ctx0" brushRef="#br0" timeOffset="86205.5">7399 15945 0,'0'36'16,"0"-19"-16,0 1 15,0-1-15,0 2 0</inkml:trace>
  <inkml:trace contextRef="#ctx0" brushRef="#br0" timeOffset="86780.26">8282 15240 0,'-19'36'47,"19"-19"-47,0 0 0,0 19 16,0-18-16,-17 16 15,17 2-15,0-18 16,0 16-16,0 2 16,0-18-16,0-1 15</inkml:trace>
  <inkml:trace contextRef="#ctx0" brushRef="#br0" timeOffset="86992.39">8105 15434 0,'18'0'15,"17"0"1,-18 0-16,19 0 0,16 18 16,-16-18-16,-1 0 15,36 0-15,-53 0 16</inkml:trace>
  <inkml:trace contextRef="#ctx0" brushRef="#br0" timeOffset="87481.48">9251 15064 0,'-17'17'16,"17"0"-1,-17 19-15,17 18 16,0-37-1,-18 18-15,18-18 0,0 2 0,-18 33 16,18-16-16,0-19 0,0 0 16,-18 1-16,18 0 15</inkml:trace>
  <inkml:trace contextRef="#ctx0" brushRef="#br0" timeOffset="87714.3">8970 15505 0,'35'-19'32,"-18"19"-32,2 0 0,15 0 15,37 0-15,-247 19 0,423-38 16,-213 19-16,54 0 15,2 0-15,-56 0 16,2 0-16,-18 0 0,16 0 0,-16 19 16</inkml:trace>
  <inkml:trace contextRef="#ctx0" brushRef="#br0" timeOffset="88299.66">8987 15928 0,'-17'-18'16,"34"36"-16,-34-53 0,-2 35 16,2 0-16,-18 17 15,18 18 1,-2-35-16,2 36 15,0 16-15,-1-33 16,18-2-16,18 0 16,-18 1-16,17-18 15,0 0-15,2 18 0,-2-18 16,1-18-16,-1 18 16,0 0-16,-17-18 0,36-35 15,-1 18-15,-35 18 16,19 0-16,-19-2 15,17 2-15,-17-1 16,17 18-16,-34 35 31,17-16-31,0-2 16,0 0-16,0 1 16,0-1-16,0 2 0,17-19 15,-17 17-15,18 0 0,-1 1 16</inkml:trace>
  <inkml:trace contextRef="#ctx0" brushRef="#br0" timeOffset="88724.5">9375 16052 0,'35'17'15,"-16"0"1,-38 1-16,19 0 15,-17 0-15,-1-1 16,1 0-16,-2-17 16,2 19-16,0-2 15,-1-17-15,1 18 16,52-18 15,-1 0-15,2 0-1,-18 0-15,35-18 16,0 18-16,-18-17 16,18-2-16,-18 19 15</inkml:trace>
  <inkml:trace contextRef="#ctx0" brushRef="#br0" timeOffset="89314.35">10275 15240 0,'0'53'47,"-18"-18"-47,18 18 16,0-18-16,-18-17 0,18 0 15,0 35-15,0-18 16,0-18-16,0 2 15</inkml:trace>
  <inkml:trace contextRef="#ctx0" brushRef="#br0" timeOffset="89503.16">10081 15469 0,'17'0'16,"54"0"0,-54 0-16,54 0 15,-1 0-15,1 17 16,-35-17-16</inkml:trace>
  <inkml:trace contextRef="#ctx0" brushRef="#br0" timeOffset="90039.71">11086 15152 0,'0'0'16,"-17"70"0,17-52-1,-18 18-15,18 16 0,0-16 16,-18-19-16,18 0 0,0 37 16,0-20-16,-18 2 15</inkml:trace>
  <inkml:trace contextRef="#ctx0" brushRef="#br0" timeOffset="90253.4">10769 15628 0,'88'-35'16,"-71"35"-16,19 0 16,17 0-16,-18 0 0,53 0 15,-52 0-15,35 0 16,-2 0-16</inkml:trace>
  <inkml:trace contextRef="#ctx0" brushRef="#br0" timeOffset="90828.4">10822 15998 0,'-19'-34'16,"38"68"-16,-55-87 0,19 53 15,-18 0 1,-1 36-16,19-36 16,-1 17-16,0 1 0,0 18 15,1-2-15,0-16 16,17 18 0,17-19-16,0 0 15,19-17-15,-1 0 16,-18 0-1,2-17-15,16 0 16,-18-1-16,0 0 16,2 0-16,-2 18 15,1 0 17,-18 18-32,0 0 15,0 17-15,0-18 16,0 2-16,0-2 15,17 18-15</inkml:trace>
  <inkml:trace contextRef="#ctx0" brushRef="#br0" timeOffset="91797.05">11069 16140 0,'-18'0'16,"0"0"31,54 17-1,-19-17-30,-17 17 0,17 2-16,-17-2 15,0 1 17,-17-18-32,34 17 31,-17 0-16,0 2 1,0-2 15,-17 1-15,0-18 0,-1 17-16,0-17 15,0 0-15,1 0 16</inkml:trace>
  <inkml:trace contextRef="#ctx0" brushRef="#br0" timeOffset="92317.34">11669 15398 0,'-19'18'15,"2"0"-15,17 0 0,-18 16 16,1 2-16,0-1 16,17-16-16,-19 15 15,2 1-15,17-16 0,0 15 16,-18-16-16,18 0 15</inkml:trace>
  <inkml:trace contextRef="#ctx0" brushRef="#br0" timeOffset="92545.08">11351 15593 0,'35'0'31,"-18"0"-15,1 0-16,0 0 0,-18 17 16,35-17-16,18 0 0,-35 0 15,-1 18-15,2-18 16,-2 0-16</inkml:trace>
  <inkml:trace contextRef="#ctx0" brushRef="#br0" timeOffset="92745.14">11969 15664 0</inkml:trace>
  <inkml:trace contextRef="#ctx0" brushRef="#br0" timeOffset="92923.15">12233 15681 0</inkml:trace>
  <inkml:trace contextRef="#ctx0" brushRef="#br0" timeOffset="93090.38">12391 15681 0</inkml:trace>
  <inkml:trace contextRef="#ctx0" brushRef="#br0" timeOffset="93229.17">12603 15698 0,'18'0'0,"-36"0"0</inkml:trace>
  <inkml:trace contextRef="#ctx0" brushRef="#br0" timeOffset="93769.56">13450 15452 0,'0'53'16,"-17"-36"0,17 18-16,0 1 15,0-1-15,0-18 16,0 2-16,-19-2 0,38 0 0,-19 1 16,0 0-16</inkml:trace>
  <inkml:trace contextRef="#ctx0" brushRef="#br0" timeOffset="93970.73">13167 15752 0,'18'-18'15,"18"18"1,-2 0-16,-122 18 15,212-36-15,-89 18 0,-18 0 0,19 0 16,18 0-16,-2 0 16,-16 0-16</inkml:trace>
  <inkml:trace contextRef="#ctx0" brushRef="#br0" timeOffset="94396.09">14438 15293 0,'-36'35'15,"36"1"-15,-17-2 16,-1 37-16,1-54 16,17 19-16,-19 35 0,19-36 15,0 35-15,0-34 16,0-1-16,0 1 16,0-19-16</inkml:trace>
  <inkml:trace contextRef="#ctx0" brushRef="#br0" timeOffset="94642.47">13891 15945 0,'0'0'15,"35"-17"1,-18 17-16,2 0 0,16 0 0,-1 0 15,2 0-15,18 0 0,-2 0 16,72-18-16,-54 18 16,-18 0-16,72 0 0,-18 0 15,0 0 1,-71 0-16,36 18 0,-1-1 16,-52 2-16</inkml:trace>
  <inkml:trace contextRef="#ctx0" brushRef="#br0" timeOffset="95240.4">14138 16440 0,'-53'-36'0,"-1"54"16,37 0 0,-18-1-16,18 18 15,-2-17 1,2 34-16,34-33 15,54-19 17,-18-19-32,1 2 15,-37 0 1,18-1-16,-18-18 16,2 36-16,-2 36 31,-17-18-16,0-1-15,0 19 16,0-1-16,0-18 16,17 2-16,1-2 15</inkml:trace>
  <inkml:trace contextRef="#ctx0" brushRef="#br0" timeOffset="95605.23">14509 16510 0,'-19'35'16,"19"-18"-16,0 19 31,-17-18-31,17-1 16,0 2-1,53-38 17,-36 19-17,1-17-15,0 17 16,0 0-16,-1 0 15,0 17 1,1 2 0,0-19-1</inkml:trace>
  <inkml:trace contextRef="#ctx0" brushRef="#br0" timeOffset="96356.15">2478 13864 0,'-17'18'16,"-1"0"-16,18 16 0,-17 37 15,-2-18-15,2 1 16,17-2-16,-17 1 0,-1 52 15,0-17-15,0-52 16,18-1-16,0 18 0,0-35 16,0 18-16,0-19 0,18 0 15</inkml:trace>
  <inkml:trace contextRef="#ctx0" brushRef="#br0" timeOffset="96573.52">2849 13864 0,'0'-35'0,"0"18"0,-18 34 31,1 0-31,17 19 0,-19 16 16,2-16-16,0 16 0,-1-16 16,18 18-16,-17-20 0,-2 72 15,19-53 1,0-18-16,0-17 0,0 0 15,0-1-15,0 36 16</inkml:trace>
  <inkml:trace contextRef="#ctx0" brushRef="#br0" timeOffset="96780.32">2302 14322 0,'35'-17'32,"54"0"-32,140-19 31,-158 36-31,122-18 16,-87 1-16,-36 17 15</inkml:trace>
  <inkml:trace contextRef="#ctx0" brushRef="#br0" timeOffset="97511.24">3343 14393 0,'35'-35'16,"-18"17"-1,-17 0-15,18-16 16,18-37 0,-19 35-16,0 1 15,2 18-15,-19 0 16,17 34 15,1 18-31,-18-18 16,17 19-1,2-36-15,-2 0 32,0 0-32,18 0 0,-16-17 15,-2 17 1,0 0-1,1 0-15,-18 17 16,18 0 0,-18 1-16,0 0 0,18 0 15,-1-1 1,0 0-16</inkml:trace>
  <inkml:trace contextRef="#ctx0" brushRef="#br0" timeOffset="97680.23">4242 14217 0,'-17'-17'16</inkml:trace>
  <inkml:trace contextRef="#ctx0" brushRef="#br0" timeOffset="98112.29">4030 14181 0,'36'0'15,"-19"0"-15,1-17 16,0 17-16,34 0 15,-16 0-15,16 0 16,-33 0-16,16 0 0,-18 0 16,19 0-16,17-18 0,-35 18 15,-1 0-15</inkml:trace>
  <inkml:trace contextRef="#ctx0" brushRef="#br0" timeOffset="98418.64">4401 13846 0,'53'18'16,"-36"0"-16,1-18 0,0 52 16,0-16-16,-1-1 0,-17-18 15,0 54-15,-17-18 16,-37 53-16,20-36 16,-20-16-16,-51 51 0,-19 2 15,-17-19-15,70-54 16</inkml:trace>
</inkml:ink>
</file>

<file path=ppt/ink/ink123.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39:43.231"/>
    </inkml:context>
    <inkml:brush xml:id="br0">
      <inkml:brushProperty name="width" value="0.05292" units="cm"/>
      <inkml:brushProperty name="height" value="0.05292" units="cm"/>
      <inkml:brushProperty name="color" value="#0070C0"/>
    </inkml:brush>
  </inkml:definitions>
  <inkml:trace contextRef="#ctx0" brushRef="#br0">3506 5888 0,'-300'229'15,"247"-160"-15,-18 21 0,0 15 0,-51 124 16,68-105-16,20-1 0,-2 1 15,18-19-15,1 107 0,17-124 16,35 107-16,18-107 0,88 105 16,-53-122-16,142 88 15,51-53 1,-121-54-16,175 19 0,-142-35 0,214-1 16,-178-35-16,247 17 15,-212-34-15,1 17 16</inkml:trace>
  <inkml:trace contextRef="#ctx0" brushRef="#br0" timeOffset="832.88">24197 5834 0,'105'18'16,"-70"-18"-16,35 17 15,1 2-15,17 15 0,1 1 0,17 18 16,106 106-16,-2 36 16,-103-90-16,52 160 0,-89-106 15,1-19-15,-36 20 0,1 157 16,-55-158-16,2-18 15,-18 18-15,-18-19 0,-18-16 0,0 17 16,-17-18-16,-124 106 0,107-139 16,0 15-16,-143 54 15,-34-35-15,141-72 0,-335 54 16</inkml:trace>
  <inkml:trace contextRef="#ctx0" brushRef="#br0" timeOffset="2259.56">9467 8533 0,'142'17'0,"-72"-17"0,1 0 0,0 18 16,122-18-16,107 18 15,-193-18 1,-19 0-16,246 18 15</inkml:trace>
  <inkml:trace contextRef="#ctx0" brushRef="#br0" timeOffset="2500.16">13119 8850 0,'335'-34'16,"-159"15"-16,-69 19 0,-2-17 15,107 17-15,-107 0 16,19 0-16,-18 0 0</inkml:trace>
  <inkml:trace contextRef="#ctx0" brushRef="#br0" timeOffset="2862.62">16418 9009 0,'176'17'31,"-141"-17"-31,35 0 0,1-17 0,36 17 16,103 0-16,-86-17 0,123 17 16,-123 0-16,140 0 15,-17 0-15,-18 17 16,-105-17-16,-19 17 16,2 2-16,86-2 15,2 18-15,-124-18 0,17-17 0,-18 19 16,89-2-16,-71 1 15,71 18-15,-71-36 16,88 17-16,-87 0 0,-1 1 16,123 0-16,-122-18 0,34 18 15,89-1-15,34-17 16,1 17-16,18 19 16,-123-36-16,-20 18 0,56-18 15,-56 17-15</inkml:trace>
  <inkml:trace contextRef="#ctx0" brushRef="#br0" timeOffset="2998.58">24090 9680 0,'88'0'0,"-52"0"16</inkml:trace>
  <inkml:trace contextRef="#ctx0" brushRef="#br0" timeOffset="6398.8">3506 10702 0,'441'-17'16,"-335"17"-16,-1 0 0,2 0 15,103-17-15,-103 17 16,105 0-16,-36 0 0,-88 0 15,-17 0-15,17 0 0,-35 0 16</inkml:trace>
  <inkml:trace contextRef="#ctx0" brushRef="#br0" timeOffset="6631.12">4123 10985 0,'0'0'16,"52"0"-16,-16 0 15,-1 0-15,36-17 0,87-2 0,-51 19 16,-2-17-16,2 17 0,16-18 16,-17 18-16,105-17 0,89-2 15,-193 19 1,-38-17-16,2 17 0</inkml:trace>
  <inkml:trace contextRef="#ctx0" brushRef="#br0" timeOffset="12215.76">12837 11566 0,'-88'71'0,"70"-35"0,0 16 16,0-16-16,1 17 0,0-1 15,17 2-15,-19 104 16,19-104-16,0-20 0,0 20 0,0-1 15,19-18-15,-2 18 16,18 18-16,-17-37 0,34 37 16,19-36-16,-35-17 15,-1-18-15,53 18 16,-52-18-16,105 0 0,-70-18 16</inkml:trace>
  <inkml:trace contextRef="#ctx0" brushRef="#br0" timeOffset="12876.17">15853 11549 0,'36'0'15,"-36"17"-15,17 2 0,0-2 16,-17 18-16,36 53 16,-18 19-16,-18-55 0,0 1 15,0 0-15,-18 53 0,0-53 16,0 0-16,-16 53 16,-20-18-16,20-52 15,-2 16-15,-35 18 0,18-16 16,35-37-16</inkml:trace>
  <inkml:trace contextRef="#ctx0" brushRef="#br0" timeOffset="17332.64">29541 11814 0,'-194'230'16,"158"-161"-16,-34 38 0,35-37 15,16-18-15,2-16 0,0 106 16,34-72 0,0-35-16,19 1 0,35 16 15,-18-35-15,-1 2 16,36-2-16</inkml:trace>
  <inkml:trace contextRef="#ctx0" brushRef="#br0" timeOffset="19043.7">3206 12784 0,'88'53'0,"-52"-18"0,-19 1 16,35 52-16,-33-54 16,16 54-16,-18 2 15,-17-56-15,0 20 16,0-20-16,-35 54 0,18-52 15,-2 18-15,-33 15 0,35-16 16,-19-35-16,1 18 0,-1-2 16,2 2-16</inkml:trace>
  <inkml:trace contextRef="#ctx0" brushRef="#br0" timeOffset="19600.27">1442 13684 0,'105'0'0,"-86"0"15,16 17-15,1-17 0,52 0 16,-54 0-16,72 0 15,-36 0-15,1 0 0,-18 0 0,53 0 16,-17 0 0,-20 0-16,-33 0 15,-18 0-15,-1 0 0,2 0 0,-2 0 16,0 0-16</inkml:trace>
  <inkml:trace contextRef="#ctx0" brushRef="#br0" timeOffset="19892.75">1601 13737 0,'53'0'16,"-36"0"-1,1 0-15,18 17 0,16-17 16,-16 0-16,34 0 0,-35 0 16,1 0-16,52 0 15,0 0-15,0 0 16,-52 0-16,-19 0 0,18 0 16,-18 0-16,37 0 0,-18 0 15,-19 0-15,0 0 16,1 18-16,-1-18 15,2 0-15</inkml:trace>
  <inkml:trace contextRef="#ctx0" brushRef="#br0" timeOffset="20751.09">13330 11884 0,'71'-18'15,"-53"18"-15,17-17 0,-18 17 0,37 0 16,-20 0-16,2 0 0,-1 0 16,1 0-16,35 0 15,-1 0-15,-35 0 0,1 0 16,33 0-16,-15 17 16,-18-17-16,-19 0 0,18 0 15,1 0-15,-19 0 16</inkml:trace>
  <inkml:trace contextRef="#ctx0" brushRef="#br0" timeOffset="21074.38">13630 11849 0,'71'17'31,"-18"-17"-31,-36 0 16,19 18-16,35-18 16,-36 0-16,89 18 15,-36 0-15,-54-18 16,20 0-16,16 17 0,1-17 15,-54 0-15,18 0 0,1 0 16,-19 17-16,1-17 0,0 0 16,34 0-16,-52 19 0,18-19 15,0 0-15,0 0 0,16 17 16</inkml:trace>
  <inkml:trace contextRef="#ctx0" brushRef="#br0" timeOffset="22229.79">29946 12625 0,'71'0'0,"-54"0"16,2 17-16,-2-17 0,0 0 0,19 0 16,16 0-16,2 0 15,-20 19-15,-15-19 0,-2 0 16,18 0-16,-16 0 0,-2 0 0,0 0 16,1 0-16</inkml:trace>
  <inkml:trace contextRef="#ctx0" brushRef="#br0" timeOffset="22417.86">30105 12642 0,'53'36'15,"-36"-36"-15,19 18 0,-18-18 16,16 0-16,-15 17 0,-2-17 15,18 0-15,18 17 16,-35-17-16,0 0 0</inkml:trace>
  <inkml:trace contextRef="#ctx0" brushRef="#br0" timeOffset="23675.12">6151 13772 0,'142'0'0,"-54"0"16,-18 0-16,-16 0 0,16 0 15,89 0-15,-88 0 16,34 0-16,0 0 0,2 0 0,-2-18 16,19 18-16,-18 0 0,18 0 15,210-17-15,-210 17 16,-18 0-16,-18 0 0,18 0 15,-35-19-15,-2 19 0,2 0 0,-35 0 16,-1 0-16,1 0 0,-19 0 0,0 0 16,1 0-16</inkml:trace>
  <inkml:trace contextRef="#ctx0" brushRef="#br0" timeOffset="23981.78">7986 13913 0,'176'0'15,"-69"0"-15,-55 0 16,37 0-16,-37 0 16,36 0-16,-52 0 15,35 0-15,-54 0 0,0 0 16,19 0-16,-18 0 0,-1 0 16,0 0-16,2 0 15</inkml:trace>
  <inkml:trace contextRef="#ctx0" brushRef="#br0" timeOffset="43495.12">10967 6293 0,'-124'-36'0,"90"19"0,15 17 16,-16 0-16,18 0 0,-19 0 16,1 0-16,18 0 0,-54 17 15,18 2-15,18-2 0,-54 35 16,54-16-16,-1-1 16,-33 35-16,16 18 0,35-34 15,0-1-15,0 0 0,1-1 16,0 55-16,17-55 15,0 1-15,0 1 0,0-2 0,17 1 16,36 35-16,-35-52 0,52 35 16,-35-37-16,1 1 15,52 1-15,-53-19 0,53 19 16,-52-36-16,-19 0 16,19 0-16,-1 0 0,53-18 15,0 0-15,-52 1 16,16-19-16,-16 19 0,-2-1 0,2-16 15,-1 15-15,1-16 0,-1-1 0,-18 2 16,36-20-16,1 2 16,-37 16-16,0 19 15,2-19-15,-2 19 0,18-35 16,-18-2-16,2 18 16,-19 2-16,17 16 0,1-18 0,-1-34 15,-17 52-15,0-16 0,19-2 16,-19 18-16,0-18 0,0 2 15,-19 16-15,19-18 0,-17 2 16,17 16-16,-18-18 0,1 19 0,-2 0 0,-50-54 16,33 54-16,-17-2 15,18 2-15,-18-1 0,-70-18 16,70 19-16,-53 0 16,17 17-16,54 0 0,-18 0 15,18 0-15,-35 0 16,34 0-16</inkml:trace>
  <inkml:trace contextRef="#ctx0" brushRef="#br0" timeOffset="55063.77">12343 14584 0,'-18'0'16,"18"-19"15,18 19 1,34 0-17,-52-17-15,36 34 0,-1-17 16,-18 0-16,19 19 0,-18-19 15,18 17-15,-19-17 0,18 35 16,-18-18-16,2 19 16,-19-19-16,0 1 15,-19 0-15,2 17 0,-35 18 16,33-35-16,2-1 0,-18 0 16,16 2-16,-33 16 15,35-35-15,-2 17 0,2 2 16,-18-19-16,17 17 0,0-17 0,1 17 15,0-17-15,17 18 16,17-18 0,0 0-1,1 0-15,0 0 0,0 0 16,16 0-16,-15 0 0,50 0 16,2 0-16,-35 0 15,-1 0-15,1 0 0,-19 0 16,18 0-16,-17 0 0,0 0 0,-1 0 15,19 0-15,-19 0 0,1 0 16,-1 0-16,0 17 31</inkml:trace>
  <inkml:trace contextRef="#ctx0" brushRef="#br0" timeOffset="55930.97">9309 15553 0,'317'0'0,"-246"0"0,35 0 15,0 17-15,-18-17 0,18 19 16,17-19-16,-18 0 0,19 17 15,18-17-15,122 18 0,-106-1 16,196 2-16,-178-19 0,-18 17 16,-16-17-16,52 0 0,158 0 15,-157 0-15,-19 0 0,177-17 16,-177 17-16,124-19 16,-158 19-16,-1 0 0,-18 0 15,1 0-15,-19 0 0,19-17 0,-36 17 16,71 0-16,-89 0 0,-16 0 15,-20 0-15,1 0 16,18 0-16,-35 0 0,0 0 16,0 0-16,-1 0 0,0 0 0,2 0 15,-2 0-15,1 0 16,-1 0-16,0 0 16,2 0-1,-72 0 48,35-18-48</inkml:trace>
  <inkml:trace contextRef="#ctx0" brushRef="#br0" timeOffset="58818.7">10297 16012 0,'0'-18'0,"-18"53"47,18-16-47,0-2 0,-17 0 15,17 18-15,0-16 0,-19 51 31,2-52-31,17-1 0,0 0 0,0 2 16,0-2-16,0 1 0,-17-1 16,17 0-16,0 2 0,0-2 15,0 1-15</inkml:trace>
  <inkml:trace contextRef="#ctx0" brushRef="#br0" timeOffset="59250.08">9645 16682 0,'88'0'16,"-54"0"-16,90-17 16,-72 17-16,38 0 0,50 0 15,-70 0-15,1 0 16,17 0-16,-17 0 0,-18 0 0,18 0 15,-18 0-15,-1 0 0,-16 0 16,-1 0-16,1 0 0,-19 0 0,18 17 16,-17-17-16,17 0 0,-18 0 15,19 0 1</inkml:trace>
  <inkml:trace contextRef="#ctx0" brushRef="#br0" timeOffset="60086.11">11885 16206 0,'-19'52'31,"19"-33"-31,-17 50 0,17-33 16,0-18-16,-18 18 0,18 33 16,-17-33-16,17-19 15,0 37-15,0-37 0,0 0 16,0 2-16,0-2 0,0 1 16</inkml:trace>
  <inkml:trace contextRef="#ctx0" brushRef="#br0" timeOffset="60318.02">11549 16558 0,'18'0'0,"17"0"15,18 0-15,53 0 31,-36-17-31,-16 17 0,-20 0 16,20 0-16,16 0 0,-35 0 16,-18 0-16,19 0 0,-18 0 15,18 0-15</inkml:trace>
  <inkml:trace contextRef="#ctx0" brushRef="#br0" timeOffset="61337.62">10121 16946 0,'-36'0'0,"18"0"0,1 0 16,17 18 0,-17-18-16,-2 0 0,19 18 15,0 0-15,0-1 16,0 0-16,0 2 15,19-2-15,-19 1 0,17-1 0,0 36 16,1-35-16,-18-1 16,18 2-16,-18-2 0,18 0 0,-18 19 15,-18-18-15,18-1 16,0 0-16,-18 2 0,-17-2 16,18 1-16,-2-1 0,2-17 15,-1 17-15,1-17 16,-2 0-16,2 0 15,17-17 1,0 0-16,17 17 16,2-18-16,16-18 15,-18 19-15,2 0 0,-2-1 0,18 0 16,-17 0-16,0 1 0,-1-19 16,0 19-16,-17-1 0,18 1 0,0-19 15,-18 19-15,0-1 16,0 1-16,0-2 0,0 2 0,-18 0 15,18-1-15,0 0 0,-18 18 0,18-18 16,-17 1-16,0 17 16,17-17-16,-18 17 15,0 0-15,0 0 0,1 17 16,17 0 0</inkml:trace>
  <inkml:trace contextRef="#ctx0" brushRef="#br0" timeOffset="61659.76">10331 17088 0,'-17'70'0,"17"-52"0,0-1 16,0 2-16,0-2 0,17 0 15,2 19 1,-19-18-16,17-18 0,1 17 0,-1-17 15,2 17-15,-2-17 0,18 0 16,-17 0-16,17 0 0,0 0 16,-17-17-16,0 17 0,-1-17 0,0-1 15,-17 0-15,19 0 16,-19 1-16,-19-19 0,19 19 16,-17-1-16,17 1 0,-17 0 0,-1-2 15,0 2-15,18-1 0,-18 1 16,-16-2-16,16 19 15,0 0-15,0 0 0,18 19 16</inkml:trace>
  <inkml:trace contextRef="#ctx0" brushRef="#br0" timeOffset="62286.81">13349 16082 0,'0'-17'0,"-19"52"15,19-18 1,0 19-16,-17-19 16,17 19-16,-18-1 0,18 1 0,0-19 15,-17 71-15,17-53 16,0-16-16,0 33 0,0-35 15,0 2-15,0-2 0,0 0 16,0 1-16</inkml:trace>
  <inkml:trace contextRef="#ctx0" brushRef="#br0" timeOffset="62538.9">12925 16700 0,'70'-18'15,"-34"18"-15,-18 0 16,16 0-16,2 0 0,-1-17 16,18 17-16,18 0 0,34 0 15,-69 0-15,70 0 16,-36 0-16,1 0 15,-36 17-15,-18-17 0,2 0 16,-2 0-16,0 18 0</inkml:trace>
  <inkml:trace contextRef="#ctx0" brushRef="#br0" timeOffset="63183.28">13119 17176 0,'18'-18'15,"-1"18"-15,-52-17 47,17 34-47,-17 1 16,0-1 15,35 2-15,0-2-16,0 0 15,18-17-15,-18 18 0,17 0 16,0-18-16,-17 18 0,18-18 16,-18 17-16,18 0 15,-18 2 1,0-2-16,-18-17 16,18 18-16,-18-18 0,1 17 15,0-17-15,-1 0 16,0 17-16,0-17 0,1 0 15,0 19-15,-2-19 16,2 0-16</inkml:trace>
  <inkml:trace contextRef="#ctx0" brushRef="#br0" timeOffset="63514.79">13295 17300 0,'-17'17'0,"17"0"16,0 19-16,17-18 0,-17-1 16,18-17-16,18 17 15,-2 2-15,-16-19 16,35 0-16,-36 0 0,2 0 0,-2 0 15,1 0-15,-1-19 0,0 19 16,2-17-16,-2 17 0,-17-17 0,0-1 31,0 1-31,-17-2 0,-2 19 0,2-17 0,-35 17 16,33-17-16,-15 17 16,-2 0-16,18 0 0,-35 0 15,18 0-15,18 0 0,-19 0 16</inkml:trace>
  <inkml:trace contextRef="#ctx0" brushRef="#br0" timeOffset="64063.56">16487 15094 0,'71'18'16,"-52"-18"-16,15 0 0,90 0 15,-89 0 1,-18 0-16,19 18 0,-18-18 16,18 0-16,-19 0 15</inkml:trace>
  <inkml:trace contextRef="#ctx0" brushRef="#br0" timeOffset="64246.83">16435 15324 0,'35'17'31,"-18"-17"-31,73 0 16,-56 0-16,2 0 0,-1 0 16,18 0-16,53 19 15,-53-19-15,70 0 0,-53 17 16,-16-17-16</inkml:trace>
  <inkml:trace contextRef="#ctx0" brushRef="#br0" timeOffset="65155.75">19698 14636 0,'53'-52'15,"-35"33"-15,18 19 0,-19 0 0,0 0 16,18 0-16,-16 0 0,15 0 16,-16 0-16,18 19 0,-2-2 15,-34 0-15,19 1 0,-19 18 0,0-19 16,-19 36-16,2-1 16,-18-16-16,17-1 0,-17 1 15,-1-1-15,-33 18 0,33-18 16,18-18-16,1-17 0,-2 19 0,2-2 15,0 0 1,17 1-16,0 0 16,17-18-16,0 0 0,19 0 15,-1 0-15,36 0 16,-18 0-16,71-18 0,-55 18 16,-15 0-16,16-18 0,1 18 15,34 0-15,-69 0 0,-1 0 16,1 0-16,-1 0 0,1 0 15,-19 18-15</inkml:trace>
  <inkml:trace contextRef="#ctx0" brushRef="#br0" timeOffset="65546.8">18693 15641 0,'265'-17'16,"-177"17"-16,0 0 0,35-18 15,-17 18-15,17 0 0,1 0 0,159 0 16,51 0-16,20 0 16,-178 18-16,17-18 15,160 17-15,-177-17 0,-34 0 16,123 19-16,-125-2 16,-16-17-16,88 17 0,-124-17 15,17 0-15,-69 0 16,52 0-16,-70 0 15,-53 0 17,-1 0-32</inkml:trace>
  <inkml:trace contextRef="#ctx0" brushRef="#br0" timeOffset="71253.36">18499 16400 0,'0'-18'0,"-18"18"16,18-17-16,-35 34 15,35 1 1,-17-1-16,-2 2 0,19-2 16,0 0-16,-17 18 0,17-16 15,0 15-15,-18-16 0,36 35 16,-18-36-16,0 2 16,17-2-16,-17 1 0,19-18 15,15 17-15,-16-17 16,0 0-16,0 0 0,-1 0 15,0 0-15,2-17 0,-2-1 16,1 1-16,-1-2 16,-17 2-16,0 0 0,0-1 15,0-18-15,0 19 0,0-19 16,0 19-16,0-1 16,-17 1-16,17 0 0,-18 17 15,1-19-15,-2 19 16</inkml:trace>
  <inkml:trace contextRef="#ctx0" brushRef="#br0" timeOffset="71418.39">18817 16558 0</inkml:trace>
  <inkml:trace contextRef="#ctx0" brushRef="#br0" timeOffset="71887.67">19151 16470 0,'-17'-17'0,"-19"34"32,19 1-17,-1-18-15,1 36 0,17-19 0,-19 0 16,19 1-16,0 0 16,0 0-16,19-1 15,-19 0-15,17-17 0,1 19 0,-1-19 16,2 0-1,15 0-15,-16 0 16,0-19-16,0 19 0,-18-17 16,0 0-16,0-1 15,0-35 1,0 36-16,-18-2 0,0 2 16,0-1-1</inkml:trace>
  <inkml:trace contextRef="#ctx0" brushRef="#br0" timeOffset="72090.86">19522 16417 0,'0'36'15,"0"-19"-15,-17 1 16,17-1-16,-19 2 16,19-2-16,-17 18 0,-1 1 15,18-19-15,0 0 16,0 19-16,0-18 16</inkml:trace>
  <inkml:trace contextRef="#ctx0" brushRef="#br0" timeOffset="72646.31">19805 16400 0,'34'0'15,"-34"17"-15,0 2 0,0-2 16,0 0-16,-17 1 0,0-1 15,-19 19-15,18-19 16,1 1-16,-2-18 0,2 18 0,0 0 16,-1-18-16,18 17 0,-18-17 0,0 17 15,1 2 1,52-19 0,1 0-1,-2 0 1,-15 0-16,16 0 15,18-19-15,-18 19 16</inkml:trace>
  <inkml:trace contextRef="#ctx0" brushRef="#br0" timeOffset="73350.47">20263 16417 0,'-53'0'16,"36"0"0,-19 19-1,36-2 1,0 0 0,17 1-16,-17-1 15,19 2-15,-19-2 16,17-17-16,-17 17 0,17 1 15,-17 0 1,-17 0-16,0-18 16,-2 17-16,-33 0 15,33 2-15,-15-19 16,16 0-16,18 17 16,-17-17-16</inkml:trace>
  <inkml:trace contextRef="#ctx0" brushRef="#br0" timeOffset="73604.53">20950 16346 0,'19'-17'16,"-38"53"-16,19-19 15,0 1-15,-17 18 16,-1-19-16,18 18 0,-34 18 16,15 0-16,2-18 15,17 1-15,-18-1 16,18-18-16,0 0 0,-17-17 0,17 36 16</inkml:trace>
  <inkml:trace contextRef="#ctx0" brushRef="#br0" timeOffset="73827.42">20510 16612 0,'141'-18'15,"-123"18"-15,16 0 16,37 0-16,-35 0 16,16 18-16,1-18 15,-18 0-15,-16 0 0,15 0 0,2 0 16</inkml:trace>
  <inkml:trace contextRef="#ctx0" brushRef="#br0" timeOffset="77311.78">21850 16417 0,'0'-17'16,"-35"34"0,-35 36-1,52-35-15,0 18 16,0-19-16,1 0 0,-36 90 16,35-55-1,18-35 1,0 2-16,0-2 0,18 1 0,18 18 15,-19-36 1,54 17 0,-54-17-16,0-17 0,1 17 0,0 0 15,0-19-15,-1 2 0,0-1 16,2 18-16,-19-17 0,17-2 16,-17 2-16,18 0 0,-18-1 0,0-18 15,0 19-15,0 0 0,0-1 16,-18 0-16,18 0 0,0 1 15,-17-19-15,-2 19 16,2 17 0</inkml:trace>
  <inkml:trace contextRef="#ctx0" brushRef="#br0" timeOffset="77478.74">22185 16629 0,'-35'0'31</inkml:trace>
  <inkml:trace contextRef="#ctx0" brushRef="#br0" timeOffset="78202.31">22503 16453 0,'-36'17'16,"36"1"-1,-17-1-15,0 2 0,-2-2 16,19 0-16,0 19 0,-17-1 15,17-18-15,0 2 0,17 16 16,-17-1-16,19-15 16,15 16-1,-16-18-15,0-17 0,0 0 16,-1 0-16,0 0 0,2 0 0,-2-17 16,1 17-16,-1-18 0,-17 1 15,17 17-15,-17-19 0,19-15 16,-19-20-16,0 37 15,0 0-15,-19-1 0,19 0 16,0 0-16,-17 1 0,17 0 16,-17 17-16,-1-19 0,1 19 15,-2 0-15,2 0 16,0 0-16</inkml:trace>
  <inkml:trace contextRef="#ctx0" brushRef="#br0" timeOffset="78574.37">22926 16505 0,'17'0'16,"2"0"-16,-19 19 15,17-19-15,-17 17 0,0 18 16,-17-17-16,17 0 0,-19-1 16,19 0-16,-17 2 0,0-2 15,-1 1-15,0 16 16,0-15-16,18-2 0,-17-17 0,17 18 16,-17-1-1,34 2-15,0-19 16,1 0-1,0 0-15,0 0 0,-1 0 0,19-19 16,-19 19-16,54-17 16,-54 17-16,18-18 0,1 1 0,-1 17 15,-17-19-15,17 2 0,-18 0 16</inkml:trace>
  <inkml:trace contextRef="#ctx0" brushRef="#br0" timeOffset="79034.35">24267 15289 0,'70'0'31,"-52"0"-31,34 17 16,-33-17-16,-2 0 0,1 18 15,-1-18-15,0 0 0,2 0 0,-2 17 16,1-17-16</inkml:trace>
  <inkml:trace contextRef="#ctx0" brushRef="#br0" timeOffset="79205.67">24214 15624 0,'53'17'47,"-35"-17"-47,-1 0 0,36 0 15,-18 0-15,1-17 0,-19 17 16,35 0-16,-16 0 0</inkml:trace>
  <inkml:trace contextRef="#ctx0" brushRef="#br0" timeOffset="94978.26">26859 15006 0,'71'-34'16,"-54"34"-16,2 0 0,-2 0 15,1 0-15,-18 17 16,17 0-16,-17 18 16,-35 1-16,18-1 0,-19 1 15,-35 34-15,37-35 16,-37 18-16,18-18 16,35-16-16,-18-2 0,19 0 15,0-17-15,17 18 0,0 0 16,17-18-1,0 0-15,19-18 0,-1 18 0,18 0 16,1-18-16,-2 18 0,1 0 16,-17 0-16,35-17 0,-19 17 15,1 0-15,18 0 0,-54 0 0,18 0 16,1 0 0,-19 0-16,0 17 15</inkml:trace>
  <inkml:trace contextRef="#ctx0" brushRef="#br0" timeOffset="95247.5">26189 15765 0,'-18'0'15,"54"17"-15,-1-17 16,18 18-16,-159-53 0,283 70 0,-106-35 15,34 0-15,0-18 0,107 18 16,-105 0-16,-2-17 0,-17 17 16,18 0-16,88-17 15,-52-2-15,-72 19 0,-18 0 16,-16 0-16,-1-17 0,-16 17 0,15 0 16,-16 0-16,-1 17 15</inkml:trace>
  <inkml:trace contextRef="#ctx0" brushRef="#br0" timeOffset="96129.77">26507 16329 0,'-18'-17'0,"0"17"15,1 17-15,0-17 0,17 17 16,-36 19-16,36-18 16,-35 18-16,35-2 0,-17-16 15,-2 18-15,2 16 16,17 1-16,0-17 0,0-19 16,0 1-16,0-1 0,0 0 15,17 2-15,2-19 16,-2 0-16,0 0 15,18 0-15,-35-19 16,36-15-16,-36 16 0,17-18 16,1 19-16,-18-18 15,0 17-15,0 0 0,0-16 16,0 15-16,0 2 0,0-1 0,0 1 0,-18 0 16,18-19-16,-17 36 15,17-18-15,-17 1 16,-2 17-16</inkml:trace>
  <inkml:trace contextRef="#ctx0" brushRef="#br0" timeOffset="96311.82">26754 16505 0</inkml:trace>
  <inkml:trace contextRef="#ctx0" brushRef="#br0" timeOffset="96707.88">27037 16488 0,'-19'17'0,"2"2"16,53-55-16,-90 89 0,37-36 15,17 1-15,-19 18 16,19-19-16,0 0 0,19 19 16,-19-18-16,17 16 15,1-15-15,-1-19 16,2 17-16,15-17 16,-34-17-16,18 17 0,-1-19 15,-17 2-15,19 0 16,-19-18-16,0 16 15,0 2-15,0 0 0,-19-1 0,19 0 16,0-17-16,-17 18 0,17-2 16,0 2-16,-18-1 15,1 1-15</inkml:trace>
  <inkml:trace contextRef="#ctx0" brushRef="#br0" timeOffset="97816.91">27247 16488 0,'36'-35'0,"-18"35"16,16 0-1,-34 17-15,19-17 0,-2 18 16,-17-1-1,0 2-15,0-2 32,-17 0-32,17 1 15,17 0 1,-17 17 0,18-35-16,-18 17 15,0 2-15,0-2 16,0 1-16,-18-1 15,18 0-15,-17 2 16,-2-19-16,2 17 16,0-17-1</inkml:trace>
  <inkml:trace contextRef="#ctx0" brushRef="#br0" timeOffset="98087.81">27583 16453 0,'18'0'0,"-1"17"31,-34-17-15,17 18-16,-18-1 0,0 2 16,0-2-16,18 0 15,-17 1-15,17 0 0,-17-18 16,17 18-16,0-1 0,-19 0 15,38 2 1,-2-2 0,0-17-16,1 0 15,0-17-15,0 17 16,-1 0-16,0-19 16</inkml:trace>
  <inkml:trace contextRef="#ctx0" brushRef="#br0" timeOffset="98344.14">27971 16417 0,'0'36'31,"0"-1"-15,0-18-16,0 2 0,-18-2 15,18 18-15,0-17 16,-18 0-16,18-1 0,-17 0 16,0 19-16,-2-36 15,19 18-15,-17-18 0,17 17 0,-18-17 16,1-17 0,17-1-16</inkml:trace>
  <inkml:trace contextRef="#ctx0" brushRef="#br0" timeOffset="98558.6">28641 15518 0,'53'-18'0,"-36"18"16,2 0-16,16 0 31</inkml:trace>
  <inkml:trace contextRef="#ctx0" brushRef="#br0" timeOffset="98732.81">28430 15853 0,'0'17'0,"17"-17"16,1 0-16,-1 0 0,2 0 15,-2 0-15,18 0 16,1-17-16,-2 17 0,-16 0 16,0 0-16,0-17 0,-1 17 15,0 0-15</inkml:trace>
  <inkml:trace contextRef="#ctx0" brushRef="#br0" timeOffset="105354.05">30299 15270 0,'0'-17'16,"-36"34"31,-16 37-32,35-37 1,-2 2-16,2 15 0,-18 2 0,17-1 15,0 0-15,1 1 0,0-19 16,-2 54 0,19-54-16,0 2 0,0-2 0,0 0 15,0 1-15,19-1 0,-2 36 32,0-53-32,1 18 0,0-18 15,17 0-15,-18-18 16,2 1-1,-19 0 1,-19-19 0,2 18-1,0 18-15,-1-17 0,0 17 32,0 0-17</inkml:trace>
  <inkml:trace contextRef="#ctx0" brushRef="#br0" timeOffset="105577.36">30493 15430 0,'18'-18'0,"-36"71"15,18-36 1,0 19-16,-18-18 0,18-1 0,-17 0 16,0 19-16,17-18 0,-18-1 15,18 19-15,-18-19 0,18 1 0,0-1 16,-18 2-16</inkml:trace>
  <inkml:trace contextRef="#ctx0" brushRef="#br0" timeOffset="105730.01">30511 15818 0,'18'0'15,"-18"-18"1</inkml:trace>
  <inkml:trace contextRef="#ctx0" brushRef="#br0" timeOffset="106128.59">30951 15536 0,'-17'0'31,"-18"0"-15,35 17-16,-18-17 0,-17 17 16,35 2-1,-17-2 1,17 1-16,0-1 0,17-17 15,-17 19-15,17 15 16,-17-16-16,0-1 16,0 2-1,0-2-15,0 0 0,-17 1 16,0-18-16,-19 36 16,18-36-1,1 17-15,0-17 16</inkml:trace>
  <inkml:trace contextRef="#ctx0" brushRef="#br0" timeOffset="106775.7">31129 15553 0,'0'-17'0,"-19"34"62,19 19-46,-17-19-1,34 1-15,-17-1 16,0 2-16,0-2 16,0 0-16,19 1 15,-19-1-15,-19 2 0,19-2 16,0 0 0,-17-17-16,17 18 0,-18-18 15,1 18-15,0-18 0,-2 18 16,2-18-16,-1 17 15</inkml:trace>
  <inkml:trace contextRef="#ctx0" brushRef="#br0" timeOffset="106986.6">31463 15677 0,'-34'35'31,"15"-35"-31,2 17 0,-18 19 16,-1-1-16,1-17 15,-1 17-15,2-18 0,-20 37 16,1-37-16,36 0 16,-1 2-16,-16 16 15</inkml:trace>
  <inkml:trace contextRef="#ctx0" brushRef="#br0" timeOffset="107181.87">31781 15818 0,'-18'35'15,"1"-35"-15,-2 17 0,2 1 16,-18 18-16,-1-19 0,-34 54 15,18-54-15,-2 19 0,1-1 0,1 1 16,-1-2-16,17 2 0,-52 16 16,0 2-16,53-20 15,18-15-15</inkml:trace>
  <inkml:trace contextRef="#ctx0" brushRef="#br0" timeOffset="108026.57">31163 15553 0,'0'-17'0,"0"-1"15,-17 18-15,0-18 16,-19 18-1,1 0-15,18 18 16,-2-18-16</inkml:trace>
  <inkml:trace contextRef="#ctx0" brushRef="#br0" timeOffset="121056.59">25731 1848 0,'-18'0'16,"18"17"-1,0 2 1,-18 15-1,18-16-15,0-1 0,0 2 0,0 15 16,0-16 0,0 0-16,0 0 15,0-1 1,0 0 0,18-51-1,-18 16 1,0 0-16,0 0 15,0-16-15,0-2 0,18 18 0,-18-35 16,0 18-16,0 18 16,0-2-16,18 2 15,-18 0-15,17 34 32,0 0-32,-17 2 15,18-2-15,0 1 16,-18-1-16,35 2 15,-35-2-15,17-17 16,19 0 0,-36-17-16,18 17 0,-1 0 0,2-19 15,-2 2-15,0 17 16,-17-18-16,18 18 16,18 18-1,-36-1-15,17-17 0,-17 19 16,0-2-1,17 0-15,-17 1 0,0-1 0,18 2 16,-18-2-16,0 0 16,18-17-1</inkml:trace>
  <inkml:trace contextRef="#ctx0" brushRef="#br0" timeOffset="121346.21">26295 1813 0,'0'-19'15,"18"2"1,-36 53 31,18-19-47,-17 1 0,-2 18 0,38-55 16,-19 38-16,-19-2 0,19 0 0,36-122 0,-72 228 15,36-87 1,0-19-16,0 0 0,-17 1 0,34-18 15,-17 18-15,0 0 0,0-1 16,19-17-16,-2 17 16,1-17-16,18-17 15,-19 17-15,0 0 0,18 0 0,-16-17 16,-2 17-16,36 0 16,-18-18-16,-18 18 0,2 0 15</inkml:trace>
  <inkml:trace contextRef="#ctx0" brushRef="#br0" timeOffset="121594.3">26825 1884 0,'-18'-19'16,"53"19"-1,-18 0-15,1 0 16,0 0-16,0 0 0,-1 0 0,0 0 16,2-17-16,-2 17 0,1 0 15,-1 0-15,2 0 0,-2 0 16,0 0-16,1 0 16,-1 0-16</inkml:trace>
  <inkml:trace contextRef="#ctx0" brushRef="#br0" timeOffset="121814.86">27089 1760 0,'0'-18'0,"0"0"16,17 18-16,2 0 16,15 18-16,-16-18 0,18 35 15,16-18-15,-34 2 16,0-2-16,-18 1 15,17-1-15,0 2 0,-17 15 0,0 1 16,-17-16-16,17-2 16,-229-246-16,441 475 0,-212-228 0,-18 0 15,0 17-15</inkml:trace>
  <inkml:trace contextRef="#ctx0" brushRef="#br0" timeOffset="122751.76">28589 1372 0,'-19'0'0,"-16"17"0,18 0 15,0 2-15,-2 16 0,2-1 0,-18 2 16,16-1-16,-33 72 0,34-73 16,-17 20-16,18-20 0,17 2 0,-18-1 15,18-16-15,-18 33 16,18-35-16,18 19 0,0-19 16,-1-17-16,0 18 15,1-18-15,0 0 16,17-18-16,1 1 0,16 0 15,-16-2-15,-19 2 16,1 17-16,18-18 16,-19 1-16,0 17 15,1 17-15,-18 1 16,18-18 0,0 17-16,-18 2 0,17-19 15,0 17-15,2-17 0,-2 0 16,1 0-16,-1 0 0,0 0 15,2 0-15,-2-17 0,1 17 16,-1-19-16,2 2 16,-19-1-16,0 1 15,0 0-15,-19-2 16,2 2-16,-1 17 0,1-18 16,-19 18-1,19 0-15,-1 0 0,1 18 16,-2-18-16</inkml:trace>
  <inkml:trace contextRef="#ctx0" brushRef="#br0" timeOffset="123111.86">28923 1742 0,'18'0'15,"-1"18"-15,-17-1 16,19 0-16,-19 2 16,0-2-1,0 1-15,17-1 16,-17 2-16,-71-161 16,142 301-16,-36-176 31,-17 17-16,0-19 1,-1 19-16,0 0 16,2 19-16,-2-19 15,1 0 1,-18 17-16,17-17 0,0 0 16,2 0-16,16 0 15</inkml:trace>
  <inkml:trace contextRef="#ctx0" brushRef="#br0" timeOffset="123899.56">29541 1406 0,'0'-17'0,"-18"70"32,18-35-17,18 52-15,-18-16 16,17-2-16,-17 1 0,17 71 15,2-19-15,-2 19 16,-17-72-16,0-16 0,18-1 16,-18-18-16,0 19 0,-18-18 15,18 35-15,-17-36 0,17 1 0,-36-1 16,19-17 0,-1 0-16,1 0 0,-2 0 15,2-17-15,0-1 16,-1 1-16,18 0 15,0-2-15,0-16 16,18-18-16,-1 36 0,0-1 16,19-35-16,16 0 15,-33 18-15,16-1 0,-18 19 0,19-18 16,-19 18-16,1-2 16,0 2-16,0 17 15,-1 0-15,0 0 16,-17 17-16,0 2 15,18-19-15,-18 17 16,0 0-16,0 1 0,18-1 16,-18 2-16,18-2 15,-1 0 1,0-17 0,19-17-16,-18 0 15,-1 17-15,-17-19 0,19 2 16,-2-18-16,0 18 15,1-2-15,-1 2 16,-17-1-16,19 18 16,-2 18 15,-17-1-15,0 2-16,0-2 0,17 18 15,-17-18 1,18-17-16,0 0 15,0 0 1,-1 0-16</inkml:trace>
  <inkml:trace contextRef="#ctx0" brushRef="#br0" timeOffset="124154.82">30317 1777 0,'-18'-17'16,"18"51"15,71-15-15,-124-55-16,35 107 15,36-54-15,-18 2 16,0-2-16,0 0 0,-18 1 16,18-1-16,0 2 0,-17-2 15,-2 0-15,19 1 16,-17-18-1</inkml:trace>
  <inkml:trace contextRef="#ctx0" brushRef="#br0" timeOffset="124309.32">30441 1830 0,'17'35'46,"-17"-16"-46,0-2 16,0 0-16,0 1 16,0-1-16,-17 2 0</inkml:trace>
  <inkml:trace contextRef="#ctx0" brushRef="#br0" timeOffset="124465.86">30599 1742 0,'0'-18'0</inkml:trace>
  <inkml:trace contextRef="#ctx0" brushRef="#br0" timeOffset="125210.43">30722 1865 0,'0'-17'16,"-17"34"15,-1 19-16,18-19-15,0 1 16,0-1-16,18 2 16,-1-2-1,2-17 1,-2-17 0,-17-2-1,17 2 1,-17-1-16,0 1 15,18 0 1,-18-2 0,36 38 15,-36-2-15,17-17-16,-17 17 0,17 1 15,1-1 1,0 2-1,0-19 17,-1 0-32,0 0 0,2 0 15,-2 0-15,-17 17 0,18-17 16,-1 0-16</inkml:trace>
  <inkml:trace contextRef="#ctx0" brushRef="#br0" timeOffset="125614.87">30299 2677 0,'-17'53'15,"17"-18"-15,0-18 16,0 1-16,-19 18 0,19-2 16,-17-15-16,17-2 15,0 1-15,0-1 0</inkml:trace>
  <inkml:trace contextRef="#ctx0" brushRef="#br0" timeOffset="125850.71">30246 2730 0,'0'0'15,"17"18"32,2-18-47,-19 17 16,17-17-16,-17 17 0,18 1 16,-1-18-16,2 0 0,-2 0 0</inkml:trace>
  <inkml:trace contextRef="#ctx0" brushRef="#br0" timeOffset="126038.64">30670 2748 0,'0'-18'15,"-19"18"-15,2 0 16,0 18 0,-1-18-16,1 0 0,-2 17 0,2 0 15,0-17 1,-19 18-16,36 0 0,-18-18 0,1 18 15,0-18-15,-1 17 0,18 0 16</inkml:trace>
  <inkml:trace contextRef="#ctx0" brushRef="#br0" timeOffset="126213.7">30582 2800 0,'35'-18'15,"-18"1"16,-17 34-15,-52 1-16,104-18 16,-35 18-16,-34-18 0,34 18 0,-34-1 15,34 0-15,-17 2 0,0-2 16,0 18-16,0-18 16</inkml:trace>
  <inkml:trace contextRef="#ctx0" brushRef="#br0" timeOffset="126630.55">30987 2853 0,'-17'0'16,"-2"0"0,-33 17-1,34-17-15,18 19 16,-18-19-16,18 17 16,-17 1-16,34-1 15,1-17 1,0 0-1,17 0 1,-18 0 0,2 0-1,-2 0 1,1 17 0,18-17 15,-19 0-31,0 0 0</inkml:trace>
  <inkml:trace contextRef="#ctx0" brushRef="#br0" timeOffset="126837.72">31163 2924 0,'106'-142'31,"-106"125"-31,36-71 32,-19 71-17,-176 281 1,301-476-1,-142 230 1,-18 0-16,18-1 16,0 18-16,0 1 15,0-19 1,0 0-16</inkml:trace>
  <inkml:trace contextRef="#ctx0" brushRef="#br0" timeOffset="127031.15">31146 2800 0,'17'0'15,"1"-18"-15,0 18 16,0 0-16,16 0 15,-16 0-15,0 0 16,17 0-16</inkml:trace>
  <inkml:trace contextRef="#ctx0" brushRef="#br0" timeOffset="127299.47">31498 2782 0,'19'0'0,"-2"18"31,-53-36-31,89 72 16,-53-37 0,0 0-16,0 2 31,18-19-15,0-19 15,0 2-16,-1 17 1,-17-17-16,17 17 16,2-18-16</inkml:trace>
  <inkml:trace contextRef="#ctx0" brushRef="#br0" timeOffset="127462.55">31763 2765 0,'18'0'16,"-1"17"-1,-17 1-15,-35-53 16,70 88-16,-35-35 16,-17-18-16,17 17 0,0 0 15,0 2-15,0-2 16</inkml:trace>
  <inkml:trace contextRef="#ctx0" brushRef="#br0" timeOffset="127614.6">31887 2712 0,'-18'-18'0,"18"1"16,18 52-16,-54-70 31</inkml:trace>
  <inkml:trace contextRef="#ctx0" brushRef="#br0" timeOffset="127947.5">32117 2677 0,'0'17'15,"-19"1"1,19 0-16,-17 0 15,-1-1-15,18 0 16,-36 1-16,36 0 0,-17 0 0,0-18 16,17 17-16,-18-17 0,0 17 15,36-34 79,17 17-78,-18 0-16,2 0 15,-2 0 1,1 0-16</inkml:trace>
  <inkml:trace contextRef="#ctx0" brushRef="#br0" timeOffset="128554.8">28394 4212 0,'0'34'31,"0"-16"-31,0 0 0,-17 17 15,17-18-15,0 19 0,0-18 0,0 35 16,0-18-16,0-18 16,0 19-16,0-1 0</inkml:trace>
  <inkml:trace contextRef="#ctx0" brushRef="#br0" timeOffset="129288.54">28430 4124 0,'17'-36'0,"-17"18"0,18 1 16,-18-2-16,17 19 0,2 0 16,-2 0-1,0 19-15,1-19 0,-18 17 16,17 1-16,2 18 0,-2 16 16,0-34-16,-17 17 0,0-18 15,0 19-15,18-18 0,-18 16 0,0-15 16,0 33-16,0-33 0,0-2 15,0 0-15,0 1 0,0-1 16,18 2-16</inkml:trace>
  <inkml:trace contextRef="#ctx0" brushRef="#br0" timeOffset="129471.77">28306 4493 0,'17'-17'0,"1"17"15,0 0-15,0 0 0,52-18 16,1 1 0,-36 17-16,1 0 0</inkml:trace>
  <inkml:trace contextRef="#ctx0" brushRef="#br0" timeOffset="129712.69">29065 4246 0,'-18'0'32,"-18"18"-17,36 0-15,-17 0 16,0-1-16,17 0 15,-19 19-15,19-18 0,0-1 16,0 2-16,0-2 16,0 0-16,19-17 0,-19 18 15,17-18-15,-17 17 0,17-17 16,1 0-16,0 0 0</inkml:trace>
  <inkml:trace contextRef="#ctx0" brushRef="#br0" timeOffset="130114.83">29311 4370 0,'0'-17'0,"0"-2"16,0 55-16,0-89 15,-34 70 17,15 19-17,19-18-15,0-1 0,0 2 16,0-2-16,0 0 0,19 1 15,-2-1-15,-17 2 16,35-19-16,-17 17 0,0-17 16,16 17-16,-16-17 0,0 0 15,34 0-15,-33-17 0,-2 17 16,1-17-16,-1-2 0,0 19 16,2-17-16,-2-18 0,1 18 15,-1 17-15,-17-19 0,19 2 16,-19-1-16,17 18 0,0 18 47,-17-1-47,0 2 15,0-2-15,0 0 16,18 18 0,0-35-16,0 19 15,-1-19-15</inkml:trace>
  <inkml:trace contextRef="#ctx0" brushRef="#br0" timeOffset="130624.97">29946 4370 0,'36'18'16,"-36"-1"-16,17-17 15,-17 36 1,0-19-16,-17 1 0,17-1 16,-17 2-16,17-2 0,-19 0 15,2 1-15,-1-18 16,1 18-16,-2-18 16,2 0-16,0 0 15,17-18 1</inkml:trace>
  <inkml:trace contextRef="#ctx0" brushRef="#br0" timeOffset="130957.65">30141 4353 0,'34'0'15,"-15"0"-15,-2 17 0,1 1 16,-18-1-16,17 2 16,-17-2-16,0 0 15,0 1-15,0-1 16,0 2-16,0-2 16,0 0-16,0 1 15,17-53 16,19-1-15,-18 19-16,-1 17 0,2-18 16,-2 1-16,0 17 15,1-17-15,0 17 0,0-19 16,-1 19-16,0 0 0,1-17 16</inkml:trace>
  <inkml:trace contextRef="#ctx0" brushRef="#br0" timeOffset="131286.74">30722 4300 0,'-35'0'15,"70"0"-15,-87 17 0,33-17 16,19 17-16,-17-17 0,0 19 16,17-2-16,-18-17 15,18 18-15,0-1 16,0 2-1,18-19-15,-1 0 16,0 0 0,19 0-1,-18-19-15,-1 38 47,-17-2-31,19 0-1,-2-17 1,0 18-16</inkml:trace>
  <inkml:trace contextRef="#ctx0" brushRef="#br0" timeOffset="131926.54">31199 4229 0,'-53'0'16,"53"17"-16,-53 19 31,53-18-31,-18-1 15,18 0-15,18-17 16,-18 19-16,17-2 16,2-17-16,-2 0 15,0 0-15,1 0 16,0 0-16,0-17 0,-1 17 16,0 0-1,1 0 1,0 0-1,0 17 1,-1-17 0,-17 18-1,17-18-15,2 0 16,-2 0-16,1 0 16,-1 0-1,2 0 1,-2 0-16,-17 17 0,0 2 15,0-2-15,0 0 16,-17 1-16,17 18 0,-19-19 0,-16 36 16,18-35-16,-2-1 0,2 18 15,0-35-15,17 18 0,-18 0 16,0-18-16,18-36 31,18 18-31,0 1 16,-1 0-16,0-1 0,2-18 15,-2 2-15,37-2 0,-37 18 16,18 1 0</inkml:trace>
  <inkml:trace contextRef="#ctx0" brushRef="#br0" timeOffset="132497.29">30070 5852 0,'-36'0'16,"72"0"-16,-72-18 0,19 18 0,-1-36 15,1 19-15,0 0 0,17-1 16,-19 0-16,2-17 0,-1-18 15,18 18-15,-17-1 0,17 1 16,0 1-16,17-2 0,-17 1 0,18-1 16,-18 19-16,17-1 0,-17 0 15,19-17-15,-2 35 0,-17 35 32,-17-17-17,-37 34-15,18-33 16,2 16-16,-37 18 0,54-36 15,-1 1-15,0-18 0,-17 36 16,35-19-16,-17-17 0,34 0 16,0 0-1,1 0-15,18 0 0,-2-17 16,20 17-16,122-36 0,-123 18 16,18 18-16,34-17 15,-69 17-15,35 0 16</inkml:trace>
  <inkml:trace contextRef="#ctx0" brushRef="#br0" timeOffset="133311.56">28623 7033 0,'0'-17'0,"-34"87"31,34-52-15,-19 0-16,19 0 0,-17 16 0,17 2 16,0-18-16,-18 52 0,18-52 15,0 18-15,-17-19 0,17 18 0,0-18 16,0 19-16,-17-19 16,17 19-16,0-18 15,0-1-15,0 0 16,-19-51 15,19 16-31,0-18 16,0 19-16,0-19 0,0-16 0,36-36 15,-19 0-15,1 52 16,-1 1-16,19-1 0,17 2 16,-35 15-1,-1 19-15,19 19 16,-36-2-16,0 0 15,-19 1-15,19 0 16,-17 17-16,0-18 0,-19 19 16,-16-1-16,52-18 15,-19 2-15,-16-2 0,18 18 16,0-35 0,17 19-16,0-2 15,17-17 1,0 17-16,18-17 15,-16 0-15,15 0 16,-16 0-16,18 0 0,-19 0 0,19 0 16,-1 0-1,-18 18-15</inkml:trace>
  <inkml:trace contextRef="#ctx0" brushRef="#br0" timeOffset="133637.57">28958 7421 0,'19'-35'16,"-2"18"-16,-17 0 0,0-2 15,17 2-15,-17-1 0,0 1 16,0-2-1,-34 38 17,34-2-32,0 1 15,-19-1 1,38 19-16,-19-19 16,17 1-16,0-1 15,19 2 1,-18-19-16,-1 17 0,19-17 15</inkml:trace>
  <inkml:trace contextRef="#ctx0" brushRef="#br0" timeOffset="134890.1">29453 7193 0,'-54'0'16,"54"17"-16,-17 1 15,0-18-15,17 17 0,-18 0 16,18 19-16,-18-36 16,18 18-16,0 18 0,0-19 15,0 0-15,18 18 16,0-35-16,-1 19 16,36-19-16,-1 0 0,-33 0 15,16 0-15,-1 0 16,-15 0-16,33 0 0,1-19 15,-35 19-15,0 0 0,17-17 16,-18-1 0,1 18-16,-18-17 15,18 17-15,-18-17 16,0-2 0,-18 19-1,0 0-15,1 0 16,0 0-1,17 19-15,-18-19 0,18 17 16,-18-17 0,18 17-16,0 1 15,18-18 1,0 17-16,-1-17 16,0 0-1,1 0 1,0-17-1,0 17 1,-18 17 0,17-17-1,-17 19 1,17-19-16,-17 17 16,19-17-1,16-17-15,-18 17 16,2-19-16,-2 19 15,0-35-15,1 1 16,-1 15-16,2-16 0,-2 18 16,-17-2-16,17-33 15,-17 35-15,18-2 0,-18 2 16,0 0-16,-18 34 31,18 0-31,-17 19 16,17-18-16,-17-1 0,17 0 15,0 2-15,0-2 0,0 1 16,0 18-16,0-19 0,17-17 16,-17 17-16,17-17 0,-17 18 0,36-18 15,-18 0-15,-1 0 16,0 0-16,19-18 16,-1 1-16,-18 17 0,2-17 0,-2-2 0,18-33 15,1 33-15,-36 2 16,35-35-16,-17 33 15,0 2-15,-18 0 16,0 51 0,0-15-1,0-2-15,-18 18 0,18-18 0,0 2 16,0-2-16,0 1 16,0 18-16,18-19 0,-18 0 15,17 1-15,0-18 16,-17 17-16,18-17 15,0 0-15</inkml:trace>
  <inkml:trace contextRef="#ctx0" brushRef="#br0" timeOffset="135878.73">28289 3876 0,'17'-88'16,"-34"88"-16,17-35 0,-18 18 15,0 17-15,0-19 0,1 19 16,0-17-16,-19 34 16,18-17-16,1 0 0,-2 19 15,2-2-15,0 0 0,-1 1 16,-18 52-16,19-16 0,0-1 15,-1-1-15,18 1 0,-53 106 16,36-106 0,-19 18-16,1 17 0,18-36 15,-2 1-15,2-17 0,-18 16 16,16-34-16,19 18 16,-17-36-16,17 17 0,17-17 46,2 0-46,-2 17 0,-17 2 16,18-2-16,-18 1 0,17 18 16,-17 33-16,19 20 15,-19-54-15,17 36 16,0-1-16,-17-35 16,18 18-16,-18-17 15,17-18-15,2 16 0,-19 2 16,17-18-16</inkml:trace>
  <inkml:trace contextRef="#ctx0" brushRef="#br0" timeOffset="136762.75">28271 6681 0,'-36'-17'0,"19"17"16,0 0-16,-2 17 0,2 0 0,17 1 15,-18 0-15,18 34 16,-17-34-16,17 18 0,0-2 15,-19 2-15,19-1 0,-17 18 0,17-18 16,0 18-16,-17-17 16,17-1-16,-18 1 0,1-1 0,17-18 15,-19 36-15,2-35 16,17-1-16,-17 2 16,51-38 15,-15 38-16,-2-19-15,-17 17 0,0 18 16,0-18-16,18 19 0,-36 52 16,18-35-16,0-18 0,-17 36 15,17-35-15,0 34 16,0-35-16,0-18 0,17 1 16,-17 18-16,18-19 15,-18 0-15,34 2 0,-15-19 0,-2 17 16,1-17-16,-1 0 0,2-17 15,15 17-15</inkml:trace>
  <inkml:trace contextRef="#ctx0" brushRef="#br0" timeOffset="137761.63">28977 7862 0,'158'88'0,"-106"-69"0,2-2 16,70 18-16,-54-18 0,70 2 15,-50-19-15,86 17 16,-71-17-16,-17 0 16,124-17-16,-124 17 0,71-19 15,-89 2-15,89 0 0,-18-37 16,-87 37-16,16-18 16,1-1-16,52-34 15,-17-36-15,-54 53 0,-16 1 16,-1-1-16,18-54 15,-18 2-15,-35 51 0,0 2 16,-17-89-16,-1 70 0,-70-70 16,35 70-1,-18 19-15,-17-37 0,-88-51 16,70 69-16,0 18 0,-123-35 0,141 35 16,-124-1-16,89 37 15,-142-18-15,142 35 0,-1 0 16,-17 18-16,-18 16 0,1 2 15,16-1-15,-139 89 16,33 17-16,143-70 0,-90 105 16,143-105-16,-1-1 0,-1 1 15,37 0-15,-18 122 16,53-122-16,16-1 0,2 1 16,16-18-16,90 53 0,-54-53 15,124 35-15,-106-53 16,0 1-16,-1-19 0,2 0 15</inkml:trace>
  <inkml:trace contextRef="#ctx0" brushRef="#br0" timeOffset="138310.57">29946 8604 0,'0'-18'0,"0"53"32,-17 18-17,-18 53-15,16-53 0,2-18 16,0 35-16,17-16 0,-18-1 16,0-1-16,0 1 0,-16 53 15,-2-18-15,18-35 16,1 0-16,17-35 15,0-1-15,-17-17 0,17 19 16,0-2-16</inkml:trace>
  <inkml:trace contextRef="#ctx0" brushRef="#br0" timeOffset="139638.42">29787 9538 0,'-34'0'16,"16"-17"-16,0 17 0,0 0 0,-16 0 15,15 0-15,-33 0 16,16 0-16,1 0 0,-1 0 0,2-17 16,-2 17-16,1-19 0,0 19 15,-1-17-15,-17-1 0,1 1 16,16-2-16,-16 2 0,16 0 0,1-19 15,-54-16-15,54 16 0,1 1 16,-2-1-16,-70-87 16,70 70-16,2 0 0,-2 1 15,-35-72-15,54 53 0,-18 19 16,-18-89 0,-35-1-16,17 1 0,36 70 15,-54-87-15,54 70 16,-70-71-16,-2-36 15,2 19-15,69 88 16,-69-124-16,51 124 0,2-17 16,-18 16-16,-18-105 15,-36-18-15,18 19 0,53 86 16,0 2-16,1 0 16,-19-2-16,18 2 0,-71-107 15,72 106-15,-2 0 0,1 35 0,-52-158 16,51 123-16,-51-70 15,34 70-15,-53-105 16,-17 16-16,72 90 16,-73-90-16,72 90 0,-89-90 15,88 107-15,-17 0 16,-89-88-16,89 88 0,0-1 16,-17 18-16,17-17 0,-124-88 15,0 0-15,106 88 16,-123-89-16,105 89 0,19 0 15,-19 0-15,1 0 0,-1 0 16,0 17-16,1-17 0,-142-72 16,-16 2-16,-2 18 15,159 50-15,-35 21 0,18-2 16,-158-70-16,139 70 0,-298-105 16,299 123-1,0-18-15,19 18 0,-1-18 0,-18 1 16,1 18-16,16-19 0,1 18 0,-18-18 15</inkml:trace>
  <inkml:trace contextRef="#ctx0" brushRef="#br0" timeOffset="140165.48">16382 30 0,'-159'124'0,"125"-88"0,-2-18 0,1 16 16,-54 37-16,37-35 15,16-1-15,-70 18 0,53-18 16,18-18-16,-18 19 0,18-19 16,-53 37-16,35-20 0,17-16 15,1 18-15,-53 17 16,71-36-16,-36 18 0,17-16 15,18-2-15,-16 0 0,16 1 16,0-18-16,0 17 0,1 2 16,0-19-16,-2 17 15,2 0 1,53-34 46</inkml:trace>
  <inkml:trace contextRef="#ctx0" brushRef="#br0" timeOffset="142319.82">15218 789 0,'-53'53'0,"35"-18"0,1-16 0,-19 33 16,19-34-16,17 0 0,-18 16 0,18-15 16,-17-2-16,17 1 0,0-1 15,0 0-15,0 19 0,17-18 16,1-1-16,-1 2 0,2-2 0,15-17 15,72 35-15,-36-35 16,1 0-16,0 0 0,229-18 16,-176 18-16,-2 0 0,2-17 15</inkml:trace>
  <inkml:trace contextRef="#ctx0" brushRef="#br0" timeOffset="143483.5">29770 8638 0,'-53'0'0,"35"0"0,1 0 15,52-17 17,35 0-17,-52 17-15,0 0 16,17 0-16,-18 0 0,19 0 15,-18 0-15,-1 0 0,19 0 0,-19 17 0,1 0 16,-1-17-16,2 36 16,-2-18-16,-17-1 0,17 0 0,-17 19 15,0 18-15,0-37 0,0 18 16,0-17-16,-17 34 0,0-16 16,17-18-16,0-1 0,0 0 15,0 2-15,0-2 0</inkml:trace>
  <inkml:trace contextRef="#ctx0" brushRef="#br0" timeOffset="148656.65">4882 7474 0,'405'0'0,"-299"-17"0,0 17 16,0 0-16,-1 0 0,19-17 15,0 17-15,-1-19 0,-17 19 16,17 0-16,-16-17 0,-2 17 0,0 0 0,-15 0 15,-21 0-15,-16 0 0,1 0 16,-2 0-16</inkml:trace>
  <inkml:trace contextRef="#ctx0" brushRef="#br0" timeOffset="148886.81">5393 7721 0,'0'19'0,"70"-19"16,-16 0-16,16 0 15,1 0-15,140 0 16,-87-19-16,0 19 0,-2 0 16,2-17-16,0 17 0,-1 0 0,1 0 15,-1-18-15,1 18 0,0 0 16,-2 0-16,2-17 0,-1 17 0,1 0 15,0-19-15</inkml:trace>
  <inkml:trace contextRef="#ctx0" brushRef="#br0" timeOffset="149949.62">11302 7528 0,'105'17'0,"-51"-17"0,16 0 16,18 0-16,19 0 0,-2 0 0,1 0 15,18-17-15,-19 17 0,160 0 16,-142 0-16,1-18 0,-19 18 16,19 0-16,-18 0 0,0 18 15,-35-18-15,0 0 0,-2 0 0,-33 17 16</inkml:trace>
  <inkml:trace contextRef="#ctx0" brushRef="#br0" timeOffset="150130.1">12043 7757 0,'0'0'0,"52"17"0,-16-17 16,18 0-16,34 0 0,17 0 15,19 18-15,-1-18 0,18 0 16,35 0-16,1 18 0,17-18 0</inkml:trace>
</inkml:ink>
</file>

<file path=ppt/ink/ink124.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42:27.966"/>
    </inkml:context>
    <inkml:brush xml:id="br0">
      <inkml:brushProperty name="width" value="0.05292" units="cm"/>
      <inkml:brushProperty name="height" value="0.05292" units="cm"/>
      <inkml:brushProperty name="color" value="#0070C0"/>
    </inkml:brush>
  </inkml:definitions>
  <inkml:trace contextRef="#ctx0" brushRef="#br0">10217 3070 0,'-17'-19'0,"34"2"32,71 17-17,-52 0 1,17 0-16,-1 0 0,19 0 15,0 0-15,-1-18 0,18 18 16,-17 0-16,17 0 0,-17 0 0,-1-17 16,1 17-16,0 0 0,-1 0 0,-18 0 15,2 0-15,-1 0 0,-18 0 16,1 0-16,-2 0 0,2 0 0,-18 0 16,52 0-16,-52 0 0,18 0 15,-2 17-15</inkml:trace>
  <inkml:trace contextRef="#ctx0" brushRef="#br0" timeOffset="413.84">13869 3192 0,'-19'-17'0,"55"17"16,-18 0-16,-1 0 16,19-17-16,35 17 0,-37 0 0,54-19 15,-52 19-15,16 0 0,-16 0 16,18 0-16,16-17 15,-35 17-15,0 0 0,1 0 16</inkml:trace>
  <inkml:trace contextRef="#ctx0" brushRef="#br0" timeOffset="2713.05">5790 5044 0,'0'-17'0,"0"0"15,-18 34 17,18 0-32,-18 19 15,1-18-15,17 16 0,-17 2 16,-19 52-16,18-34 15,1-20-15,0 2 16,17-1-16,-19-18 0,2 19 0,-1-1 16,1 18-1,17-35-15,0-1 16</inkml:trace>
  <inkml:trace contextRef="#ctx0" brushRef="#br0" timeOffset="3079.1">5720 5062 0,'0'-18'0,"0"36"0,34-36 32,2 36-17,-36 0-15,18 0 16,16-1-16,-15 0 0,-19 2 15,17-2-15,18 1 16,-35-1-16,19 0 0,-2-17 0,18 19 16,-18-19-16,2 0 15,-2 17-15</inkml:trace>
  <inkml:trace contextRef="#ctx0" brushRef="#br0" timeOffset="3300.98">6284 5080 0,'-18'-18'0,"36"36"0,-53-36 16,16 18 0,2 0-16,0 18 0,-1 0 15,-18-18-15,19 17 0,0 19 16,-54 16-16,35-16 0,19-1 0,-54 18 16,54-18-16,-1-17 15,1 0-15,-2-1 0,2 0 16,17 1-16,-17 0 15,17 0 1</inkml:trace>
  <inkml:trace contextRef="#ctx0" brushRef="#br0" timeOffset="3519.88">6161 5132 0,'17'-34'0,"-34"68"15,34-86-15,1 70 31,-36 52-15,18-52 0,-17 16-16,17 2 0,0-1 0,-19 18 15,19-17-15,0-1 16,0 0-16,-17 1 0,17-19 0,0 19 16,17-19-16,-17 1 0,0 18 15,19-19-15,-19 0 0,17-17 0,-17 18 16,18-18-16</inkml:trace>
  <inkml:trace contextRef="#ctx0" brushRef="#br0" timeOffset="4500.31">6530 5627 0,'36'-71'16,"-18"54"-16,-18-2 16,0 2-16,0 0 15,0-1-15,0 0 16,0 0-16,-18 18 0,1 18 31,-2-18-31,19 18 0,-17 0 0,0 35 16,34-1 15,0-16-31,2-19 0,-2-17 0,1 18 16,18-18-16,-19 17 0,18-17 15,-18 0-15,2 0 0,15 0 16,-16 0-16,18 0 0,-19-17 0,18 17 0,-17-18 15,0 18-15,-1-17 16,19 0-16,-19 17 0,1-19 16,-1 2-16,-17-1 0,19 18 0,-19-17 15,0-2 1,0 2-16,-19 17 16,2 0-1,-1 0 1,18 17-16,-17 2 0,-2-19 0,19 17 15,-17 1-15,17-1 0,-17-17 16,17 19-16,0-2 0,0 0 16,17 1-1,0-18 1,2 0 0,-2-18-16,1 1 15,-1 0 1,-17-2-1,19 19-15,-19-17 16,0 53 15,17-19 1,-17 0-17,17 1 1,1-18 15,-1 0-15,2 0-1,-2 0 1,0-18 0,1 18-16,0 0 15,0 0 16,-1 0-31,0 0 0,2 18 16,-2-18 0,1 0-1,-1 0 1,0 17-16,19-17 16,-18-17-1</inkml:trace>
  <inkml:trace contextRef="#ctx0" brushRef="#br0" timeOffset="4771.62">7889 5520 0,'35'-17'31,"-17"17"-31,0 0 0,-1 0 16,0 0-16,2 0 0,-2 0 16,1 0-16,-1 0 0,2 0 15,-2 0-15,-17 17 16</inkml:trace>
  <inkml:trace contextRef="#ctx0" brushRef="#br0" timeOffset="4945.89">7854 5662 0,'-18'17'0,"0"-17"16,54 19 15,-18-19-15,-1 0-16,0 0 0,1 0 0,18 0 0,-2 0 15,2-19-15,-18 19 16,-1 0-16,2 0 0,-2 0 0,0 0 16,1 0-16,-1 0 0</inkml:trace>
  <inkml:trace contextRef="#ctx0" brushRef="#br0" timeOffset="10379.24">11717 3016 0,'-36'-17'16,"19"17"-16,-1-19 16,53 38 30,1-19-46,-1 0 16,-18 17-16,19-17 0,-1 0 0,18 0 16,-18 18-16,35-18 0,-16 0 15,16 17-15,-16-17 0,16 0 0,-18 0 16,19 19-16,0-19 0,-1 0 16,1 17-16,-18-17 0,70 0 0,-52 17 15,-18-17-15,0 0 0,-1 0 16,-16 0-16,16 0 0,2 0 15,-18 0-15,16 0 0,1 0 0,35 0 16,-52 0-16,-19 0 16,18 0-16,1 0 0,-1 0 0,-18 0 15,19-17-15,-1 17 0,-18 0 16,2 0-16,-2 0 16,0 0-16,1 0 15,0 0-15</inkml:trace>
  <inkml:trace contextRef="#ctx0" brushRef="#br0" timeOffset="10808.47">13357 3087 0,'53'17'16,"-35"-17"-16,-1 0 0,19 0 0,-1 0 16,-18 0-16,19 0 0,-1 0 0,1 0 15,16 0-15,-16 0 0,17 0 16,-18 0-16,18 0 0,18 0 15,-37 0-15,2 0 0,-1 18 0,-18-36 16,19 36-16,-18-18 0,-1 0 16,0 0-16</inkml:trace>
  <inkml:trace contextRef="#ctx0" brushRef="#br0" timeOffset="10975.73">13728 3158 0,'53'0'15,"-36"-19"-15,18 19 0,-18 0 0,2 0 16,-2-17-16,18 17 0</inkml:trace>
  <inkml:trace contextRef="#ctx0" brushRef="#br0" timeOffset="12008.02">10234 1834 0,'-52'0'0,"52"18"0,-17-18 16,-19 35-16,1-18 0,17 19 15,-17 18-15,0-20 0,-1 37 16,2-18-16,-2 18 0,1-19 0,-18 89 16,18-70-16,16 34 15,2-51-15,17-20 0,0 2 16,17 18-16,2-20 0,-2 20 0,18-20 16,1 2-16,16-1 0,19-18 15,-18 2-15,18-2 0,-1-17 16,36 0-16</inkml:trace>
  <inkml:trace contextRef="#ctx0" brushRef="#br0" timeOffset="12560.02">13850 1535 0,'36'17'15,"-1"1"-15,89 87 16,-71-34-16,18-18 0,-19 18 16,1-18-16,53 87 0,-18 1 15,-52-70-15,-19 0 16,0-18-16,-17 70 0,0-70 15,-17 18-15,-18-1 0,-1 1 16,-16 0-16,-1-1 0,0-18 0,-18 2 16,19-1-16</inkml:trace>
  <inkml:trace contextRef="#ctx0" brushRef="#br0" timeOffset="21578.93">9300 5062 0,'18'-18'0,"0"18"15,16 18-15,-16-18 16,0 0-16,0 18 0,-1 0 16,-17-1-16,17-17 15,-17 17-15,0 2 0,-17-2 0,17 1 0,-17-1 16,17 0-16,-18 19 0,0-18 15,-17-1-15,18 19 0,-19-19 16,18 1-16,1 0 0,-19 0 0,19-18 16,-1 17-16,1 0 0,-2 1 15,2-18-15,0 0 16,17 18-16,-18-18 0,53 0 31,18 0-15,1 0-1,-37 0 1,0 0-16,19-18 0,-1 18 16,-18 0-16,1 0 0,18-18 15</inkml:trace>
  <inkml:trace contextRef="#ctx0" brushRef="#br0" timeOffset="22146.72">10076 5115 0,'-35'-53'0,"18"53"16,-19 0-1,18 18-15,1-18 0,-19 18 16,19-1-16,-18 0 0,16-17 15,2 19-15,-18 16 16,18-18 0,17 0-16,17-17 15,1 0 1,-1 0-16,0 0 16,2-17-16,-2 17 15,1-17-15,-1 17 0,2-18 0,-2 1 16,0 17-16,1 0 15,0 0 1,-18 17-16,0 18 16,0-18-16,-18 73 15,18-73 1,0 0-16,0 1 0,0 0 16,0 0-16,0-1 0,0 0 15,0 1-15,0 0 0,18 0 16</inkml:trace>
  <inkml:trace contextRef="#ctx0" brushRef="#br0" timeOffset="22339.71">10305 5380 0,'0'-18'16</inkml:trace>
  <inkml:trace contextRef="#ctx0" brushRef="#br0" timeOffset="22968.63">10800 5098 0,'34'-18'16,"-68"18"15,16 0-15,0 18-16,0-18 0,1 0 0,17 17 15,-17-17-15,-2 0 0,2 17 16,-1-17-16,18 19 16,0-2-16,18 1 15,-18-1 1,36 0-16,-19 2 16,0-2-16,1 1 15,0-1-15,-18 2 16,0-2-16,0 0 15,0 1-15,-18-18 0,0 18 0,1 0 16,-19-1-16,19-17 16,-18 17-16,18 1 0,-2-18 15,2 18-15,-18 0 0,16-18 16,2 17-16</inkml:trace>
  <inkml:trace contextRef="#ctx0" brushRef="#br0" timeOffset="23652.29">7924 6032 0,'70'0'15,"-34"-17"-15,-1 17 0,89-17 16,-53-2-16,-1 19 0,1-17 0,17-1 0,17 18 16,-17-17-16,0-2 0,2 19 15,-2-17-15,53 0 16,-1 17-16,-87-18 0,1 18 0,-2 0 16,-16 0-16,-2 0 0,2-18 15,-18 18-15,18 0 0,-19 0 16,0 0-16,1 0 15</inkml:trace>
  <inkml:trace contextRef="#ctx0" brushRef="#br0" timeOffset="23917.8">8506 6138 0,'212'-18'0,"-141"18"0,0 0 15,17-17-15,-18 17 0,1-17 0,17 17 16,35-19 0,-53 19-16,54-17 0,-70 17 0,-2-18 15,-16 18-15,-2 0 0,-16 0 0,18 0 16,-19 0-16,19 0 15,-19-17-15,1 17 0,-1 0 16,0 0-16</inkml:trace>
  <inkml:trace contextRef="#ctx0" brushRef="#br0" timeOffset="25606.65">6001 8096 0,'-17'18'16,"-1"-18"-16,18 17 0,0 2 0,0-2 15,-17 18-15,0 1 0,17-19 16,0 0-16,-19 19 0,19-1 16,-17-18-16,17 19 0,0-18 15,-18 16-15,18-15 0,0-2 0,-17 1 0,17-1 16,0 2-16,0-2 16,0 0-16</inkml:trace>
  <inkml:trace contextRef="#ctx0" brushRef="#br0" timeOffset="25857.04">6301 8167 0,'0'35'31,"0"-18"-31,0 2 16,-17 51-16,17-52 16,-18-1-16,18 19 0,0-1 0,-17-18 15,17 0-15,0 19 0,-19-18 16,19-1-16,0 2 0,0-2 0,-17 0 16,17 1-16</inkml:trace>
  <inkml:trace contextRef="#ctx0" brushRef="#br0" timeOffset="26095.89">5932 8538 0,'-19'0'15,"38"-19"1,15 19 0,-16 0-16,-1 0 0,19 0 15,-1 0-15,-17-17 16,17 17-16,-18 0 0</inkml:trace>
  <inkml:trace contextRef="#ctx0" brushRef="#br0" timeOffset="26843.67">6513 8360 0,'-71'54'0,"54"-54"0,0 53 16,-1-36-1,18 1-15,18 18 16,-18-19-16,17 0 15,0-17 1,-17 18-16,18-18 0,18-18 16,-19 1-16,0 0 15,2-2-15,-19 2 16,17-18 0,1 16-1,-18 2 1,36 53 15,-36-19-31,17-17 0,-17 18 0,0-1 16,17-17-16,-17 19 15,18-2-15,-1 0 16</inkml:trace>
  <inkml:trace contextRef="#ctx0" brushRef="#br0" timeOffset="27156.64">6742 8484 0,'0'0'0,"0"-17"15,18 52 17,-18-18-17,0 2-15,0-2 0,0 0 16,0 1-16,0-1 15,0 2 1,18-55 31,0 18-31,-1 1-16,0 0 0,-17-2 15,18 19-15,-18-17 0,18 17 16,0 0-16,-1-18 15</inkml:trace>
  <inkml:trace contextRef="#ctx0" brushRef="#br0" timeOffset="27627.73">7077 8502 0,'0'36'16,"0"-19"0,0 0-16,0 1 0,0-1 15,0 2 1,36-38 46,-19 2-46,1 17 0,0 17-16,0 2 31,-1-2 0,0-34 16,2 17-47,-2 0 16,1-19-1,-1 19 1,0 0-16,2 0 0,-2 0 0,1 0 16,-1 0-16,2 0 0,-2 0 15,0 19-15,1-19 0</inkml:trace>
  <inkml:trace contextRef="#ctx0" brushRef="#br0" timeOffset="28178.94">7572 8467 0,'-18'17'16,"0"37"-1,18-37-15,-18 0 16,36 18-1,18 36 1,-2-71-16,20 18 16,-37-18-16,0 0 15,2 0-15,16-18 16,-35-17 0,0 18-1,-18-2-15,18 2 0,-17-1 16,-2 1-16,2 0 15,0 17 1,-18 0 0</inkml:trace>
  <inkml:trace contextRef="#ctx0" brushRef="#br0" timeOffset="28523.02">7960 8555 0,'0'35'16,"0"-70"-16,0 87 15,0-33-15,34-19 63,-15-19-48,-2 19-15,18 19 16,-16-19 0,-2 17-1,-17 0-15,17-17 16,1 18-16</inkml:trace>
  <inkml:trace contextRef="#ctx0" brushRef="#br0" timeOffset="28691.82">8294 8607 0,'19'-17'0,"-38"53"31,19-19-15,-17 0-16,17 1 16</inkml:trace>
  <inkml:trace contextRef="#ctx0" brushRef="#br0" timeOffset="28831">8294 8431 0,'0'-17'16</inkml:trace>
  <inkml:trace contextRef="#ctx0" brushRef="#br0" timeOffset="29089.86">8541 8519 0,'-52'36'15,"35"-19"-15,-2 1 16,2-18-16,17 17 0,-18 2 15,18-2-15,-17 0 16,17 1-16,17 0 16,1-18-1,-1 0-15,2 0 16</inkml:trace>
  <inkml:trace contextRef="#ctx0" brushRef="#br0" timeOffset="29832.95">9124 8360 0,'0'54'31,"-18"-37"-15,18 0-16,0 2 0,0-2 0,-17 1 16,17-1-16,0 2 0,0-2 15,0 0 1,17-17 15,18-17-15,-18 0-16,19-2 15,-18 19-15,-1 0 16,2 0 0,-2 0-16,-17 19 15,17-19-15,-17 34 16,0-16-1,0-1 1,18 2-16,0-38 47,0 2-31,-1-1-1,0 18-15,1 0 31,0 0-31,0 0 0,-1 18 16,-17-1 0,17 2-16,2-2 15</inkml:trace>
  <inkml:trace contextRef="#ctx0" brushRef="#br0" timeOffset="30277.21">9617 8643 0,'19'-36'0,"-19"19"0,17-1 16,-17 1-16,-36 34 47,36 1-32,0-1 1,19 2 0,-19-2-16,17 0 0,0-17 15,1 0-15,35 0 16,-17 0-1,-19 0-15</inkml:trace>
  <inkml:trace contextRef="#ctx0" brushRef="#br0" timeOffset="31029.16">10112 8519 0,'0'0'0,"-18"-17"0,0 17 16,-17 0-1,18 0-15,-1 17 16,0-17-16,0 19 0,1-2 16,0-17-16,17 17 15,-19-17-15,2 35 16,17-16 0,0-2-1,17-17-15,-17 17 16,19-17-16,-2 0 15,0 0-15,19-17 16,-36 0 0,18 17-16,-1-19 15,0 19 1,1-17 0,-18 34 46,0 2-46,0-2-1,0 0 17,0 1-1,36-36 16,-36 1-32,17 17-15,0 0 0,2 0 16,-2 0 15,1 17-15,-1 1-1,0-18 32,2 0-31,-2-18-16,1 18 16,-1-17-1,2 17 1,-2 0-16,0 0 0,1 0 15</inkml:trace>
  <inkml:trace contextRef="#ctx0" brushRef="#br0" timeOffset="31487.85">10976 8484 0,'17'-17'0,"19"-2"0,-19 19 16,1 0-16,35-17 15,-36 17-15,1 0 0,0 0 16,17 17 0</inkml:trace>
  <inkml:trace contextRef="#ctx0" brushRef="#br0" timeOffset="31704.92">11046 8643 0,'18'17'16,"-1"-17"-16,2 0 0,-2 0 15,0 0-15,1 0 0,0 0 16,0 0-16,-1 0 0,0 0 16,2 0-16,-2 0 0,1 0 15</inkml:trace>
  <inkml:trace contextRef="#ctx0" brushRef="#br0" timeOffset="32980.61">13762 7972 0,'19'0'0,"-38"36"16,-33-1-1,34-18 1,0-17-16,-16 19 0,15-2 0,-16 1 16,18-1-16,0 2 0,-2-19 0,2 17 15,-1 0-15,1 1 16,-2-18-16,19 17 0,0 2 16,36-2-1,-1-17-15,36 0 16,-54 0-16,19 0 15,35 0-15,-37 0 16,20-17-16,-20 17 0,2 0 0,-18 0 16,18-19-16,-2 19 0,-16 0 0,0-17 15,0 17-15,16-18 16,-16 18-16,0-17 16</inkml:trace>
  <inkml:trace contextRef="#ctx0" brushRef="#br0" timeOffset="33202.87">13940 7884 0,'-36'18'16,"36"0"-16,-18 0 16,18-1-16,-17 18 0,17-17 15,-19 53-15,2-36 0,0 1 16,17 16-16,-18-35 0,18 19 0,0-1 15,-17 1-15,17-2 0,0-15 16,0 16-16,0-18 0,0 0 0,-19 2 16,38-2-16,-19 1 0,0-1 15,0 2-15</inkml:trace>
  <inkml:trace contextRef="#ctx0" brushRef="#br0" timeOffset="33612.67">12810 8714 0,'35'0'15,"1"0"-15,-19 0 0,37-18 0,-2 18 16,18 0-16,20 0 0,15 0 0,0 0 16,19-18-16,18 18 0,-1 0 15,35 0-15,195-18 16,-178 18-16,19 0 0,-19-17 0,2 17 16,-2-17-16,2 17 0,0-19 15,-19 19-15,0 0 0,-35 0 0,106-17 16,-141 17-16,-18 0 15,-17-18-15,0 18 0,-37 0 0,20 0 16,-37 0-16,0 0 0,19 0 16,-18 0-16,-1 0 15,-70-17 17</inkml:trace>
  <inkml:trace contextRef="#ctx0" brushRef="#br0" timeOffset="34963.3">12952 9314 0,'-18'34'15,"18"-16"1,-18 18-16,18-19 0,0 0 0,0 1 15,0 18-15,-18-19 0,18 19 0,0-19 16,0 18-16,0-16 0,0 15 16,0-16-16,0 18 0,-17-19 15,17 0-15,0 1 0,0 18 0,-17-19 0</inkml:trace>
  <inkml:trace contextRef="#ctx0" brushRef="#br0" timeOffset="35206.61">12298 9983 0,'0'0'16,"36"-17"-16,35-1 16,-36 18-1,1-17-15,16 17 0,1-19 0,0 19 16,-1 0-16,2-17 0,-1 17 0,-1 0 15,-16 0-15,17 0 0,-18 0 16,0-17-16,1 34 0,-2-17 0,2 0 16,-18 0-16,18 0 0,-19 17 0,0-17 15,1 19-15</inkml:trace>
  <inkml:trace contextRef="#ctx0" brushRef="#br0" timeOffset="35618.24">12705 10283 0,'-53'17'15,"35"-17"1,0 19-16,0-19 0,-35 35 16,36-18-16,-18-17 0,18 19 15,-2-2-15,2-17 0,-1 17 0,1 1 16,-2 0-16,2 0 15,17-1 1,17 0-16,2 1 16,-2-18-16,1 18 0,-1-18 15,19 0-15,-19 0 0,18 0 0,1 0 16,-1 0-16,-17 0 0,17 0 16,-18 0-16,19 0 0,-18-18 0,-1 18 0</inkml:trace>
  <inkml:trace contextRef="#ctx0" brushRef="#br0" timeOffset="35838.04">12845 10319 0,'-17'-19'0,"-1"55"15,1-18-15,17-1 16,0 2-16,-19-2 0,19 0 0,0 19 15,-17-18-15,17 16 0,0-16 16,-17 18-16,17-19 0,0 0 0,0 19 16,0-18-16,0-1 0,0 2 15,0-2-15,0 0 0,0 1 0,17-18 16,-17 17-16</inkml:trace>
  <inkml:trace contextRef="#ctx0" brushRef="#br0" timeOffset="36295.48">13674 9736 0,'0'18'16,"0"35"0,0-36-1,-17 19-15,17-18 0,0 16 0,0-15 16,0 16-16,0-18 0,-17 2 15,17 15-15,0-16 0,-19 0 0,19 0 16</inkml:trace>
  <inkml:trace contextRef="#ctx0" brushRef="#br0" timeOffset="36471.08">13445 9983 0,'17'-17'16,"19"17"0,-1-18-16,1 18 15,-19 0-15,18 0 0,1 0 0,52 0 16</inkml:trace>
  <inkml:trace contextRef="#ctx0" brushRef="#br0" timeOffset="36803.65">14521 9578 0,'0'70'0,"0"-35"16,0-16-16,0 15 0,0 54 15,0-52 1,0-18-16,0 16 0,-17-15 0,17 16 0</inkml:trace>
  <inkml:trace contextRef="#ctx0" brushRef="#br0" timeOffset="37029.28">14186 10142 0,'18'-18'16,"-1"18"-16,54-17 15,-35 0-15,-2 17 16,2 0-16,16 0 0,-16-18 0,194 18 16,-178 0-1,1-18-15,-17 36 0,-1-36 16,18 36-16,-18-18 0,-18 0 0,19 18 15,-19-18-15</inkml:trace>
  <inkml:trace contextRef="#ctx0" brushRef="#br0" timeOffset="37497.87">14645 10390 0,'-53'34'15,"53"-16"-15,-35 52 16,16-52-16,19 18 0,0-2 16,0-15-16,0 16 0,0-18 0,19 19 15,-2-19-15,-17 1 0,18-1 16,-1 2-16,2-2 0,-19 0 15,17-17-15,0 0 0,-17 18 0,18-18 16,-18-18 0,-18-16-1,1 34-15,17-19 0,-17 19 0,-2-17 16,2 17-16,-1-18 16,1 1-16,-2 17 0,19-17 15,-17 17-15</inkml:trace>
  <inkml:trace contextRef="#ctx0" brushRef="#br0" timeOffset="37994.96">15668 9719 0,'0'71'0,"0"-54"0,0 54 16,-18-37-16,18-15 16,0 16-16,0 1 0,-17-19 0,17 0 15,0 19-15</inkml:trace>
  <inkml:trace contextRef="#ctx0" brushRef="#br0" timeOffset="38180.05">15509 10019 0,'17'-17'0,"1"17"16,0-19-1,0 19-15,35 0 16,-18 0-16,1 0 0,-2-17 16</inkml:trace>
  <inkml:trace contextRef="#ctx0" brushRef="#br0" timeOffset="38366.37">16338 9631 0,'0'-17'15,"0"51"17,-17 37-17,17-54-15,-19 19 0,19-18 16,-17 16-16,17 2 0,0-18 16,-17 16-16,17-15 0,0 16 0,-18-18 15</inkml:trace>
  <inkml:trace contextRef="#ctx0" brushRef="#br0" timeOffset="38582.53">15985 10178 0,'17'-18'15,"2"0"-15,52 0 16,-54 18-1,18 0-15,1 0 0,-2 0 0,2-17 16,87 17 0,-87 0-16,-1 0 0,1 0 0,-2 0 15,-16 0-15,18 17 0,-19-17 16</inkml:trace>
  <inkml:trace contextRef="#ctx0" brushRef="#br0" timeOffset="39109.31">16480 10319 0,'17'71'0,"0"-54"0,-17 18 16,18-17-16,-18 0 0,0 16 0,0-16 15,0 18-15,0-19 0,-18 0 16,1 2-16,0-2 0,17 1 15,-19-1-15,2-17 0,-1 19 0,1-19 16,-2 0-16,-15 0 0,16-19 16,18 2-1,18-1-15,35-35 16,-36 36 0,1-1-16,18 0 0,34-70 15,-52 53 1,16-1-16,-16-16 15,-18 16-15,-18-16 16,18 33-16,-17 2 0,17 0 16,-17 17-16,-1-18 0,0 18 15,0-18-15,1 18 0,0 0 16,-2 0-16</inkml:trace>
  <inkml:trace contextRef="#ctx0" brushRef="#br0" timeOffset="39315.51">17168 9807 0,'0'36'31,"0"33"-15,0-50-16,0 16 0,-19-18 15,19 19-15,0-19 0,0 19 16,-17-1-16,17-18 0,0 1 0,0 0 16,0 0-16,-18-1 0,18 0 0</inkml:trace>
  <inkml:trace contextRef="#ctx0" brushRef="#br0" timeOffset="39484.3">17044 10054 0,'0'0'16,"0"-18"0,17 18-16,-17-17 15,17 17-15,2 0 0,-2 0 0,1-17 16,18 17-16,-19 0 0,0 0 16,54-19-16</inkml:trace>
  <inkml:trace contextRef="#ctx0" brushRef="#br0" timeOffset="39677.76">18084 9560 0,'18'-17'0,"-36"52"16,18-18-16,0 2 0,-18 50 15,18-33-15,0-1 16,0 1-16,0-2 0,0 2 15,-17-1-15,17 1 0,0-1 0,-17 1 16,17-2-16,0-16 0,-18 0 0</inkml:trace>
  <inkml:trace contextRef="#ctx0" brushRef="#br0" timeOffset="39893.94">17608 10266 0,'0'-18'16,"17"18"-16,2-17 0,51-2 16,-35 19-1,18-17-15,-18 17 0,18 0 16,18-17-16,-18 17 0,-1-18 16,2 18-16,-1 0 0,-18 0 0,18 0 0,-18 0 15,1 0-15,-19 18 0,18-18 16,-17 0-16,-18 17 0</inkml:trace>
  <inkml:trace contextRef="#ctx0" brushRef="#br0" timeOffset="40159.26">17837 10530 0,'-35'18'0,"35"0"15,-17-1-15,17 0 16,-19 2-16,19-2 0,0 1 16,-17 18-16,0 16 15,-1 1-15,0-18 0,18-17 16,0 0-16,-18 16 0,18-16 15,0 0-15</inkml:trace>
  <inkml:trace contextRef="#ctx0" brushRef="#br0" timeOffset="40521.44">18190 10636 0,'-36'0'16,"72"0"-16,-89 0 16,36 18-16,-1-1 0,0 2 15,0-2-15,1 0 16,17 1-16,0-1 0,0 2 16,0-2-16,17-17 15,19 17 1,-1-17-1,-18 0-15,-17-17 0,19 17 16,16-36-16,-18 19 16,-17-1-16,19 1 15,-19 0-15,0-2 16,0 2 0,-19-1-16,2 18 15,-1 0 1,1 0-16,17 18 0</inkml:trace>
  <inkml:trace contextRef="#ctx0" brushRef="#br0" timeOffset="40818.62">18384 10707 0,'0'35'16,"18"-35"-16,-18 17 16,18-17-16,-1 0 15,-17 19-15,17-19 0,19-19 0,-18 19 16,-1-17-16,0 17 16,2-18-16,-19 1 0,0 0 15,17 17-15,-17-19 0,-17 2 0,17-1 16,-19 1-16,-33-19 15,16 19-15,19-1 16,-18 18-16,-1-18 0,-17 0 16,-16 18-16,15-17 0,-16 17 0</inkml:trace>
  <inkml:trace contextRef="#ctx0" brushRef="#br0" timeOffset="43056.73">6601 5979 0,'53'19'31,"-18"-2"-31,54 0 0,-37 1 0,19-1 15,0 2-15,17-2 0,18 0 16,-18 1-16,18 0 0,18 0 16,-19-1-16,19 0 0,-1-17 0,1 19 15,0-19-15,16 0 0,1 17 16,35-17-16,-35 0 0,1 0 0,-1 0 16,0 0-16,1 0 0,-2 0 0,1 0 15,-17-17-15,0 17 0,-1-19 16,1 19-16,-19-17 0,19 0 0,-36-1 15,124-18-15,-124 19 16,0 0-16,-17-19 0,-1 18 0,1 1 16,-19-19-16,1 19 0,1-1 15,-20 1-15,20-19 0,-1 19 0,-18-1 16,-1-18-16,2 19 0,-18 0 16,18-1-16,-19 0 0,18 0 0,-17-16 15,17 15-15,-18 2 0,1-18 0,0 18 16,0-19-16,-1 1 0,0-1 15,-17 19-15,0-19 0,19 1 0,-19-18 16,0 18-16,0-18 0,0-1 0,0 2 16,0-1-16,-19-70 15,-15 70-15,16 0 0,-18-18 0,2 19 16,-20-1-16,1-1 0,-18 1 16,2 1-16,-20-1 0,18 18 0,-17-1 15,-17-17-15,17 18 0,-19 0 16,19 17-16,-17-17 0,-37-1 0,37 19 15,-19-18-15,19 16 0,-19 2 16,18 0-16,-35-1 0,17 1 0,-35-2 16,37 19-16,-2-17 0,0 0 0,1 17 15,-1-18-15,-17 18 0,18 0 16,-142-18-16,142 18 0,-18 0 16,17 0-16,-18 0 0,20 0 0,15 0 15,-16 0-15,18 0 16,-2 18-16,-105 0 0,107-18 15,0 17-15,-2 0 0,2 2 0,17-2 16,-19 1-16,19-1 0,0 19 0,0-19 16,17 18-16,-17-16 0,18 15 15,-1 2-15,0-1 0,1 0 0,18 1 16,-2-2-16,1 20 0,0-18 16,18-2-16,0 20 0,-1-2 0,2 1 15,-37 35-15,52-35 0,-15-18 16,16 1-16,-18 17 15,19-18-15,-18 18 0,17-18 0,-17 53 16,18-35-16,-1 1 0,18-2 0,-18 1 16,18-18-16,0 1 15,0-2-15,18 20 0,0-1 0,-1-1 16,0-16-16,19 17 0,-1-18 0,1 0 16,33 18-16,-15-17 0,34-19 15,0 18-15,1-16 0,16-2 0,1 0 16,18 1-16,176-1 0,-124 2 15,-35-19-15,35 0 0,19 0 16,-19-19-16,18 19 0</inkml:trace>
  <inkml:trace contextRef="#ctx0" brushRef="#br0" timeOffset="43591.31">14186 5115 0,'142'17'16,"-108"-17"-16,20 0 0,16 0 15,1 0-15,-19 0 0,19 0 0,-1 0 16,-16 0-16,-1 0 0,-1 0 0,1 0 16,-18 0-16,1 0 0,-1 0 15,1 0-15,16 0 16,-34-17-16,0 17 0</inkml:trace>
  <inkml:trace contextRef="#ctx0" brushRef="#br0" timeOffset="43856.67">14945 4763 0,'264'88'15,"-211"-53"-15,-18-18 0,18 19 16,53 52-1,-88-53-15,17 1 0,-35-2 0,17-15 16,-17 16-16,0-18 0,-17 19 0,0-1 16,-1 1-16,-18-2 15,19 2-15,-71 34 0,52-34 0,1-2 16,-1-15-16,-16 16 0,16-18 16,19 2-16</inkml:trace>
  <inkml:trace contextRef="#ctx0" brushRef="#br0" timeOffset="45283.87">17714 4110 0,'18'-18'0,"-36"53"0,18-18 15,0 2-15,-18 16 0,18-18 16,-18 19-16,1-1 0,17 1 0,-17-19 15,17 18-15,-19 1 0,19-19 16,0 19-16,-17-19 0,17 1 0,0-1 16,0 2-16,0-2 0,17 0 15,-17 1-15,19-18 16,-2 17-16,0-17 0,19 0 16,-1 0-16,-18 0 15,2-17-15,-2 17 0,18 0 0,-18 0 16,2-18-16,-2 18 0,1 0 0,-1-17 15</inkml:trace>
  <inkml:trace contextRef="#ctx0" brushRef="#br0" timeOffset="45775.98">17678 4374 0,'18'0'15,"0"-18"1,0 18-16,16 0 0,-15 0 16,16 0-16,-18 0 0,0-17 15,19 17-15,-18 0 0,-1 0 0,2 0 16,-19-17-16,17 17 0,0 0 16,-17-18-16,-17 0 15,0 0-15,-2 18 0,-16-53 16,18 53-1,-2-17-15,2-1 0,17 1 0,-17-2 16,-1 19-16,18-17 16,0 0-16,18 17 15,-18-18-15,17 18 0,0 0 0,2-17 16,16 17-16,-18 0 0,19-19 16,17 19-16,-18 0 15,-18-17-15,19 17 0,-18 0 0,-1-17 16,0 17-16,2 0 0,-2 0 15,1 0-15,-1 0 0,2 17 16,-2 0-16,-17 2 16,0 33-1,0-35-15,0 2 0,0 16 0,0-18 16,0 19-16,-17-19 0,17 19 16,0-18-16,-19-1 0,19 18 0,-17-17 15,17 0-15,-18 16 0,18-15 16,-17-2-16,17 1 0,-19-1 15</inkml:trace>
  <inkml:trace contextRef="#ctx0" brushRef="#br0" timeOffset="45966.52">18066 4356 0,'36'18'0,"16"0"16,-33 0 0,-2-18-16,1 17 0,-1-17 0,2 17 15,-2-17-15,18 0 16,-18 19-16,2-19 0</inkml:trace>
  <inkml:trace contextRef="#ctx0" brushRef="#br0" timeOffset="46725.95">18649 4004 0,'-17'0'31,"34"0"-31,-53 0 0,19 18 0,17-1 16,-18 0-16,1 2 0,17-2 0,-19 18 15,2-18-15,17 19 0,-17 18 16,-1-20-16,18-16 0,0 18 16,0-19-16,0 0 0,0 1 0,0 0 15,0 0-15,18-1 0,-18 0 0,17 2 16,0-19-16,2 17 0,-2-17 16,1 0-16,-1 0 0,2 0 15,-2-17-15,0 17 0,1-19 0,-1 19 16,2-17-16,-2 0 0,0-1 15,-17 0-15,18 0 0,0 1 16,-18 0-16,0-1 0,18 0 0,-18 0 16,0 1-16,0 0 15,17 17-15,-52 17 32,17 0-17,18 1-15,-18 0 0,18 0 16,0-1-16,-17 0 15,17 1-15,0 0 0,17-18 0,-17 18 16,18-1-16,0-17 16,0 0-1,-1 0 1,0-17-16,2-1 16,-2 18-1,1-18 1,-36 54 31,36-36-32,-18 17-15,17 0 16,0-17 0,2-17-1,-2 17-15,1 0 16,-1 0-16,2-17 15,-2 17 1,0 17 0,1-17 15,0 0-15</inkml:trace>
  <inkml:trace contextRef="#ctx0" brushRef="#br0" timeOffset="47163.94">19513 3898 0,'0'-18'0,"-17"36"15,-1 0-15,18 0 16,-18-1-16,18 0 0,-35 71 15,18-52-15,17-18 16,-19 16-16,19 2 0,-17-18 0,17-1 16,-18 19-16,18-19 0,0 1 15,0 0-15,0 0 0,0-1 0,-17 0 16,17 1-16,0 0 16,0 0-1,-19-36 16,2 18-15,-18 0-16,18 0 16,-2 18-16,2-18 15,0 0-15,-1 17 0,0 0 16,18 2 0,-18-19-16,36 17 15,0-17 1,0 0-16,-1 0 0,0 0 15,19 0-15,-18 0 16</inkml:trace>
  <inkml:trace contextRef="#ctx0" brushRef="#br0" timeOffset="47391.51">19618 4286 0,'-17'36'47,"0"-2"-32,17-16-15,0 18 16,0-19 0,0 0-16,17 2 31</inkml:trace>
  <inkml:trace contextRef="#ctx0" brushRef="#br0" timeOffset="47523.63">19742 4251 0,'-17'0'16,"17"-17"-16,-17 17 31</inkml:trace>
  <inkml:trace contextRef="#ctx0" brushRef="#br0" timeOffset="47799.85">19796 4268 0,'0'36'0,"0"-18"0,0-1 32,0 0-17,17 1 1,36-36 31,-35 18-47,-1 0 0,0 0 15,2 0-15,-2 0 0,1-17 16,-1 17-16,0 0 0</inkml:trace>
  <inkml:trace contextRef="#ctx0" brushRef="#br0" timeOffset="49028.11">18649 4922 0,'-17'17'16,"-2"-17"-16,19 17 0,-17 1 15,17 0-15,0 0 0,-18-1 0,18 36 16,0-35 0,0-1-16,18 0 0,-18 2 15,17-2-15,2-17 0,-19 18 0,17-18 16,0 0-16,1 0 0,18 0 15,-2-35 1,-34 16 0,0 2-16,0 0 0,0-1 15,-17-35 1,0 36-16,-2-1 0,19 0 0,-17 0 16,-1 18-16,18-17 0,-17 17 15,0 0 1,-2 17-16,2-17 15</inkml:trace>
  <inkml:trace contextRef="#ctx0" brushRef="#br0" timeOffset="49722.48">18878 4922 0,'0'34'15,"-17"-16"1,17 0-16,0 0 16,0-1-16,0 18 15,0-17 1,17 0-16,1-18 16,-1 0-1,0 0-15,19 0 16,-18-18-1,-1 18-15,2 0 16,-2 18 0,0-1 15,1-17-15,0 17-16,0-17 0,-1-17 15,0 17-15,1 0 0,0-17 16,0-1-16,35-35 15,-36 18-15,1 17 16,-18 0-16,17 1 0,-17 0 16,17-2-16,-17 2 0,19 17 15,-19-18-15,17 18 0,-17 18 32,0 35-17,-17-36-15,17 1 0,0 0 0,-19 17 16,19-18-16,-17 1 0,17 0 15,0 0-15,-17-1 0,17 0 0,-18 2 16,18-2 0,18-34 15,-1-2-15,-17 2-16,17 17 0,2-17 15,-2 17-15,-17-18 0,18 18 16,-1 0-1,2 0-15,-2 0 16,0 18 0,-17-1-1,0 0 1,0 2 0</inkml:trace>
  <inkml:trace contextRef="#ctx0" brushRef="#br0" timeOffset="49925.91">19725 4851 0,'-36'17'15,"36"18"-15,-17-16 0,17 15 16,-18-16-16,18 0 0,-17 17 15,17-18 1,-19 1-16,19 0 0</inkml:trace>
  <inkml:trace contextRef="#ctx0" brushRef="#br0" timeOffset="50239.19">19901 5098 0,'-17'53'15,"17"-36"1,-18-17 0,18 18-16</inkml:trace>
  <inkml:trace contextRef="#ctx0" brushRef="#br0" timeOffset="50433.94">19954 4956 0,'0'-17'0</inkml:trace>
  <inkml:trace contextRef="#ctx0" brushRef="#br0" timeOffset="50982.58">20130 5098 0,'0'-18'0,"-17"53"63,17-18-63,0 2 15,0-2 1,0 1-1,17-1-15,37-17 16,-37 0-16,0-17 16,1 17-16,0 0 15,0-18-15,-1 18 0,0-17 0,2 17 16,-2-19-16,1 19 0,-1 0 16,0-17-1,2 17-15,-2 17 16,1-17-1,-18 19-15,0-2 16,0 1 15,-18-18-15</inkml:trace>
  <inkml:trace contextRef="#ctx0" brushRef="#br0" timeOffset="51378.71">21206 4180 0,'0'-17'15,"18"17"1,-1 0-16,2 0 0,-2-19 0,0 19 16,19 0-16,-1 0 0,1 0 15,-1 0-15,-18-17 0,19 17 0,-1 0 16,18 0-16,-18 0 0,-17 0 16,0 0-16,-1 0 0,0 0 15,1 0-15,0-17 0</inkml:trace>
  <inkml:trace contextRef="#ctx0" brushRef="#br0" timeOffset="51689.21">21560 3916 0,'52'0'16,"18"35"0,-52-35-16,18 17 0,-19 19 15,0-18-15,2-1 0,16 0 0,-18 2 16,-17 16-16,19-18 0,-2 0 16,-17 2-16,0-2 0,17 1 0,-17-1 15,-17 2-15,17 15 0,0-16 0,-17 0 16,-2 0-16,2 16 0,-1-16 0,1 0 15,-2 0-15,-33 16 16,34-15-16,-17-2 0,18 1 16,-1-1-16,0-17 0</inkml:trace>
  <inkml:trace contextRef="#ctx0" brushRef="#br0" timeOffset="60174.91">23712 3598 0,'-19'18'31,"2"0"-31,-1 16 16,-35 73 0,36-72-16,17 18 0,-18 0 0,1-18 15,17-18-15,0 54 0,0-54 16,0 2-16,0 16 0,0-18 15,17 0-15,-17 2 0,18-2 0,-18 1 16,17-18-16,19 17 16,-19-17-16,1 0 15,-1 0-15,2 0 0,-2 0 16,-17-17-16,0-1 16,-17-18-16,-2 19 15,19 0-15,-17 17 0,-1-18 16,1 18-16,-2-17 0,2 17 15,0 0-15,-1 0 16,1 0-16,-2 0 0,19 17 0</inkml:trace>
  <inkml:trace contextRef="#ctx0" brushRef="#br0" timeOffset="60455.77">24398 3986 0,'-34'18'16,"16"0"-1,1-1-15,-2 0 0,2 2 16,-18 16-16,17-18 0,-17 19 0,-36 16 15,37-16-15,-37 17 16,52-35-16,2 16 16,-18-34-16,18 36 0,-2-18 15,2-1-15</inkml:trace>
  <inkml:trace contextRef="#ctx0" brushRef="#br0" timeOffset="60672.14">24610 4056 0,'-34'36'0,"16"-18"16,0 16-16,-17-15 0,-1 16 0,1 1 15,-1-2-15,-16 2 0,-1 16 0,-70 36 16,70-52-16,17 18 15,-16-20-15,-36 37 0,52-36 16,-17 18-16</inkml:trace>
  <inkml:trace contextRef="#ctx0" brushRef="#br0" timeOffset="63655.79">9388 5768 0,'36'0'31,"-19"18"-31,0-18 0,37 17 16,-18-17 0,-19 17-16,18 1 0,1-18 0,-2 18 15,20-18-15,-1 18 0,-1-1 0,1-17 0,18 17 16,34 2-1,-34-19-15,-18 17 0,-1-17 0,19 0 16,53 18-16,-71-18 0,-1 0 16,2 0-16,16 0 15,-16 0-15,16-18 0,-18 18 0,2 0 0,-1-17 16,-1 17-16,1 0 0,-18-19 0,1 19 16,17-17-16,-18 17 0,18-17 15,-18-1-15,1 18 0,-1-18 0,1 0 16,-2 18-16,2-17 0,-18 0 15,16 17-15,-16-18 0,18 0 16,-19 0-16,19 1 0,-1 0 0,-18-2 16,2 2-16,-19-1 15,17 1-15,0 0 0,-17-2 0,18 2 16,-18-1-16,0-35 0,0 36 16,0-1-16,0 0 0,0 0 15,0-16-15,-18 16 0,1-35 16,0 17-16,-2 19 0,19-18 0,-35-1 15,18 19-15,-2-18 0,2-1 16,0 1-16,-1 17 0,0-17 16,0 0-16,1-1 0,-18 19 0,-1-54 15,2 35-15,-2 2 0,18 16 16,-18-18-16,-52-16 16,54 16-16,-20 19 0,-51-36 15,-19 1-15,71 52 16,1-36-16,-72 18 0,72 1 15,-2-2-15,18 19 0,-16-17 0,16 17 16,-16-17-16,16 17 0,-17 0 16,1 0-16,-1 0 0,-1-18 0,2 18 15,-36 0-15,52 0 16,-17 0-16,-35 0 0,36 0 16,16 18-16,-17-18 0,1 0 15,-36 17-15,52-17 0,-18 0 16,2 17-16,-36 2 15,35-2-15,17 1 0,-16-1 0,-1-17 16,18 19-16,-1-2 0,1 0 16,-18 1-16,18-1 0,-18 19 15,36-36-15,-37 53 0,37-35 16,-2-1-16,-15 0 0,16 2 16,1 16-16,-2-18 0,2 36 15,0-35-15,17-1 0,-18 2 0,18 15 16,-18-16-16,18 0 0,-18 17 15,18-18-15,0 1 0,0 35 16,0-17-16,0-1 16,0-18-16,0 0 0,18 19 15,-18-18-15,18-1 0,0 2 0,16 33 16,20 1-16,-20-36 16,2 19-16,-1-18 0,54 16 15,-54 2-15,53-18 16,-52-1-16,-1 2 0,-1-2 15,-15-17-15,16 17 0,1-17 16,34 35-16,-52-35 0,16 19 16,-16-19-16,18 17 0,-19-17 15,0 0-15,19 17 0,-18 1 16,-1-18-16,2 18 0,-2-18 16,0 0-16,18 18 15,-35-1 1,19-17-16,-2 17 15,0-17 1,-17 18 0,18-18-1,0 0 17,-36-18 186,18 1-155,-18 17-16,18-17 0,-17 17-32,0 0 1</inkml:trace>
  <inkml:trace contextRef="#ctx0" brushRef="#br0" timeOffset="66410.87">23217 4551 0,'0'17'0,"0"1"15,17-1-15,2 2 0,-2-2 16,18 18-16,36 18 0,17 18 16,-18-37-16,54 20 15,-53-37-15,70 19 16,-89-19-16,19-17 16,141 18-16,-141-18 0,-1 0 15,1 0-15,52-18 0,-53 1 16,-16 17-16,-1-17 0,18-2 15,34-16-15,-52 18 0,-18-19 16,18 19-16,-1-1 0,2-18 0,52-16 16,-36 16-1,-17 2-15,0-20 0,18 20 0,-36 15 0,18-16 16,-18-1-16,18 2 0,-18-2 16,1 1-16,-2 0 0,-15-1 15,33-34-15,-33 35 0,-2-36 16,0 35-16,-17 2 0,0-2 15,0 1-15,0 0 0,-17-18 16,-19-35-16,19 35 0,-18 18 16,-1-18-16,-69-54 0,51 55 15,1 16-15,-18 1 0,-87-53 16,88 35-16,-107-18 16,89 18-16,-88-16 15,88 33-15,-89-52 0,1 34 16,70 20-16,-52-20 15,-20 1-15,90 36 16,-53-18-16,70 35 0,2-19 16,16 19-16,-89 0 15,72 0-15,-1 0 0,-52 36 16,70-18-16,-54 18 16,55-2-16,16-16 0,-16 18 15,-37 34-15,54-35 0,-35 53 16,35-52-16,-18 52 0,35-35 15,1-18-15,-19 70 16,19-69-16,17 18 0,-18-20 16,18 1-16,0 1 0,0-1 0,0 1 15,0-2-15,0 37 16,18-18-16,-18-18 0,17 18 0,19 35 16,-1-17-16,18 0 15,-36-54-15,18 19 16,36 16-16,-35-16 15,34 17-15,18-18 0,-36-18 16,-16 1-16,18 18 0,-2-19 16,18 0-16,-34 2 15,16 16-15,-16-18 0,-1-17 16,1 36-16,16-19 16,1 1-1,-53-1-15,18-17 16,0 19-16,0-19 15,-1 17 1,0-17 0,2 0-1,-2 17 1,1-17 62,-18-17 0,17 0-47,-17-2-31</inkml:trace>
  <inkml:trace contextRef="#ctx0" brushRef="#br0" timeOffset="67855.75">20872 8238 0,'-19'0'15,"55"-19"1,35 19 0,-37 0-16,20 0 0,-37 0 15,19 0-15,-1 19 16,-18-19-16,19 0 0,-36 17 16</inkml:trace>
  <inkml:trace contextRef="#ctx0" brushRef="#br0" timeOffset="67987.52">20801 8502 0,'35'0'16,"18"0"-16,-36 17 16,54-17-16</inkml:trace>
  <inkml:trace contextRef="#ctx0" brushRef="#br0" timeOffset="83899.82">22477 8079 0,'-89'0'0,"71"-19"16,1 19-1,52 0 17,-17 0-32,17 0 15,-18 0-15,37-17 16,-20 17-16,2 0 16,-1 0-16,1 0 15,-1 17 1,-35 2-16,0-2 15,0 18-15,0-16 0,0 33 16,0-16-16,-18 16 16,1 1-16,17-17 15,-17 16-15,17-35 16,0 2-16,-19 16 16,19-18-16,0 2 15,0-2-15,0 0 16</inkml:trace>
  <inkml:trace contextRef="#ctx0" brushRef="#br0" timeOffset="84103.91">22424 8467 0,'34'-19'31,"-15"19"-31,33-17 16,-157 53-16,227-72 0,-103 36 15,33 0 1,-16-17-16,16 17 0,-33 0 16,15-18-16</inkml:trace>
  <inkml:trace contextRef="#ctx0" brushRef="#br0" timeOffset="84257.7">23112 8326 0,'17'0'0</inkml:trace>
  <inkml:trace contextRef="#ctx0" brushRef="#br0" timeOffset="84690.91">23376 8114 0,'70'17'15,"-70"19"-15,0-1 16,-17-18-1,17 2-15,-36 33 0,19-34 16,-35 34-16,33-52 16,-16 54-16,18-37 15,-2 0-15,19 2 16,0-2 0,19-17-1,-2 0-15,37 0 16,-37 0-1,0 0-15,1 0 0,18-17 16,-2 17-16,-16-19 16</inkml:trace>
  <inkml:trace contextRef="#ctx0" brushRef="#br0" timeOffset="85167.6">23958 8150 0,'-212'17'16,"178"0"0,15-17-1,19 18 1,0-1-16,0 2 0,19-2 15,15 0 1,-16 1-16,-18 0 0,36 0 16,-36-1-1,0 19 1,0-19-16,-36 18 16,1-18-1,-1 2-15,1-19 16,-1 17-16,2 1 15,16-18 1</inkml:trace>
  <inkml:trace contextRef="#ctx0" brushRef="#br0" timeOffset="85451.62">24434 8238 0,'-70'34'32,"140"-68"-17,-282 192 1,90-70-1,-37 18 1,70-36-16,71-52 16,-16 0-16,34 0 15</inkml:trace>
  <inkml:trace contextRef="#ctx0" brushRef="#br0" timeOffset="85675.55">24610 8326 0,'-212'212'15,"54"-90"1,106-68-16,-72 34 15,53-35-15,36-18 16,-35 18-16</inkml:trace>
  <inkml:trace contextRef="#ctx0" brushRef="#br0" timeOffset="86509.8">23429 9155 0,'124'0'0,"-72"0"16,-16-19-16,35 19 0,-2 0 0,-16 0 15,18 0-15,53-17 0,-72 17 16,72-17-16,-71-1 16,-1 18-16,72-36 15,-53 19-15,-18 0 0,87-37 0,-86 20 16,-1-2-16,-1 18 0,1-18 15,71-52-15,-53 18 16,-36 35-16,-18-18 16,36-53-16,-35 70 15,-18-33-15,-18-72 16,1 105-16,-19-16 16,19-2-16,-37 1 0,20 0 0,-1 1 15,-1-2-15,-88-104 16,36 70-16,53 52 15,-71-52-15,54 36 16,-72-19-16,-18 0 16,-16 18-16,-1 0 15,71 35-15,-88-16 16,88 15-16,-71 19 0,70 0 16,-70 19-16,71-2 0,0-17 15,-88 35 1,18 18-16,87-17 0,-70 33 15,70-33-15,-88 87 16,106-70-16,18 1 16,-53 34-16,52 17 15,2-16-15,-2 34 16,36-70-16,0 1 0,-18-2 16,18 1-16,0 52 15,36 37-15,-1-37 16,-18-69-16,1-1 0,18 18 15,34 18-15,-16-18 16,68 18-16,-15-1 16,16-18-16,1 19 15,-54-54-15,89 54 16,-124-54-16,18 2 0,0 16 16,-35-18-16,16 2 15,-16-19-15</inkml:trace>
  <inkml:trace contextRef="#ctx0" brushRef="#br0" timeOffset="92282.16">5225 9084 0,'-35'-36'16,"53"19"0,-1 17-1,2 0-15,51 0 16,-18 0-16,2 17 0,87 1 15,-70-18-15,105 36 0,-88-19 16,17 19-16,2-19 16,15 1-16,90 52 0,-105-52 15,33 18-15,125 34 0,-123-35 16,68 18-16,-68-18 16,-36 1-16,17-19 0,-35 1 0,124 35 15,-17-18-15,15 1 16,-15-19-1,-2 0-15,-86-17 0,34 18 16,-53-18-16,54 0 16,-72-18-16,0 18 15,-17 0-15,88-17 0,-87 17 16,16-17-16,89-19 16,-107 36-16,1-18 0,-17 1 0,52-19 15,-53 19-15,18-18 16,-1-18-16,-33 35 15,-2-18-15,54-34 16,-54 52-16,1-16 16,0 15-16,0 2 0,-1-37 0,0 37 15,1-18-15,-18 18 16,18-2-16,17-33 0,-18 34 16,-17-17-16,19 18 0,16-37 15,-18 1-15,2 18 0,-19 18 16,17-19-16,-17-35 15,0 1-15,0-1 0,0 19 16,-17-1-16,-2-1 16,19 2-16,-35-36 0,18 35 15,-19-18-15,1-17 16,-1 52-16,19 2 0,-54-20 16,18 20-16,-52-37 15,-19 0-15,54 35 16,-54-16-16,71 35 0,-18-19 15,-87-17-15,-1 18 16,-17-18-16,0 18 16,87 18-16,1-2 15,0 2-15,-88-18 0,17 16 16,-17 2-16,87 0 16,-17 17-16,-70-18 15,106 18-15,-125 18 0,36-18 16,71 0-16,-70 17 15,70 0-15,0 2 16,0-19-16,-90 35 0,90-18 0,-176 36 16,87-18-1,106-16-15,-87 15 16,-1 20-16,-70 16 16,18 18-1,158-70-15,-71 35 16,1 18-16,70-19 15,-53 37-15,53-54 0,0 18 16,1-1-16,-38 55 16,21 15-16,33-68 15,1-1-15,17 52 0,0 19 16,18-72-16,18 90 16,0-72-16,17 1 0,1 0 15,123 123-15,-89-124 16,36 0-16,123 37 15,18-19-15</inkml:trace>
  <inkml:trace contextRef="#ctx0" brushRef="#br0" timeOffset="93357.92">9636 9860 0,'-19'71'15,"19"-19"1,-17 72-16,17-53 16,-18 105-16,18-88 0,0 0 15,0 1-15,0 16 0,0-17 16,18 0-16,-18 0 0,17 19 0,2 69 15,-2-88-15,0 0 16,54 71-16,-35-89 0,-1 1 16,-1 17-16,20-17 0,-1-1 0,52 72 15,2-1 1,16-17-16,-53-55 0,196 126 16,-161-124-1,0-18-15,-17-1 0,19 1 16,140 53-16,35-18 15,0-35-15,35-17 0,19-1 16,-177-18 0,211-17-16,-194 0 0,19 0 15,-2 0-15,195 0 0,18 19 16,-212-19-16,18 0 16,-18-19-16,423 19 15,-193-17-15,-213-1 16,213-18-16,-212 19 0,210-36 15,2-17 1,-213 34-16,196-52 0,174-53 16,-228 36-1,-194 69-15,141-70 16,-141 53-16,105-70 0,72-89 16,-126 88-1,-15-34-15,-19 16 16,19-16-16,-19 16 15,-106 73-15,230-160 16,-229 175 0,0 1-16,122-70 15,-105 34-15,-35 54 16,18-18-16,70-70 16,-89 70-1,-33 36-15,16-1 16,1-18-16,-2-17 15,-16 18-15,18 18 16,-19-2 0,-17 2-1,17 0-15,-17-1 16</inkml:trace>
  <inkml:trace contextRef="#ctx0" brushRef="#br0" timeOffset="93760">22300 10248 0,'70'0'15,"160"-17"17,-160 17-32,18-19 15,-17 19-15,0 19 16,-37-19-16,20 17 15,-18 35-15,16 2 16,-34 16-16,0-34 16,-18 16-16,17 19 15,-17 0-15,0-18 16,17-36-16,-17 18 16,0-16-16,0-2 15,18 0-15,0 37 0,0-37 16</inkml:trace>
  <inkml:trace contextRef="#ctx0" brushRef="#br0" timeOffset="96707.56">17714 11183 0,'18'17'0,"-1"-17"0,0 18 16,2-18-16,-2 18 0,1-18 0,-1 18 15,0-1-15,19-17 0,-1 0 16,-16 17-16,15-17 0,2 19 0,34-19 16,-34 0-16,-2 17 15,2-17-15,35 0 0,17-17 16,-53 17-16,1 0 15,17 0-15,-18-19 0,-1 19 0,2-17 16,35 0-16,0-1 16,-37 0-16,2 0 15,-1 18-15,18-34 0,-18 15 16,-18 2-16,19-1 0,-18 1 0,-1 0 0,36-37 16,-35 37-1,0-2-15,0-15 0,-1 16 0,0-35 16,19 0-16,-18 1 15,-1 33-15,-17-16 0,17 1 16,-17 15-16,0-16 0,19-1 16,-19 19-16,17-54 0,1 37 15,-1-37-15,-17 54 16,17-54-16,-17 35 16,19 1-16,-19-35 0,0 52 0,0-18 15,0 19-15,0-18 0,0-1 16,-19 2-16,2-20 0,17 18 15,-35-33-15,18 33 0,-2 1 16,2-1-16,0 2 0,-37-37 16,20 35-16,16 19 0,-71-71 15,37 34 1,-1 2-16,18 34 16,-18-17-16,35 18 0,0-2 15,-17 2-15,-18-1 0,1-18 16,33 36-16,-16-17 15,-1 17-15,2-17 16,16 17-16,-18 0 0,-16-18 16,34 18-16,0 0 0,-16 0 15,-20 18-15,1-18 16,36 0-16,-18 0 0,-1 0 0,19 17 16,-37-17-16,20 17 15,-20-17-15,37 19 16,-19-19-16,1 35 0,-1-35 15,19 17-15,-35 19 0,16-19 16,-17 19-16,35-18 16,-52 52-16,52-35 15,-52 36-15,52-35 16,-18-19-16,2 35 16,16-16-16,-18 17 0,19-1 15,0-33-15,-1 50 16,-18-15-16,36-18 15,-34 16-15,34-34 0,-19 52 16,2-52-16,17 17 16,-18 70-1,18-69-15,-17-1 0,17 1 16,0 17-16,0-18 16,17 36-16,-17-37 0,18 2 15,18 52-15,-2 0 16,-16-52-16,0-1 0,17 0 15,-18 1-15,19 17 16,-18-36-16,16 37 0,-15-2 16,16-16-16,-18-19 15,19 18-15,-19-17 16,1 0-16,-1-1 0,19 0 16,17 19-16,-1-18 15,-16-1-15,-1-17 0,72 17 16,-73 2-16,2-19 15,16 0-15,-16 17 0,-1-17 16,-18 0-16,37 0 16,-18 0-16,-19 0 0,0 0 15,1 0-15</inkml:trace>
  <inkml:trace contextRef="#ctx0" brushRef="#br0" timeOffset="104353.62">11117 5679 0,'17'19'0,"1"-2"16,-18 0-16,36 19 0,-19-18 15,19 34-15,16 18 16,-16-34 0,-1-1-16,-18 1 15,2-19-15,-2 1 16,0-1-16,-17 2 0,18-19 16</inkml:trace>
  <inkml:trace contextRef="#ctx0" brushRef="#br0" timeOffset="104976.05">11081 5679 0,'-35'0'16,"35"19"-16,-17-2 0,17 0 16,-17 19-16,-2-1 15,19-18-15,-17 1 16,17 0-16,-18 17 0,18-18 16,0 2-16,-17-2 15,17 1 1,17-36 15,1 1-15,-18-2-16,0 2 0,17 0 0,-17-1 15,19 0-15,-2 0 16,-17 1-16,17 0 0,1-1 16,-18 0-1,17 18-15,2 0 16,-2 0-16,0 0 15,1 18 1,18-18-16,-36 18 16,17-18-1,19 0 1,-19 0-16</inkml:trace>
  <inkml:trace contextRef="#ctx0" brushRef="#br0" timeOffset="107792.66">18508 10530 0,'0'-18'16,"-18"18"-1,1 0 1,-2 0-1,2 18 1,0-18 0,-1 18-1,0-18-15,18 18 0,-18-1 16,1 0-16,17 19 0,-17-18 16,17-1-1,0 2-15,0-2 0,0 0 16,0 18-16,17-16 15,-17-2-15,17 0 0,19 1 16,-18 0 0,16-18-16,-15 0 0,-2 0 15,18 0 1,-18 0-16,2-18 0,-19 0 16,17 18-16,-17-17 15,0 0-15,0-2 16,-17 2-16,-2 17 15,2 0-15,-18-18 0,18 18 16</inkml:trace>
  <inkml:trace contextRef="#ctx0" brushRef="#br0" timeOffset="110611.5">2862 14516 0,'18'0'15,"-18"-17"-15,17 17 16,-34 17 31,-37 19-32,37-18 1,0-1-16,-1-17 0,0 17 16,-17 19-16,18-18 0,-2-1 15,2-17-15,-1 19 0,1-2 16,17 0-16,-19-17 0,19 18 0,-17-18 16,17 17-16,0 2 15,17-19-15,-17 17 16,36 0-16,18-17 0,-20 0 15,-16 18-15,18-18 16,-2 0-16,37 0 0,-35 0 0,35 0 16,-37 0-16,-16 0 15,18-18-15,-19 18 0,0 0 16,1 0-16,0-17 0,0 17 16,-1-17-16</inkml:trace>
  <inkml:trace contextRef="#ctx0" brushRef="#br0" timeOffset="110880.59">3004 14446 0,'-36'36'15,"18"-19"-15,1 18 0,17-17 16,-19 17-16,19 1 0,-17-19 16,0 54-16,-1-19 15,0-16-15,18-1 0,-18-17 16,1 34-16,0-33 0,-1 33 16,18-35-16,-18 2 0,18-2 15</inkml:trace>
  <inkml:trace contextRef="#ctx0" brushRef="#br0" timeOffset="111144.52">3285 14728 0,'0'0'16,"17"18"0,-17-1-16,0 2 15,0-2-15,0 18 0,-17-17 0,17 0 16,-17 35-16,-1-18 16,1-1-16,-2-15 15,2-2-15,0 1 0,17-1 16,-18 2-16</inkml:trace>
  <inkml:trace contextRef="#ctx0" brushRef="#br0" timeOffset="111623.81">3990 14411 0,'-17'0'0,"-36"53"32,35-18-32,1-18 15,17 1-15,-17 18 0,-1 17 16,0-18-16,18-18 0,0 2 16,18-2-16,-18 18 15,18-18-15,-1 2 0,0-2 31,1-34-15,-36-2 0,1 2-1,0-1-15,-1 18 16,0 0-16,0-17 16,1 17-16,0 0 15</inkml:trace>
  <inkml:trace contextRef="#ctx0" brushRef="#br0" timeOffset="111833.77">4009 14658 0,'35'53'16,"-35"-36"-16,0 1 15,0-1-15,0 2 0,0 15 16,-18 20-16,1-37 16,17 19-16,-19-19 0,19 1 0,-17-1 15,17 0-15</inkml:trace>
  <inkml:trace contextRef="#ctx0" brushRef="#br0" timeOffset="112459.6">4502 14394 0,'0'-19'0,"35"55"16,-35-1-1,19-17-15,-19 17 16,-19 0-16,2-17 0,17 0 16,-18-1-16,1 0 0,17 2 15,-17-2-15,-2 1 0,2-1 16,-1 2-1,36-55 17,-1 36-32,2-35 15,-2 35-15,35-53 16,-33 35-16,-2 0 16,0-17-16,-17 18 0,18-1 0,-18 0 15,18 0-15,-18-16 0,0 15 16,0 2-16,-18-18 15,18 16-15,-18 2 0,1 0 16,0 17 0,-2 0-16,2 0 0,-1 0 15,1 17-15,0 0 0</inkml:trace>
  <inkml:trace contextRef="#ctx0" brushRef="#br0" timeOffset="112726.5">5085 14604 0,'0'54'0,"0"-37"0,0 19 15,0-1-15,-19-18 0,19 2 16,-17 15-16,17-16 0,-17 18 16,-37 17-16,37-18 0,0-18 15,-1 0-15,0 2 0,0-2 16,1 1-16</inkml:trace>
  <inkml:trace contextRef="#ctx0" brushRef="#br0" timeOffset="113222.46">5842 14323 0,'-17'-19'0,"0"55"31,-1-36-31,18 18 0,-18 35 16,0 0-16,1-1 0,17-16 16,0-18-16,0 16 15,0-15-15,0 33 0,0-33 16,17-19-16,-17 17 0,0 0 0,18 1 16,0-18-16,-18 17 15,18-34 16,-36-1-15,18 1-16,-18 0 0,0 17 16,1-19-1,0 19-15,-1-17 16</inkml:trace>
  <inkml:trace contextRef="#ctx0" brushRef="#br0" timeOffset="113567.03">5984 14428 0,'-18'36'31,"1"16"-15,17-34-16,0 0 0,17 0 15,-17 16-15,18-15 16,-1-2-16,-17 1 0,36-1 16,-1 2-16,-17-19 0,0 0 15,-1 0-15,0 0 0,2 0 16,-2-19-16,1 2 16,-18-1-16,0 1 0,0-2 15,0 2-15,-18 0 16,1-19-16,-2 18 15,2 18-15,17-17 16,-35 17-16,17 0 16</inkml:trace>
  <inkml:trace contextRef="#ctx0" brushRef="#br0" timeOffset="113870.47">6354 14411 0,'-17'35'0,"17"-17"0,0 0 15,0-1-15,0 0 0,0 1 16,0 0-16,17 17 0,1-35 16,0 17-16,0 2 0,-1-19 15,36 17-15,-35-17 16,-1 0-16,0 0 0,2 0 0,-2 0 15,1-17-15,-1-2 0,2 2 16,-19-18 0,0 17-16,0 0 0,-19-16 15,2-2-15,-1 18 0,1 18 16,-2 0-16,2-17 0,-18 17 16,-35 17-16,16 1 15</inkml:trace>
  <inkml:trace contextRef="#ctx0" brushRef="#br0" timeOffset="114907.82">3109 15363 0,'88'0'16,"-52"0"-1,33 17-15,2-17 0,124 36 16,-90-18-16,2-1 0,-2 2 15,19-2-15,-1 0 0,123 1 16,-122 0-16,18-18 0,-20 0 16,20 0-16,-18 18 0,158-36 15,-159 18-15,142-18 16,-142 0-16,1 18 0,-19-17 16,2 0-16,-2-2 0,1 2 0,52-18 15,-68 16-15,15-15 16,-52 16-16,-1-18 0,55 2 15,-55-2-15,1 1 16,18-18-16,17-18 0,-35-17 16,-18 53-16,-18-18 15,2 0-15,-19 18 0,17-18 16,-17 1-16,0-72 16,0 18-16,-17 53 15,17 17-15,-71-87 16,1 35-16,-1 18 15,35 34-15,-33 1 0,-55-53 16,-18 17-16,72 35 16,-18 2-16,0-2 0,-88-16 15,69 16-15,2 18 16,-2-16-16,2 15 0,-142-33 16,-177-19-16,177 54 15,-17-19 1,-1 19-16,18 17 15,-17-18-15,140 18 0,0 0 16,-105 0-16,106 18 16,18-18-16,-2 17 0,2 0 0,-2 2 15,-86 33-15,105-16 0,-19-19 16,37 18-16,-18 18 0,-54 18 16,73-18-16,16-1 15,-54 36-15,55-34 16,-36 70-16,52-72 0,1 18 15,-1 54-15,19-70 0,17 104 16,0-87-16,17-19 16,1 19-16,52 53 15,20-2-15,-21-68 0,160 104 16,-139-122 0,103 52-16,-88-70 15,285 70-15,-268-71 16,20-17-16,-1 0 0,0 0 0,35 0 15</inkml:trace>
  <inkml:trace contextRef="#ctx0" brushRef="#br0" timeOffset="115471.66">7694 15504 0,'-17'36'16,"34"-18"-1,-17-1-15,36 18 16,-18-17-16,18 17 0,-2-35 16,72 36-16,-53-19 0,0-17 15,1 18-15,-2-18 0,18 0 16,1 0-16,-18 0 0,18 0 15,69 0-15,-87 0 0,1 0 16,34-18-16,-35 18 0,-1-17 16,-16 17-16,-1-19 15,1 19-15,-19-17 16,0 17-16</inkml:trace>
  <inkml:trace contextRef="#ctx0" brushRef="#br0" timeOffset="115767.33">8612 15380 0,'53'36'0,"-17"-18"16,-1-1-16,18 2 0,-18-2 15,53 36-15,-18-1 16,1 2-16,-54-37 16,19 36-16,-18-35 15,-18 18-15,17-19 0,-34 35 16,-18 1-16,-1-17 0,1-1 16,-71 53-16,54-52 15,-2-19-15,-51 37 0,16-2 16,37-35-16</inkml:trace>
  <inkml:trace contextRef="#ctx0" brushRef="#br0" timeOffset="131224.12">11522 15011 0,'18'0'0,"-18"-19"16,-18 55 46,18-18-62,-17-18 0,17 36 16,-17 16 0,-1-16-16,18-19 0,-18 0 15,18 1-15,0 0 16,-18 0 0,18-1-16,18-52 46,0-1-14,0 19-32,-18-18 0,0 17 0,17 0 0,-17 1 15,17 0-15,-17-2 16,18 2-16,-18-1 16,18 1-16,0 34 31,-18 1-31,0-1 15,0 2-15,17-2 0,-17 0 16,17-17 0,2 0-1,-2 0-15,18-17 16,-16 17-16,-2-17 16,0 34-1,1-17 1,-18 35-16,0-17 15,17-18-15,-17 18 16,0 16-16,0-16 0,0 0 16,0 0-16,19-18 0,-19 17 15,0 0-15,17-17 16,0 19-16,19-19 0</inkml:trace>
  <inkml:trace contextRef="#ctx0" brushRef="#br0" timeOffset="131559.69">12264 15187 0,'34'0'15,"2"0"1,-18 0-16,-1 0 15,0 0-15,19 0 0,-18 0 16,-1 0-16,2 0 0,-2 0 16</inkml:trace>
  <inkml:trace contextRef="#ctx0" brushRef="#br0" timeOffset="131874.79">12510 14975 0,'18'17'16,"-1"-17"-16,2 19 15,-2-2-15,0 1 0,37 52 16,-37-52-1,19 35-15,-36-36 0,17 19 16,-17-1-16,0 1 16,-17-19-16,17 1 15,-19-1-15,-15 0 0,16 2 16,-18-2-16,19 1 16,0-18-16,-2 17 0</inkml:trace>
  <inkml:trace contextRef="#ctx0" brushRef="#br0" timeOffset="132875.51">13586 14940 0,'0'18'15,"0"-1"1,0 0-16,0 19 0,0-1 16,-17 1-16,0 52 31,17-71-31,0 19 0,-19-1 16,38-18-1</inkml:trace>
  <inkml:trace contextRef="#ctx0" brushRef="#br0" timeOffset="133354.42">14062 14992 0,'0'0'16,"-34"-17"15,-2 34-31,-16 2 15,33-19-15,2 0 16,-1 17-16,1-17 0,-2 0 16,19 18-16,0-1 15,36 2 1,-36-2 0,18-17-16,-1 17 0,2 1 15,-2 0-15,-17 0 0,17-1 16,-17 0-16,0 1 15,-17 0-15,0 0 16,-2-1-16,-16 0 16,-1 2-16,19-2 15,-18-17-15,18 18 16,-2-18 0</inkml:trace>
  <inkml:trace contextRef="#ctx0" brushRef="#br0" timeOffset="133723.78">14433 15082 0,'-35'0'16,"17"17"-1,0-17-15,-16 17 16,34 1-16,-36 0 16,177-88-16,-317 158 0,157-71 15,2 0-15,17 1 16,-17 0-16,17 0 16,0-1-1,0 0-15,17 2 16,0-2-16,19-17 15,-18 18-15,-1-18 0,2 0 16,33 17-16,-16-17 16,-2-17-16,2 17 15,-18 0-15,-1-18 16,0 1-16</inkml:trace>
  <inkml:trace contextRef="#ctx0" brushRef="#br0" timeOffset="133948.23">14557 15099 0,'0'-17'0,"-19"51"0,2-16 16,17 0-16,0 34 16,-17 2-16,17-20 0,-18 20 15,0-20-15,18 2 0,-18 18 16,1-20-1,17 2-15,0-18 16,0-1-16,0 0 16,17-17-16,1 0 15</inkml:trace>
  <inkml:trace contextRef="#ctx0" brushRef="#br0" timeOffset="134190.32">14926 15134 0,'-17'-18'15</inkml:trace>
  <inkml:trace contextRef="#ctx0" brushRef="#br0" timeOffset="134746.51">15121 14975 0,'0'-17'46,"0"34"-30,-17-17-16,-1 0 16,18 17-16,-18 2 15,18-2 1,0 1-16,18-1 16,-18 36-1,18-35-15,-18 0 16,0 0-16,17 16 15,-34-16-15,17 0 16,-18 0-16,18-1 16,-18-17-1,0 0 1,54-17 15,-36-1-31,18 18 0,-1-36 16,18 19-16,-35 0 15,36-19-15,-19 1 16,-17 18 0,0-2-16,0 2 0,-17-18 15,-1 16-15,0 19 16,0 0-16,1-17 16,-36 17-16,35 0 15</inkml:trace>
  <inkml:trace contextRef="#ctx0" brushRef="#br0" timeOffset="135508.73">10605 15470 0,'0'-19'16,"0"2"-16,0-1 15,19-35-15,-2 1 0,-17-1 16,35-18 0,-35 36-16,36-18 0,-36 36 15,17-2-15,0-16 0,1 18 16,0 17-1,0 17-15,-1 18 16,0 1-16,-17-19 16,0 19-16,0 16 15,18-34-15,-18 0 0,0 17 16,0-18-16,0 2 0,-18-2 16,18 1-16,0 16 15,-17-34 1</inkml:trace>
  <inkml:trace contextRef="#ctx0" brushRef="#br0" timeOffset="135695.6">10553 15363 0,'17'-17'0,"1"17"0,35 0 16,-18-18-16,1 18 15,86 0-15,2 0 16,-53 0-16,-19 18 0,19-18 16,53 17-16,-54-17 0</inkml:trace>
  <inkml:trace contextRef="#ctx0" brushRef="#br0" timeOffset="136827.47">10993 15858 0,'124'17'16,"-89"-17"0,89 17-16,-54 1 0,106 0 15,36 0 1,-106-18-16,123 17 0,159 18 15,-247-35-15,125 18 16,51 0 0,-70-18-16,-106 17 15,106-17-15,-142 17 0,231-17 16,-72-17 0,-176 17-16,107-35 15,-142 35-15,87-53 16,-51 18-1,-37 17-15,2-17 16,16-18-16,-18 18 16,-33 18-16,16-19 0,18-18 15,-18 2 1,18-1-16,-18 0 16,-17 1-16,0 33 15,-1-16-15,0-35 16,-17 16-16,19 37 0,-38-18 15,19-1-15,0 2 16,-17-2-16,-18-16 16,-18-19-16,-18 0 15,37 35-15,-2 2 0,-123-73 16,-17-16 0,17 53-1,-70-36 1,141 70-16,-71-34 0,-89-18 15,90 34 1,87 37-16,-193-36 16,88 18-16,-107 18 15,89-1 1,18 18-16,-88 18 16,105-18-1,-36 17-15,107-17 16,0 17-16,-141 19 15,158-18-15,-87-1 16,87 19-16,-88-1 16,-17-1-16,-36 37 15,88-35-15,72-1 16,-54 18-16,18 0 16,0-1-16,0 19 15,0 0-15,-2-1 16,56-34-16,-72 87 15,36-35 1,16 1-16,1 51 16,53-86-1,19 122 1,33-70 0,1-54-16,511 248 15,-335-246 1,1-20-1,158 20 1,-264-54-16,388 0 16,-390-18-16</inkml:trace>
  <inkml:trace contextRef="#ctx0" brushRef="#br0" timeOffset="137756.67">18842 15275 0,'19'0'15,"-2"0"-15,1 0 0,-1 17 16,36-17-16,18 0 16,-18 0-16,-18 19 15,0-19-15,1 0 0,-2 0 16,2 0-16,-18 0 0,16 0 0,2 17 16,-18-17-16,-1 0 15,2 0-15,-2-17 0,0 17 0</inkml:trace>
  <inkml:trace contextRef="#ctx0" brushRef="#br0" timeOffset="138013.94">19496 15099 0,'34'17'15,"-16"19"-15,-70-89 0,122 124 16,-35-37-16,-18-16 16,19 35-16,-36-36 0,18 2 15,-18 33-15,0-35 16,-18 2-16,1 33 0,-36 19 16,35-53-16,0 0 15,-17-1-15,35 0 0,-17 1 0,-1-18 16,0 18-16</inkml:trace>
  <inkml:trace contextRef="#ctx0" brushRef="#br0" timeOffset="139523.29">22229 14464 0,'-35'70'32,"35"-34"-32,0-19 0,-17 19 15,17-19-15,-19 18 0,19 1 16,-17-1-16,0 35 0,-1-16 16,18-20-16,-18-15 15,18-2-15,0 18 0,-18-35 0,18 17 16,0 2-16</inkml:trace>
  <inkml:trace contextRef="#ctx0" brushRef="#br0" timeOffset="139766.66">22565 14464 0,'17'-18'16,"1"54"-16,-18-19 16,0 0-16,0 1 0,0 0 0,0 0 15,0 16-15,-18-15 0,18 16 16,0 1-16,0-2 0,0-16 16,-17 35-16,17-18 0,0-17 15,0 0-15,0-1 0,-19 0 0,19 2 16,0-2-16</inkml:trace>
  <inkml:trace contextRef="#ctx0" brushRef="#br0" timeOffset="139978.68">22158 14799 0,'0'-17'15,"71"17"1,-35 0 0,-19 0-16,18-19 0,72 19 15,-90 0-15,19 19 16,-1-19-16,-1 0 0,-15 0 0,33 0 16</inkml:trace>
  <inkml:trace contextRef="#ctx0" brushRef="#br0" timeOffset="140525.6">22934 14834 0,'-17'0'16,"17"-35"15,17-1-15,-17 19-16,19-1 0,-19 1 15,17 17-15,-17-17 0,18-2 16,-18 2-16,17-1 0,-17 1 16,19 52 31,-19-18-32,0 2-15,17-19 16,0 0-16,1 0 15,0 0-15,0 0 16,-1 0-16,18 0 16,-17 0-1,0 17-15,-1 0 16,0 1-16,-17-1 16,19 2-16,-19-2 15,17 0-15,1 1 16,-1-18-16,2 0 15</inkml:trace>
  <inkml:trace contextRef="#ctx0" brushRef="#br0" timeOffset="140859.37">23800 14658 0,'88'0'0,"-71"0"16,0 0-16,2 0 16,-2 0-16</inkml:trace>
  <inkml:trace contextRef="#ctx0" brushRef="#br0" timeOffset="141042.21">23781 14799 0,'19'17'32,"-2"-17"-17,0 0-15,19 0 16,-18 0-16,-1 0 0,0 0 15,2 0-15,-2 0 0,1 0 0,-1 0 16</inkml:trace>
  <inkml:trace contextRef="#ctx0" brushRef="#br0" timeOffset="141511.34">25105 14411 0,'52'0'0,"-33"0"16,-90 0-16,159 0 0,-71 0 0,1 0 15,0 0-15,0 0 0,-1 0 16,0 0-16,1 17 15,-18 1 1,18-18-16,-18 18 0,0 0 0,0-1 16,0 0-16,0 1 0,0 18 15,0-19-15,0 0 0,0 2 16,0-2-16,0 1 0,0-1 0,-18 2 16,18-2-16,0 0 0,0 1 15,0-1-15,0 2 0,0-2 16</inkml:trace>
  <inkml:trace contextRef="#ctx0" brushRef="#br0" timeOffset="141711.04">25157 14746 0,'53'-18'15,"-17"18"-15,-18 0 16,-1 0-16,0 0 0,1 0 16,18 0-16,-19 0 15,19 0-15,-19 0 0,1 0 0,-1 0 0</inkml:trace>
  <inkml:trace contextRef="#ctx0" brushRef="#br0" timeOffset="141886.43">25810 14623 0,'0'0'0</inkml:trace>
  <inkml:trace contextRef="#ctx0" brushRef="#br0" timeOffset="142416.09">26057 14394 0,'35'17'15,"-35"0"-15,18-17 0,-18 36 16,-18-18 0,18-1-16,-18 0 15,1 1-15,17 0 16,-17-18-16,17 18 0,0-1 15,0 0 1,17 2-16,0-2 16,-17 1-1,18-1-15,-18 2 16,0-2-16,0 0 16,-18 1-16,1-1 15,0 2 1,-1-19-16,0 0 15,0 17-15</inkml:trace>
  <inkml:trace contextRef="#ctx0" brushRef="#br0" timeOffset="142727.29">26445 14428 0,'-17'54'16,"17"-37"-1,0 0-15,34 37 16,2-37 0,-36 0-16,18-17 15,16-17 1,-34 0-1,-17-1 1,0 18-16,17-18 16,-18 18-16,1 0 0,-2 0 15,2 0-15,0 18 0,-19 0 16</inkml:trace>
  <inkml:trace contextRef="#ctx0" brushRef="#br0" timeOffset="143910.74">26692 14146 0,'0'-18'0,"-35"36"16,-1 18-1,19-36 1,-1 17-16,-18 19 0,19-19 16,0 1-16,-1 16 0,1-15 15,-2-2-15,-15 18 0,16 1 16,0-1-16,0-17 0,18 0 15,-17-1-15,17 18 0,-17-17 16,17 0-16,0-1 16,0 0-16,0 19 0,17-36 15,-17 18-15,0-1 0,17-17 0,-17 19 16,36-2 0,-18 0-16,-1-17 0,0 0 15,-17 18-15,19-18 0,-2 0 16,1 0-16,-1 0 0,0 0 15,2-18-15,-2 18 0,1-17 16,-18 0-16,17-2 16,-17 2-16,0-1 15,0 1-15,0-2 16,-17 2-16,-1 0 0,1-1 16,-2 18-16,-15-18 15,16 18-15,-18 0 16,19 0-1,-18 0-15</inkml:trace>
  <inkml:trace contextRef="#ctx0" brushRef="#br0" timeOffset="144815.35">25933 15363 0,'53'0'0,"-106"0"0,160 0 16,-37 0-16,-35-17 0,18 17 15,70-18-15,-52 1 0,-1 17 16,1-19-16,-18 2 0,71 0 16,-1-19-16,-70 18 15,70-16-15,-70 16 0,-17 0 16,70-34-16,18-19 15,-72 35 1,-16 1-16,-2 18 0,20-19 0,-20-17 16,54-18-16,-52 36 15,-1-18-15,1 18 0,-1-1 0,-18 2 16,19-20-16,-1-16 0,-35 35 16,18 18-16,-18-19 0,0 1 15,-18-36-15,-53-70 16,36 88-16,1 18 15,-20-18-15,-51-53 0,52 53 16,-1 18-16,-16-18 0,18 17 0,-19-16 16,0 16-16,1 1 15,-1-1-15,-88-16 0,89 16 0,-1 36 16,0-17-16,1 0 0,-53 17 16,52 17-16,18-17 15,-35 17-15,17 2 0,-87 33 16,-1 1-16,88-18 0,1 1 15,-1-1-15,0 18 16,1 0-16,-72 35 0,20 18 16,68-36-16,-51 36 0,69-36 15,-35 54-15,37-70 16,-20 104-16,54-106 16,0-16-16,18 52 15,0-34-15,0-2 0,-1-16 16,36 52-16,-35-54 0,16 2 15,20 18-15,-18-20 0,-2-16 16,2 0-16,-18-18 0,34 18 16,-16-18-16</inkml:trace>
  <inkml:trace contextRef="#ctx0" brushRef="#br0" timeOffset="152886.34">6813 14534 0,'17'124'16,"19"-107"-16,-18-17 0,-1 0 0,0 0 15,19 0-15,-18 0 16,35-17-16,-1-18 0,-16 16 15,-19 2-15,1 0 0,-18-19 16,18 18-16,-18-16 0,0 16 16,0 0-16,0-34 0,-18 16 15,18 18-15,-18 1 0,1 17 0,0-19 16,-2 2-16,2 17 0,-1 0 16,1 0-16,0 0 0,-2 0 0,2 0 15,-1 17-15,-18 2 0,19-19 16</inkml:trace>
</inkml:ink>
</file>

<file path=ppt/ink/ink125.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45:28.933"/>
    </inkml:context>
    <inkml:brush xml:id="br0">
      <inkml:brushProperty name="width" value="0.05292" units="cm"/>
      <inkml:brushProperty name="height" value="0.05292" units="cm"/>
      <inkml:brushProperty name="color" value="#0070C0"/>
    </inkml:brush>
  </inkml:definitions>
  <inkml:trace contextRef="#ctx0" brushRef="#br0">24517 3096 0,'54'0'16,"-37"0"-16,36 0 15,89 0-15,-37 0 16,2 0-16,-2 0 0,142 0 16,-106 0-16,-17 0 0,16 0 15,1 17-15,-17-17 0,18 0 16,-20 18-16,126-18 0,-142 17 15,-1-17-15,-17 19 0,-17-19 0,-1 17 16,-16-17-16,-1 17 0,-1-17 16,-33 0-16,-2 0 0,0 18 15,1-18-15</inkml:trace>
  <inkml:trace contextRef="#ctx0" brushRef="#br0" timeOffset="2686.19">16951 4348 0,'88'17'0,"-70"-17"16,17 0-16,0 18 0,54-18 15,-20 18-15,-15-18 16,87 18-16,-88-18 0,35 17 15,88 0-15,-70 2 0,-17-19 16,246 52 0,-106-35-16,-105 2 15,123 16-15,-89-18 0,-35 2 16,37-2-16,-37 0 0,35 1 0,89 18 16,-123-19-16,35 0 15,123 19-15,-35-1 16,158 18-16,-246-35 15,-35-1-15,-1 0 0,-17 2 16,17-2-16,-16 1 0,122 35 16,-17-18-16,-107-17 15,-17 0-15,0-18 0,36 17 16,-53 0-16,-36 1 16,-18-18-16,19 0 0,-19 0 15,1 0-15,-89 0 31</inkml:trace>
  <inkml:trace contextRef="#ctx0" brushRef="#br0" timeOffset="5871.32">1323 5953 0,'36'0'16,"-19"0"-16,0 0 0,1 0 15,18 0-15,-19 0 0,18 0 0,1 0 16,17 0-16,-18 0 0,18 0 15,52 0-15,-34 0 0,0 0 16,-18 18-16,87-18 0,-69 0 16,-1 17-16,1-17 0,0 17 15,-1-17-15,72 19 0,-1-2 16,-70-17-16,-2 0 0,2 18 16,-1-18-16,1 0 0,70 17 15,1-17 1,-89 19-16,18-19 0,-19 0 0,1 0 15,0 17-15,17-17 16,-17 0-16,-17 17 0,-1-17 0,53 0 16,-18 18-16,-16-18 15,-20 0-15,2 0 0,-1 0 16,36 18-16,34-18 16,-69 0-16,-1 0 0,18 0 15,-17 18-15,33-18 16,-50 0-16,16 0 0,1 0 15,-2 17-15,20-17 16,-20 0-16,2 0 0,-1 0 0,1 0 16,-1 0-16,1 0 0,-2 0 15,1 0-15,1 0 0,-1 0 0,1 0 16,-2 0-16,37 0 0,-35 0 16,35 0-16,-19 0 15,-16 0-15,-2-17 0,2 17 0,-1 0 16,1 0-16,33-18 15,-15 18-15,16 0 16,-34 0-16,-18-18 0,16 18 16,20 0-16,-1-18 15,-18 18-15,-18 0 0,19-17 0,-19 17 16,18 0-16,1-17 16,-19 17-16,1 0 0,18-19 15,-2 2-15,-16 17 16,0 0-16,0-18 0,-1 1 15,0 17-15,2-19 0,-2 19 16,1-17-16,-1 0 0,2 17 16,-2-18-16,0 18 0,-17-17 15,18 17-15,18-19 0,-19 2 16,0 0-16,1-1 0,0 18 16,0-18-16,-18 0 0,17 1 15,0 0-15,-17-2 16,36 2-16,-36-1 0,18 1 15,-1 0-15,-17-2 0,17 2 16,-17-1-16,19-18 16,-2 19-16,1 0 15,-18-1-15,0 0 0,0 0 16,17 1-16,-17 0 0,0-1 0,0-18 16,0 19-16,0 0 0,-17-2 15,17 2-15,-18-54 16,1 54-16,-2-18 15,2 16-15,-18-15 0,18 16 16,-2 0-16,2 0 16,-18-16-16,-1 16 15,2 0-15,15 0 0,2 18 0,-1-17 16,1 0-16,0 17 16,-19-19-16,18 2 0,-35-1 0,18 1 15,17 17-15,0-19 0,-16 19 16,-2-17-16,18 17 0,-52-17 15,52 17-15,-35-18 16,18 18-16,-1-17 0,19 17 16,-18 0-16,-18-19 0,18 19 15,17 0-15,-17 0 0,-1-17 0,19 17 16,-37 0-16,20 0 16,16-17-16,1 17 0,-2 0 0,-15 0 15,-2 0-15,18 0 16,1 0-16,0 0 0,-2 0 0,2-18 15,-1 18-15,-35 0 16,1-18-16,33 18 0,2 0 16,-18 0-16,-1-18 0,19 18 15,-54-17-15,37 17 0,-2-17 16,1 17-16,-36-19 0,1 2 16,34 17-16,-16-18 15,16 18-15,-35-17 16,36 17-16,-53-17 0,35-2 0,18 19 15,-18-17-15,17 17 16,-33-18-16,33 18 0,-35-17 16,36 17-16,-35-19 15,-1 2-15,0 17 16,54-17-16,-19 17 0,1 0 16,18 0-16,-19-18 0,1 18 15,17 0-15,-17-17 0,-36 17 16,37 0-16,-2-19 0,1 19 0,18 0 15,-19-17-15,-18 17 16,20-17-16,-2 17 0,18 0 0,-16-18 16,-2 18-16,18 0 0,-16-18 15,-20 18-15,37-18 0,-19 18 16,19 0-16,-37-17 16,2 17-16,-1 0 0,36 0 15,-37-17-15,20 17 16,-20 0-16,37 0 15,-19 0-15,-17 0 0,1 0 16,-2 0 0,1 0-16,-16 17 15,50-17-15,-16 0 16,-1 0-16,2 0 0,16 0 16,-35 0-16,18 17 15,17-17-15,-17 0 0,18 0 16,-19 0-16,1 18 15,-18-18-15,35 0 16,1 18-16,-2-18 0,2 0 0,-18 18 16,17-18-16,0 0 15,1 17-15,0-17 0,-19 0 16,1 17-16,18-17 0,-19 19 16,18-19-16,-18 0 15,2 17-15,-1 1 16,16-18-16,-33 17 15,34-17-15,0 17 16,1-17-16,-19 0 0,19 19 0,-1-19 16,-16 17-16,15 1 0,2-18 15,-1 17-15,1-17 0,-2 19 0,2-2 16,-18 0-16,17-17 16,18 18-16,-18-1 0,1-17 0,-18 36 15,17-19 1,0 1-16,18 0 0,-17 0 15,0-1-15,-2 0 16,19 2-16,-17-2 0,17 1 16,-18-18-16,18 17 0,-17 19 15,-2-19-15,19 1 0,-17-1 16,0 19-16,17-1 16,-18-17-16,18 0 0,0-1 15,0 0-15,-17 19 16,17 16-16,0-33 0,0-2 15,0 18-15,0-18 0,0 37 16,17-1-16,-17-36 16,18 37-16,-18-37 15,0 0-15,17 1 0,-17 0 0,17 0 16,-17 16-16,19-15 0,-19-2 0,17 18 16,1-16-16,-1-19 15,2 34-15,-2-16 0,0-1 16,1-17-16,0 19 0,0-19 15,34 17-15,-34 0 0,17-17 16,-18 0-16,2 18 0,16-18 16,-18 0-16,2 0 0,15 0 0,-16 0 15,-1 0-15,19 0 0,17 0 16</inkml:trace>
  <inkml:trace contextRef="#ctx0" brushRef="#br0" timeOffset="10385.76">17109 4348 0,'-17'0'16,"0"0"-16,-1 0 16,0 17-1,0-17-15,1 0 0,0 0 16,-2 18-16,2-18 16,-1 18-16,1-18 0,-19 0 15,-16 18-15,33-1 0,2-17 16,-18 0-16,17 17 0,0-17 15,-16 0-15,15 0 0,-16 19 16,-18-19-16,36 0 0,-1 0 0,-18 0 16,19 17-16,-18-17 15,-1 0-15,19 0 0,-18 0 0,-1 0 16,19 0-16,0 0 0,-37 0 16,37 0-16,-19 0 0,19 0 0,-1 0 15,-35 0-15,18 0 16,17 0-16,0 0 0,-16 0 15,16 0-15,0 0 0,-34 0 16,16-17-16,18 17 16,1 0-16,-2 0 0,2 0 15,0-19-15,-1 19 0,1 0 0,-2 0 16,2-17-16,-18 0 16,-1-1-16,2 0 15,15 0-15,2 18 16,-1-17-16,1 0 0,17-2 0,-17 19 15,17-17-15,-36-1 16,36 1-16,-18 17 0,1-36 16,-19 19-16,1-1 15,18 1-15,-2 17 16,2-19-16,0 2 16,-1 17-16,0-17 0,0-1 0,1 18 15,17-18-15,-17 0 16,-2 1-16,2 0 15,17-1-15,-35-35 32,35 36-32,0-2 15,0 2-15,-17 17 0,17-18 0,0-18 16,17 19 0,-17 0-16,0-18 0,17 16 15,-17 2-15,18 0 16,-1-19-16,2 18 0,-2 1 15,0 0-15,19-19 16,-18 36-16,-1-18 0,0 1 16,19 17-16,-1-36 15,18 19-15,-35 17 0,18-18 16,16 1-16,-35 17 0,19-19 16,-19 19-16,19 0 0,-18-17 15,35 0-15,-18 17 16,-1 0-16,-15-18 0,16 18 0,-18 0 15,19-17-15,35 17 0,-1-19 16,-18 2-16,-16 17 16,-1 0-16,1 0 0,35-17 15,-37 17-15,2 0 0,34-18 16,-17 18 0,0 0-16,-18-18 0,1 18 0,-19 0 15,18 0-15,1 0 0,-1-18 16,18 18-16,-17 0 0,16 0 15,-16 0-15,16-17 16,19 17-16,-35 0 16,-19 0-16,18 0 0,1 0 0,-2-17 15,2 17-15,-1 0 16,1 0-16,35 0 0,-37 0 0,2 0 16,34 0-16,-17 0 15,-17 0-15,-1 0 16,1 0-16,-2 0 0,1 0 0,1 0 15,-1 17-15,1-17 0,34 0 0,-35 0 16,1 0-16,52 0 16,-53 0-16,18 0 0,18 0 15,-37 0-15,20 0 0,16 0 16,-35 0-16,1 0 16,-1 0-16,1 0 0,-2 0 0,54 0 15,-17 0-15,-35 0 16,-1 0-16,18 0 0,-18 0 15,1 0-15,52 0 0,0 0 16,-52 0-16,-2 0 16,54 0-16,0 0 15,-34 0-15,-20 0 0,20 0 0,-18 0 16,52 17-16,-36-17 16,-16 0-16,17 0 0,-18 0 15,53 0-15,-18 0 16,-16 18-16,-37-18 0,36 0 15,-18 0-15,1 0 0,16 0 0,72 0 16,-89 0 0,1 18-16,-2-18 0,2 0 15,-1 0-15,1 0 0,-1 0 0,1 0 0,-2 0 16,1 0-16,36 0 0,-35 0 16,-2 0-16,2 0 15,-1 0-15,18 0 0,-18-18 0,1 36 16,35-18-16,-19 0 0,-16 0 15,34 0-15,-35 0 16,1 0-16,35-18 0,-19 18 16,-16 0-16,-2 0 0,37 0 15,-35 0 1,-1 0-16,35 0 0,-52 0 16,52 0-16,1 0 0,0 0 15,17 0 1,-52 0-16,52 0 15,-36 0-15,18 0 0,-16 0 16,-20 18-16,20-18 0,34 0 16,0 0-16,-18 0 15,20 0-15,-56 18 16,37-18-16,0 0 16,-1 0-16,-18 0 15,-16 0-15,70 17 16,-70-17-16,16 0 15,18 0-15,-16 0 16,-20 17-16,-15-17 0,16 0 16,18 0-16,18 0 15,-19 19-15,1-19 16,18 0-16,-54 0 16,19 17-16,16-17 0,55 0 15,-90 18 1,18-18-16,1 0 0,-19 0 0,54 17 15,-35-17-15,33 0 16,2 17-16,35 2 16,-71-2-1,1-17-15,-1 0 0,1 18 16,104-1 0,-104-17-16,-2 0 0,2 19 0,16-19 15,19 17-15,-35-17 16,52 0-16,-53 0 0,35 17 15,20-17-15,-38 0 16,-16 0-16,16 0 0,18 0 16,-16 18-16,-20-18 15,2 0-15,-1 0 0,-16 0 0,15 0 0,-16 0 16,18 0-16,52 0 16,-71 0-16,19 0 0,-1 0 15,18 0-15,-36-18 16,18 18-16,-16 0 0,-2 0 15,18 0-15,18 0 0,-18 0 16,1 0-16,-19 0 0,19 0 16,-19 0-16,1 0 0,16 0 15,-15 0-15,33 0 0,-33 0 16,15 0-16,2 0 0,-18 0 16,52 0-16,-52 0 0,35 0 15,-36 0-15,1 0 0,35 0 16,-36 0-16,1 0 15,-1 0-15,19 0 0,-19 0 0,1 0 16,18-17-16,-19 17 16,19 0-16,-1 0 0,-1-17 15,-15 17-15,-2 0 16,1 0-16,18 0 0,-19 0 0,0-19 0,1 19 16,0 0-16,17 0 15,0 0-15,-17 0 0,0 0 16,-1 0-16,0 0 0,2 0 15,-2 0-15,1 0 0,-1 0 16,0-17-16,2 17 0,16 0 16,1 0-16,-19 0 0,0 0 15,1 0-15,0 0 0,34 0 16,-34 0-16,18 0 0,-19 0 16,0 0-16,2 0 0,16 0 15,-18 0-15,2 0 0,-2 0 16,0 0-16,1 17 0,-1-17 15,19 0-15,17 0 16,-35 0-16,-1 19 0,0-19 16,1 0-16,35 17 15,-17 0-15,-19 1 0,1-18 16,-1 17-16,2-17 0,15 19 16,-16-19-16,-1 17 0,19 18 15,-19-17-15,1 0 0,0-1 16,0 0-16,-1 2 15,0-19-15,-17 17 0,19 1 16,-19-1-16,17 0 0,-17 19 16,18-36-16,-18 18 15,0-1-15,0 2 0,0-2 16,0 0-16,-18 19 0,1-1 16,17-18-1,-19-17-15,2 36 0,0-18 16,-1 16-16,0-34 15,18 19-15,-18-2 0,1-17 16,0 18-16,-19-1 0,18 2 16,-16-19-16,-2 17 0,18 0 15,-18-17-15,-16 35 16,16-35-16,2 0 0,-37 19 16,18-2-16,1-17 0,-2 17 15,1-17-15,-52 18 16,-19 18-16,53-36 0,0 17 15,1-17-15,-70 17 0,69 2 16,-70-19-16,70 17 16,0-17-16,-87 18 0,87-18 15,-70 0-15,53 17 16,17-17-16,0 0 0,-51 0 16,-2 0-16,70 0 15,-34 0-15,54 0 0,-20-17 16,-70 17-16,72 0 15,16-18-15,-16 18 0,16 0 0,2 0 16,-2-17-16,1 17 0,-1 0 0,19 0 16,-18 0-16,16 0 0,2 0 15,-36 0-15,35 0 16,1 0-16,0-19 0,-1 19 0,0 0 0,0 0 16,1 0-16,-19 0 0,1 0 15,18-17-15,-2 17 16,2 0-16,0 0 0,-18 0 0,16-17 15,2 17-15,0 0 16,-19 0-16,18 0 0,-52-18 16,52 18-16,1 0 15,0 0-15,-19-18 16,18 18-16,1 0 0,-36 0 16,35-18-16,1 18 0,-19 0 0,19 0 15,-1 0-15,-18 0 16,19-17-16,0 17 0,-19 0 15,1 0-15,18 0 0,-2 0 16,2 0-16,-1 0 0,-35-17 16,18 17-16,-1 0 0,2 0 15,16 0-15,-18 0 0,19 0 16,0-19-16,-2 19 0,-16 0 16,18 0-16,-19 0 0,19 0 0,-1 0 15,-18 0-15,-16 0 0,16 0 16,19-17-16,-18 17 0,-1 0 15,-17 0-15,36 0 0,-37 0 16,20-18-16,-1 18 16,16 0-16,-15 0 0,-2 0 0,-16 0 15,33 0-15,-16 0 0,18 0 16,-19 0-16,1 0 0,-1 0 16,2 0-16,16 0 0,-18 0 0,2 0 15,-2 0-15,-16 0 0,-36 0 16,52 0-16,1 0 15,-18 0-15,17 0 0,-52 0 16,53-17-16,-72 17 0,38 0 16,16 0-16,-18-17 0,-17 17 15,0 0-15,0 0 0,-19-19 0,-139 19 16,122-17-16,-35 17 0,18-18 16</inkml:trace>
  <inkml:trace contextRef="#ctx0" brushRef="#br0" timeOffset="13904.94">19385 7417 0,'176'-36'0,"-105"36"0,0 0 15,105 0-15,-88-17 16,18 17-16,0 0 0,-1 17 0,90-17 15,-90 0-15,-17 19 16,-17-19-16,-1 0 0,72 17 0,-106-17 16,-2 0-16,2 0 0,-1 0 15,-18 0-15,1 18 16,0-18-16,0 0 0</inkml:trace>
  <inkml:trace contextRef="#ctx0" brushRef="#br0" timeOffset="14890.09">1940 8775 0,'36'-18'16,"33"18"-16,-33 0 0,35 0 16,0 0-16,105 18 15,0 0-15,36-18 16,-124 18-16,106-18 15,-18 17-15,-105-17 16,17 0-16,36 0 16,-72 17-16,37-17 0,-19 0 15,-34 0-15,-19 19 0,54-19 16,-18 0-16,-18 0 16</inkml:trace>
  <inkml:trace contextRef="#ctx0" brushRef="#br0" timeOffset="15683.94">10689 8757 0,'-17'0'16,"69"0"0,36 18-16,177 0 15,-35 0 1,316 35-1,-282-36-15,178 18 16,-318-18 0,334 2-16,-299-2 15,-88-17-15,-19 0 16,-16 0-16,69 18 16,-88-18-1</inkml:trace>
  <inkml:trace contextRef="#ctx0" brushRef="#br0" timeOffset="16726.41">2557 10645 0</inkml:trace>
  <inkml:trace contextRef="#ctx0" brushRef="#br0" timeOffset="18115.16">11871 10963 0,'88'-18'15,"-70"18"-15,17 0 0,0 0 16,18 0-16,-17 0 0,33 18 16,-15-18-16,87 17 0,-36-17 15,2 17-15,-2-17 0,1 19 0,18-2 16,17 1-16,18-1 0,17 0 16,141 19-16,-140-18 0,-18-1 15,0 2-15,17-19 0,-18 17 16,18 0-16,-16 1 0,16 0 0,0 0 15,-17-1-15,-35 0 0,35 1 16,-18 0-16,159 0 0,-177-1 16,18 0-16,-17-17 0,-1 19 15,-17-19-15,17 17 0,-16-17 0,-2 18 16,0-18-16,-34 0 0,0 17 16,-1-17-16,1 0 0,0 0 0,17 0 15,-35 0-15,-36 0 0,18 0 16,1 0-16,-19 0 0,19 0 15,-18 0-15,-1 0 0,0 0 0,1 0 16,0 0-16,0 0 16,-1 0-16,0 0 15,2 0 17</inkml:trace>
  <inkml:trace contextRef="#ctx0" brushRef="#br0" timeOffset="19282.9">19491 10909 0,'194'0'0,"-106"0"15,-17 0-15,17 18 0,17-18 16,2 0-16,16 18 0,89-18 0,-88 0 16,-2 18-16,214-18 15,-213 17-15,1-17 16,-19 0-16,19 0 0,-36 17 0,18-17 15,-18 0-15,1 0 0,-20 19 16,-15-19-16,52 0 0,-71 0 16,0 0-16,-17 17 0,0-17 0,-1 0 15,0 0-15,2 0 16</inkml:trace>
  <inkml:trace contextRef="#ctx0" brushRef="#br0" timeOffset="21240">12735 9357 0,'0'18'0,"18"-18"15,0 0 1,-1 0 0,-17 17-1,17-17-15,1 0 16,0 0-16,0-17 0,-1 17 15,19 0-15,-19 0 0,1 0 16,-1 0-16,2 0 0,15 0 16,-16 0-16,-1 0 0,19 0 0,-1 0 15,-17 0-15,17 0 0,1 0 16,52 0-16,0 0 16,-35 0-16,-1 0 0,19 0 0,-18 17 15,18-17-15,-19 0 16,1 0-16,1 0 0,139 0 15,-122 0-15,-1 0 0,-16 0 0,16 0 16,1 0-16,0 0 0,17 0 16,-18 0-16,1 0 0,-2 0 0,21 0 15,-20 0-15,18 0 0,-17 0 16,0 0-16,17 0 0,-18 0 0,1 0 16,-2 0-16,2 0 0,0-17 15,35 17-15,-54 0 0,-16 0 16,-1 0-16,1 0 0,-1 0 15,18 0-15,-36 0 16,1 0-16,0 0 0,0 0 16,-1 0-16</inkml:trace>
  <inkml:trace contextRef="#ctx0" brushRef="#br0" timeOffset="22158.13">18097 9569 0,'35'-17'16,"-16"17"-16,-2 0 0,0 17 0,19-17 16,-1 0-16,-18 0 0,37 0 0,-20 0 15,2 18-15,18-18 0,-20 0 16,20 0-16,-2 0 0,18 17 16,37-17-16,-36 0 0,-1 0 15,0 0-15,19 0 0,-1 0 0,17 0 16,2 0-16,-2 17 0,18-17 15,-16 0-15,122 19 0,-106-19 16,-17 0-16,17 17 0,1-17 16,0 18-16,140-1 0,-140-17 15,-1 19-15,123-2 0,-122-17 16,0 17-16,-1-17 16,1 18-16,-19-18 0,19 17 0,106 2 15,-18-2-15,-107 0 16,0-17-16,-15 18 0,-2 0 15,70 0-15,-16-1 0,-73-17 16,55 36-16,-71-36 16,-1 17-16,19-17 15,-52 18-15,15-18 0,-16 0 0,0 0 16,0 17-16,-1-17 16,0 0-16,1 0 31,0 0 0,-18 17 0</inkml:trace>
  <inkml:trace contextRef="#ctx0" brushRef="#br0" timeOffset="32021.69">7779 12232 0,'53'19'16,"-1"-19"-16,19-19 16,-1 19-16,37 0 0,-2 0 0,19 0 15,-1-17-15,18 17 0,35 0 0,19-18 16,-36 18-16,-18 0 0,194-17 15,-159 17-15,-35 0 16,-17 0-16,17 0 0,89 0 0,-125 0 16,0 17-16,-34-17 0,0 0 15,53 0-15,-107 0 16,36 18-16</inkml:trace>
  <inkml:trace contextRef="#ctx0" brushRef="#br0" timeOffset="32306.75">9137 12444 0,'88'17'16,"-36"-17"-16,19 0 0,0 0 15,106 0-15,-54 0 0,123-17 16,-139 17-16,16 0 16,1 0-16,0 0 0,105 0 15,18 0-15,-142 0 0,0 0 16,-34 17-16,0-17 0,-1 0 16,1 0-16,36 19 15,-38-19-15,-33 0 0,-19 0 16,19 17-16,-18-17 0,-1 0 15</inkml:trace>
  <inkml:trace contextRef="#ctx0" brushRef="#br0" timeOffset="34507.32">19473 13008 0,'88'-35'0,"-70"35"16,-1 0-16,2 0 0,-2 0 0,0 0 15,1 0-15,0 18 0,0-18 16,-1 0-16,-17 17 0,17 19 16,-17 17-16,-17-18 15,17 0-15,-17 18 0,-1-17 16,-35 52-16,36-36 0,-19-16 16,18 17-16,1-18 0,17-18 0,-17 19 15,17-1-15,-19-18 0,19 2 16,0-2-16,0 1 0,19-1 0,-19 2 15,17-2-15,0 0 0,1-17 0,-1 18 16,2-18-16,-2 0 0,0 0 16,1 0-16,0 0 0,17-18 0,-18 18 15,2-17-15,16 17 0,-18-17 16,0 17-16,2-19 0,-2 2 0,1 17 16,-18-18-16,17 18 0,-17-17 15,19 17-15,-2 0 0,-17 17 16,0 1-1,0-1-15,0 19 0,0-1 16,0 71-16,0-35 0,0-19 16,0 19-16,0-1 0,17 18 15,-17-17-15,0 0 0,0-1 0,18-16 16,-18 16-16,0-18 0,0 19 16,0 105-1,-18-69-15,18-54 0,-17-18 0,0 18 16,-2-18-16,-16 18 0,18-18 15,-19 1-15,-69 69 16,69-69-16,-16-19 0,16 1 16,-52 35-16,53-53 15,-1 17-15,1-17 0,18 18 0,-19-18 16,19 0-16,-1-18 0,-18 18 16,19-17-16</inkml:trace>
  <inkml:trace contextRef="#ctx0" brushRef="#br0" timeOffset="36660.6">13600 13115 0,'0'-18'0,"0"53"47,-19-18-47,19 1 0,0 0 15,-17 0-15,17-1 16,0 19-16,-17-36 0,17 17 16,0 1-16,-18-1 15,18 2 1,18-55 15,-18 18-31,17-35 16,0 36-1,-17-1-15,19 0 16,-19 0-16,17 1 0,-17 0 16,18-1-16,18 36 31,-19-1-16,-17 0 1,17 1 0,1 0-1,18-36 17,-19 0-32,0 18 0,1-17 15,0 0 1,0 17-16,-1 0 15,0 17 1,-17 0 0,18 1-16,-18 0 15,0 0-15,18-1 16,-18 0-16,0 2 0,0-2 16,18-17-16,-18 18 15,17-1-15</inkml:trace>
  <inkml:trace contextRef="#ctx0" brushRef="#br0" timeOffset="37068.33">14288 13203 0,'17'-71'0,"-34"54"0,17-1 15,-36 36 17,19-1-32,17 0 15,-18 1-15,18 0 16,0 0-16,0-1 16,0 0-16,18 19 15,-1-18-15,0-18 16,-17 17-16,19-17 0,-2 0 0,1 0 15,-1 0-15,0 0 0</inkml:trace>
  <inkml:trace contextRef="#ctx0" brushRef="#br0" timeOffset="37787.81">14711 13132 0,'-18'0'0,"36"0"16,-53 0-16,-1 17 16,36 1-16,-17-18 15,-1 18-15,18 0 0,-18-1 16,0 0-16,18 2 0,-17-19 0,17 17 16,0 1-16,0-1 15,0 2 1,17-19-1,1 0-15,0-19 16,0 19-16,-18-17 0,17 17 16,-17-18-16,17 1 15,2-2-15,-19 2 16,17 17 15,-17 17-15,0 2-1,0-2 17,0 1-17,18-18 1,-1-18 0,0 18-1,19 0 1,-18 18-1,-1-18 1,-17 17 0,36-17-1,-36 19 1,17-19-16,37 0 16,-37 0-16,0 0 15,19 0-15,-18-19 0,-1 19 16</inkml:trace>
  <inkml:trace contextRef="#ctx0" brushRef="#br0" timeOffset="38063.83">15557 13167 0,'18'-18'0,"18"18"16,-2 0-1,-16 0-15,18 0 31</inkml:trace>
  <inkml:trace contextRef="#ctx0" brushRef="#br0" timeOffset="38229.93">15523 13327 0,'0'0'15,"17"17"1,35-17-1,-33 0 1,-2 0-16,0 0 0,1-17 16,0 17-16,0 0 0,-1 0 15</inkml:trace>
  <inkml:trace contextRef="#ctx0" brushRef="#br0" timeOffset="38924.82">16616 13061 0,'0'54'32,"0"-37"-17,0 0-15,0 1 0,-17 0 16,17 0-16,0-1 0,0 0 0,-19 2 16,19-2-16,0 18 0,0-16 15,0-2 1,0 0-16</inkml:trace>
  <inkml:trace contextRef="#ctx0" brushRef="#br0" timeOffset="39535.12">16404 13061 0,'53'0'0,"-35"0"0,-1 0 16,0 0-16,2 0 0,-2 0 16,18 0-16,1 0 15,-19 0-15,1 0 0</inkml:trace>
  <inkml:trace contextRef="#ctx0" brushRef="#br0" timeOffset="39776.37">16404 13256 0,'35'0'31,"1"0"-31,-19 0 16,0 0-16,2 0 0,-2 0 0,1 0 16,18-19-16,-19 19 15</inkml:trace>
  <inkml:trace contextRef="#ctx0" brushRef="#br0" timeOffset="39958.82">16987 13203 0,'-36'-18'0</inkml:trace>
  <inkml:trace contextRef="#ctx0" brushRef="#br0" timeOffset="40324.93">17285 13061 0,'-34'18'15,"68"-36"-15,-103 36 0,50-18 16,2 0-16,0 0 0,-1 18 0,0-18 15,0 18-15,18-1 16,0 0 0,0 1-16,18 0 0,0 0 15,-18-1-15,18 0 16,-1 2-16,-17-2 0,17 1 0,-17-1 16,19 2-16,-19-2 15,0 0-15,-36 18 16,19-35-1,-1 19-15,0-19 0,0 0 0,1 17 0,-18-17 16</inkml:trace>
  <inkml:trace contextRef="#ctx0" brushRef="#br0" timeOffset="41222.92">13317 14191 0,'0'34'16,"-17"-16"-16,17 0 15,0 0-15,0-1 0,0 0 16,-19 19-16,19-18 0,0 18 16,0-19-16,0 0 15,-17 1 1,34-70 15,2-19-15,-2 52-16,-17-15 15,18 16-15,-18 0 16,17 0-16,-17 1 0,19 0 0,-19-1 0,17 0 16,0 18 15,1 36-15,-18-19-16,0 0 15,18 1-15,-18 0 16,0 0-16,18-1 15,-1-17 1,0-17 0,1 17-16,0 0 0,0-18 15,-1 18 1,0 0 0,2 18-1,-19-1-15,17 19 16,1-1-1,18-18 17,-19 2-32,0-19 0</inkml:trace>
  <inkml:trace contextRef="#ctx0" brushRef="#br0" timeOffset="42033.91">14093 14313 0,'18'-17'0,"-18"0"16,0-1 0,0 0-16,-18 54 46,18-19-46,0 19 16,0-19-16,35 18 16,-16-16-1,-2-19 1,0 17-16,1-17 0,0 0 0,0 0 16,-1 0-16,19-17 0,-19 17 0,1 0 15,16-19-15,-15 2 0,-2-1 0,1 18 16,-1-17-16,2-2 15,-2 2-15,0 0 0,1-1 0,-18 0 0,0 0 16,17 18-16,-17-34 16,0 16-16,0 0 15,-17 18 1,-1 18-16,1-18 16,0 18-16,-2-1 0,19 0 15,-17 1-15,-1 0 16,18 0-16,0-1 0,0 0 15,0 2-15,18-2 0,-1-17 32,19 0-32,-1-17 15,-18-2-15,-17 2 0,19 0 16,-2-1-16,0-18 0,19 2 16,-18 16-16,-18 0 15,17 0-15,-17 1 0,17 17 0,-17-17 16,0 51 15,0-16-31,0 0 0,-17 17 0,17-18 16,0 1-16,0 18 0,0-19 15,0 0-15,0 37 0,17-18 16,-17-19-16,19-17 0,-2 17 16,1-17-16,16 18 0,2-18 15,-1 0-15</inkml:trace>
  <inkml:trace contextRef="#ctx0" brushRef="#br0" timeOffset="42260.67">15399 14208 0,'53'0'16,"-1"-17"-1,-33 17 1,-2 0-16</inkml:trace>
  <inkml:trace contextRef="#ctx0" brushRef="#br0" timeOffset="42419.84">15381 14313 0,'0'0'0,"0"19"15,18-19 1,-1 0-16,0 0 0,2 0 16,16 0-16,1 0 15,-19 0-15,18 0 0,18-19 16,-36 19-16</inkml:trace>
  <inkml:trace contextRef="#ctx0" brushRef="#br0" timeOffset="42776.38">17057 14032 0,'0'35'0,"0"1"15,0-19-15,-18 0 16,18 19-16,0-1 16,0 0-16,-18-17 15,18 0-15,0-1 0,0 0 0,0 2 0,0-2 16,0 1-16,0-1 16,18 2-16</inkml:trace>
  <inkml:trace contextRef="#ctx0" brushRef="#br0" timeOffset="43477.03">17304 14120 0,'35'17'32,"-18"-17"-17,-17 18-15,0 0 16,-17 0-1,-1-1 1,18 0-16,0 1 31,0 0-31,18 0 16,-1 16 0,2-15-1,-19-2-15,-19 1 0,19-1 16,-17 2-16,-1-2 15,-18 0 1,19-17-16,17 18 0,-17-18 0,-1 0 16,1 17-16,-2-17 0,-15 0 15</inkml:trace>
  <inkml:trace contextRef="#ctx0" brushRef="#br0" timeOffset="44407.96">13899 15725 0,'0'-18'31,"18"-17"-15,-18 18-16,0-1 15,18-18-15,-18 19 16,17-36-16,-17 35 0,17 1 0,-17-2 15,0 2-15,19 0 16,-19 51 15,0-15-15,0-2-16,17 1 16,1-1-16,-1-17 31,19-17-31,-19-1 15,1 18-15,-18-17 0,17 17 0,2 0 16,-19-19-16,17 19 16,0 0-16,1 19 15,-18-2-15,18-17 16,-18 18-16,0-1 16,18 2-16,-18-2 15,0 0 1,17 1-1,-17 0 17,17 0-1,-17-1-15,19-17-1</inkml:trace>
  <inkml:trace contextRef="#ctx0" brushRef="#br0" timeOffset="44787.14">14516 15567 0,'-17'0'0,"-1"17"0,1-17 15,17 17-15,-17 19 32,34-18-32,-17-1 0,17-17 15,1 0-15,-1 17 16,2-17-1,-2-17-15,0 17 0,1-17 16,-18-1 0,-18 0-16,1 0 15,17 1 1,-17 17-16,-2-17 0,2 17 16</inkml:trace>
  <inkml:trace contextRef="#ctx0" brushRef="#br0" timeOffset="45376.19">15081 15337 0,'-17'71'31,"-2"-54"-15,19 54-1,-17-36-15,17-18 16,0 2-16,0-2 0,0 0 16,0 1-16,0 0 15,0 0 1,-17-18-1,-1 0 1,0 0 0,-17 0-1,18 0 1,-1 17-16,0 0 0,18 1 16,0 0 15,18-18-31,34 0 15,-34 0-15,18 0 16,-19-18-16,0 18 0,2-18 16,-2 18-16,1-17 0,-1 17 0,2-17 15,-2-1 1,-34 36 31,17-1-32,17 0 1,35 19 0,-16-36-16,-19 0 15,37 0-15,-20 0 16,-15 0-16,16 0 0</inkml:trace>
  <inkml:trace contextRef="#ctx0" brushRef="#br0" timeOffset="45695.6">15945 15548 0,'18'0'0,"0"0"16,0 0-1,16 0-15,-16 0 16,0 19-16,0-19 15</inkml:trace>
  <inkml:trace contextRef="#ctx0" brushRef="#br0" timeOffset="45848.64">16016 15637 0,'-17'18'16,"34"-36"-16,-17 53 31,53-35-16,-35 0-15,-1 0 16,0-17-16,2 17 0,16 0 16,-18 0-16,0 0 0</inkml:trace>
  <inkml:trace contextRef="#ctx0" brushRef="#br0" timeOffset="46163.39">16987 15301 0,'17'-17'0,"-17"52"16,0-17-1,17 0-15,-17-1 16,0 0-16,0 2 16,0-2-16,0 1 0,-17-1 0,17 0 15,0 2-15,0-2 16,0 1-16,17-1 16,1 2-1</inkml:trace>
  <inkml:trace contextRef="#ctx0" brushRef="#br0" timeOffset="46662.87">17216 15319 0,'0'-18'0,"0"1"16,17 0 0,1 17-16,-1 0 15,-17 17 1,17 0 0,-17 1-1,19 0 1,-19 0-16,17 16 15,1-15 1,-18-2-16,0 1 0,0-1 16,0 0-16,0 2 15,-18-19-15,18 17 0,-17 1 0,-2-1 16,2-17-16,17 19 16,-17-19-16,-1 17 0,1-17 15</inkml:trace>
  <inkml:trace contextRef="#ctx0" brushRef="#br0" timeOffset="48311.75">17851 13149 0,'17'0'16,"0"0"-16,19 0 0,-1-17 0,1 17 15,16 0-15,72 0 0,-36 0 16,-17 0-16,17 0 0,0 0 16,18 0-16,0 0 0,18 0 0,-19 0 15,19 0-15,-19 0 0,37-17 16,-20 17-16,20 0 0,-1 0 0,0-18 15,35 18-15,-34 0 0,-1-18 16,18 18-16,-18 0 0,-18 0 0,1-18 16,0 18-16,-2 0 0,-15 0 15,16 0-15,-35 0 0,0 0 16,-18 0-16,1 0 0,-18 0 0,-18 18 0,1-18 16,-19 0-16,19 0 15,-1-18-15,-18 18 16</inkml:trace>
  <inkml:trace contextRef="#ctx0" brushRef="#br0" timeOffset="48593.34">21748 12849 0,'19'0'0,"-2"19"15,-53-38-15,89 38 0,-35-19 0,0 17 16,0-17-16,-1 18 0,0-1 0,2-17 16,-2 19-16,1-2 0,-1 0 0,0 1 15,-17-1-15,19 19 0,-19-19 16,17 1-16,-17 0 0,0 17 0,0-18 15,-17 1-15,17 18 0,-19-19 0,2 0 16,0 19-16,-1-1 16,18-16-16</inkml:trace>
  <inkml:trace contextRef="#ctx0" brushRef="#br0" timeOffset="49220.62">23265 12656 0,'71'-17'16,"-54"17"-16,2 0 16,-2 0-16,18-19 15,-18 19-15,2 0 0,-2 0 0,1 0 16,-1 0-16,2 19 15,-2-2-15,-17 0 0,35 19 16,-17-1-16,0 0 16,-18 1-16,0-19 15,17 0-15,-17 19 0,0-18 16,0-1-16,0 2 0,0-2 16,0 0-16,-17 1 15,-1-1-15,0-17 0,0 19 16,-16-19-16,15 0 0,-16 17 15,18-17-15,-2 0 0,-15-17 32,16 17-32</inkml:trace>
  <inkml:trace contextRef="#ctx0" brushRef="#br0" timeOffset="49718.72">23760 12779 0,'0'-18'0,"-19"54"47,38-1-32,-19-18 1,17-17-16,-17 19 15,18-19 1,-1 0-16,19 0 16,-19-19-16,1 19 15,-1-17-15,19 17 32,-19 17-17,-17 2 1,18-19-16,-18 17 15,18-17 1,0 0-16,-1 0 0,0 0 16,1 0-1,0 0 1,17 0 0,-18 0-1,2 0-15,-2-17 16,1 17-1,-1 0-15,19 0 0,-19 0 16,1-19-16,-1 19 0</inkml:trace>
  <inkml:trace contextRef="#ctx0" brushRef="#br0" timeOffset="50087.48">24536 12603 0,'17'0'0,"-34"36"31,17-72-31,0 89 0,0-36 0,0 19 0,-19-1 16,19-18-16,0 19 0,-17-1 15,17 1-15,0 16 16,-17-33-16,17-2 0,0 18 0,-18-35 0,18 17 16,0 2-16,0-2 0,18-34 46,-1-2-46,0 2 16,-17-1-16,19 1 0,16-19 0,-18 19 16,2-1-16,-2 18 0,0-17 15,1 17-15,-18-19 0,17 19 16,2 0-16,-19 19 31,-19-2-15,2 1-16,-1-18 15,18 17-15</inkml:trace>
  <inkml:trace contextRef="#ctx0" brushRef="#br0" timeOffset="50759.68">26652 12320 0,'0'-17'0,"-17"53"15,-1-36-15,0 17 0,-17 36 16,-36 18-16,18-2 15,-18 21-15,19-38 16,-18 18 0,34-34-16,18-18 0,-16 16 15,16-15-15,0-2 0,0 1 16,1-1-16</inkml:trace>
  <inkml:trace contextRef="#ctx0" brushRef="#br0" timeOffset="51011.74">26159 12356 0,'52'35'0,"-52"-17"16,18 0-16,0 16 0,-1-15 0,0 16 15,19 18-15,-18-18 0,16 35 16,20 1-16,-1-18 16,-18-18-16,-17 1 15,0-36-15,16 17 0,-16 1 16,0-18-16,34 17 0,2-17 16</inkml:trace>
  <inkml:trace contextRef="#ctx0" brushRef="#br0" timeOffset="51555.33">26547 11439 0,'-142'0'16,"89"0"-16,-18 17 15,-17 0-15,0 2 0,18 33 0,-18-16 0,-71 69 16,88-34-16,-17 0 0,18 17 16,16 0-16,2-18 15,-37 108-15,54-20 0,35-70 16,18 0-16,18 0 15,52 71-15,-18-88 0,106 70 16,-88-88-16,88 35 16,2-36-16,-73-33 15,0-2-15,-15-17 0,15 0 0,107-36 16,-107 19-16,-17-18 0,19-1 16,86-34-16,-86-1 15,-19 19-15,71-89 0,-107 70 16,37-88-16,-72 71 15,1 0-15,-18-1 0,0 1 16,-18 0-16,-18 0 0,-69-88 0,34 88 16,-229-124-1,178 159-15,32 18 0,-120-36 16,122 54-16,-124-19 16,0 19-16,53 34 15,35 0-15,72 2 16,-1-2-16,-1 18 0,37-18 15</inkml:trace>
  <inkml:trace contextRef="#ctx0" brushRef="#br0" timeOffset="55985.17">17585 12868 0,'107'-36'0,"-90"36"15,1 0-15,-1 0 16,2 17-16,-19 2 16,0-2-16,0 1 15,0-1-15,0 2 0,-19 15 16,19 1-16,-17 1 0,-18-1 0,35 18 15,-36 0-15,19-18 0,-18 89 16,-1-72-16,1 72 16,17-71-16,-17 53 0,18-53 15,-1-1-15,18 1 0,-18 1 16,18-1-16,0-18 0,0-1 0,18 2 16,0 52-16,-1-70 15,0 18-15,1-19 0,0 0 0,0 1 16,-1-18-16,0 18 0,2-18 15,-2 0-15,1 0 0,-1 0 0,19 0 16,-19 0-16,1 0 0,-1-18 0,2 18 16,-2-18-16,0 18 0,1-17 15,0 17-15,0 0 16,-1 0-16,0 17 16,-17 1-16,0 18 15,0-2-15,18 73 0,-18-55 16,0 19-16,18 70 15,-18-88-15,0 89 0,18-72 16,-18 1-16,0-19 0,0 19 16,0-18-16,-18 18 0,18-19 0,0 18 15,-18-16-15,0-1 0,1 35 16,0-35-16,-37 17 16,37-34-16,0-2 0,-2-15 0,2-2 15,-18 1-15,18-1 0,-2-17 16,2 19-16,-1-19 0,1 0 15,-19 0-15,19 0 0,-1 0 0,0 0 16,0-19-16,1 2 0,0-1 16,-1 1-16,0-2 0,18 2 15,-18-18-15</inkml:trace>
  <inkml:trace contextRef="#ctx0" brushRef="#br0" timeOffset="57900.87">18080 14561 0,'317'18'0,"-211"-1"0,-18-17 16,18 17-16,0 2 0,0-19 0,17 17 15,1-17-15,-1 18 0,1-1 16,34 0-16,-16-17 0,16 19 15,18-2-15,-17 1 0,0-1 0,-35-17 16,52 19-16,-52-2 0,-2 0 16,2-17-16,88 35 0,-106-35 15,-18 19-15,-18-19 0,-16 17 0,-1-17 16,-18 0-16,-18 0 0,19 0 16,-19 0-16,1 0 15</inkml:trace>
  <inkml:trace contextRef="#ctx0" brushRef="#br0" timeOffset="58224.65">21519 14472 0,'53'19'16,"0"15"-16,-159-87 0,230 106 0,-71-17 15,-18-18-15,1 16 0,-2 2 16,37 35-16,-35-36 0,-1 1 16,-18-2-16,0 20 0,2-20 0,-2-16 15,-17 18-15,0-2 16,-17 2-16,-2-1 0,2 1 0,-54 52 15,37-53-15,-20 1 16,1-2-16,1-16 0,16 18 0,-16-19 16,16 0-16,1 2 0,-1-19 15</inkml:trace>
  <inkml:trace contextRef="#ctx0" brushRef="#br0" timeOffset="60064.74">23795 14579 0,'-35'70'0,"35"-35"0,-19 1 16,19 16-16,-17-16 0,0 16 0,-1-16 16,0 17-16,18-35 0,-18 16 15,1 2-15,17-1 0,-17 18 16,-1-35-16,18-1 0,0 2 0,-18-2 15</inkml:trace>
  <inkml:trace contextRef="#ctx0" brushRef="#br0" timeOffset="60411.78">23724 14649 0,'17'-36'0,"-34"72"0,53-89 15,-19 53 1,18 17-16,-16-17 0,33 71 16,-35-54-16,2 19 15,-2-18-15,-17 18 0,17-19 0,-17 18 16,0 1-16,0-19 15,0 18-15,0-17 0,-17 17 0,0 18 16,-2-18-16,-16 1 0,1-19 16,15 18-16,-33 1 15,33-19-15,-15-17 0,16 18 0,-18 0 16,19-18-16,0 0 16,-1 0-16,0 0 15,18-18-15</inkml:trace>
  <inkml:trace contextRef="#ctx0" brushRef="#br0" timeOffset="60588.42">24129 14967 0,'0'17'0,"0"0"0,0 2 16,-17-2-16,17 1 15,-17-1-15,17 0 0,-18-17 16,18 19-16,0-2 0,-18-17 0,18 18 16</inkml:trace>
  <inkml:trace contextRef="#ctx0" brushRef="#br0" timeOffset="60749.98">24236 14737 0,'-17'-17'0</inkml:trace>
  <inkml:trace contextRef="#ctx0" brushRef="#br0" timeOffset="61003.96">24448 15001 0,'-19'36'0,"19"-18"0,19-72 0,-38 125 15,19-54-15,-17 2 16,17-2-16,-17 1 15,-1-1-15,-18 2 16,19-2-16,0-17 16,-2 0-16,2 0 0,-1 0 15</inkml:trace>
  <inkml:trace contextRef="#ctx0" brushRef="#br0" timeOffset="61443.17">24712 14825 0,'-17'18'32,"17"-1"-32,-19 2 0,2 15 15,17-16-15,-18 18 0,18-19 16,0 0-16,-17-17 0,17 36 15,17-18-15,-17-1 16,18-17-16,-18 17 0,17-17 0,2 0 16,-2 0-16,0 0 15,1 0-15,0-17 0,0 17 16,-1 0-16,0 0 16,2 0-16,-2 0 15,-17 17-15,18-17 16,-1 19-1,0-2-15,2-17 16,-2 0-16,1 0 0,18 0 16,-19-17-16,18 17 15,-35-19-15,18 19 0,-18-17 16,18 17-16,-18-17 0,-18-1 16,18 1-16,-18-2 15,0 19-15,18-17 0,-17 17 0,0 0 16,-2 0-16,2 0 0,-1 0 15,1 17-15</inkml:trace>
  <inkml:trace contextRef="#ctx0" brushRef="#br0" timeOffset="61912.04">24359 15531 0,'106'36'0,"-54"-36"15,-16 0-15,18 0 0,-2 0 0,1-19 16,71 2-16,-55-1 0,-15 1 16,34-2-16,-18 2 15,54-35-15,-70 16 0,15 1 16,-16-1-16,1 2 0,-1-20 0,35-34 15,-53 18-15,1-1 16,-2 0-16,20-105 0,-37-18 16,-17 88-16,-17 18 0,-2-18 15,-33 18-15,16 17 0,-52-17 16,-105-17-16,-37 34 16,106 35-16,0 36 0,-16 0 15,-37 0-15,18 19 0,-17 15 0,18 2 16,-18 16-16,-124 55 0,176-36 15,-123 69-15,142-51 16,15-1-16,20 17 0,18-34 16,-2 0-16,1 87 0,53-87 15,0 0-15,124 158 16,-53-176-16,17 17 0,36-17 16,-36-17-16,124 16 0,-90-35 15,-15 2-15,16-19 0</inkml:trace>
  <inkml:trace contextRef="#ctx0" brushRef="#br0" timeOffset="62241.04">26105 15037 0,'54'18'15,"-20"-18"-15,2 0 0,16 17 0,19-17 16,0 17-16,35-17 0,70 19 15,-88-2-15,-17-17 16,0 18-16,-18-18 0,16 17 16,-33-17-16,-1 0 0,1 19 0,-19-19 15,19-19-15</inkml:trace>
  <inkml:trace contextRef="#ctx0" brushRef="#br0" timeOffset="62470">27164 14808 0,'53'52'0,"-18"-16"16,-123-124-16,193 211 0,-87-105 0,0 17 16,0 18-16,-1-18 15,-17 1-15,0-1 0,0 53 0,-17-35 16,-19 35-16,1-52 15,0 16-15,-1-16 0,2-1 0,-20 18 16,18-36 0,19 1-16</inkml:trace>
  <inkml:trace contextRef="#ctx0" brushRef="#br0" timeOffset="63388.13">28521 14472 0,'0'-35'0,"-34"53"15,16-18-15,-18 17 0,19 19 16,-18-1-16,-1 1 0,19-2 0,-19 20 15,-16 51-15,52-69 16,-17-1-16,17 1 0,0 16 16,17-34-16,-17 0 0,17-1 15,18 19-15,-16-19 0,-2-17 16,0 0-16,1 0 0,0 0 16,17 0-16,-18 0 15,2-17-15,-2-2 0,-17 2 16,0 0-16,0-1 15,-17 0-15,17 0 0,-19 18 16,2-34-16,0 34 16,-1 0-16,0-19 0,0 19 15,1-17-15,0 17 16</inkml:trace>
  <inkml:trace contextRef="#ctx0" brushRef="#br0" timeOffset="63660.37">28663 14684 0,'-18'36'31,"18"-19"-15,0 1-16,0-1 0,0 2 16,0-2-16,0 18 15,0-18-15,18 2 0,0 15 16,0-34-16,-1 18 0,0-18 15,1 0-15,0 0 16,0-18-16,-1 18 0,-17-17 16,0 0-1,0-2-15,-17 19 0,17-17 16,-18-1-16,0 1 16,18 0-1</inkml:trace>
  <inkml:trace contextRef="#ctx0" brushRef="#br0" timeOffset="63838.91">29245 14632 0,'-17'35'0,"17"-18"0,-19 0 16,2 2-16,17 16 0,-53 18 15,35-18-15,1-18 0,-18 19 16,17-19-16,-17 19 0,18-18 16</inkml:trace>
  <inkml:trace contextRef="#ctx0" brushRef="#br0" timeOffset="63971.94">29016 14791 0,'0'-19'15,"0"38"-15,0-55 16</inkml:trace>
  <inkml:trace contextRef="#ctx0" brushRef="#br0" timeOffset="64532.57">28911 15372 0,'105'-17'15,"-70"-1"-15,-175 53 0,333-88 16,-140 35-16,18-16 0,0 16 0,-2-18 16,2 2-16,18-20 0,-20 18 15,90-86-15,-70 51 0,-37 0 0,36-34 16,-34 17-16,-1-1 15,-18 1-15,-17 0 0,0 17 0,-18 0 0,-18 1 16,0-1-16,-17 19 0,-36-1 16,1 18-16,-18-1 0,0 19 15,-19-1-15,-16 18 0,-177 35 16,124 1-16,-1-1 0,1 18 0,0-1 16,17 19-16,-141 53 15,176-36-15,19-18 0,17 18 0,35-34 16,-1 16-16,20 1 0,16 0 15,0-19-15,36 72 0,17-54 16,18-18-16,18 2 0,88 52 16,-54-54-16,19-16 15,140 16-15,-140-33 0,140 16 16,-123-35-16,35 0 0,-34 0 16,-1 0-16,-17 17 0,104-17 15</inkml:trace>
  <inkml:trace contextRef="#ctx0" brushRef="#br0" timeOffset="64808.23">30321 15477 0,'0'19'16,"18"-2"-1,-1-17-15,-17 18 16,19-18-16,-2 0 0,0 17 15</inkml:trace>
  <inkml:trace contextRef="#ctx0" brushRef="#br0" timeOffset="64978.95">30585 15443 0,'-17'17'31,"0"36"-15,17-35-16,-18-1 15,0 2-15,18-2 0,-18 0 0,18 1 16,-17 0-16,0 17 0,17-18 16,-19 1-16,19 0 0,-17 0 15</inkml:trace>
</inkml:ink>
</file>

<file path=ppt/ink/ink126.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46:56.486"/>
    </inkml:context>
    <inkml:brush xml:id="br0">
      <inkml:brushProperty name="width" value="0.05292" units="cm"/>
      <inkml:brushProperty name="height" value="0.05292" units="cm"/>
      <inkml:brushProperty name="color" value="#0070C0"/>
    </inkml:brush>
  </inkml:definitions>
  <inkml:trace contextRef="#ctx0" brushRef="#br0">25682 644 0,'17'-17'0,"-17"51"16,0-16-16,19 0 16,-19 0-16,0-1 15,0 18-15,0-17 0,0 0 0,0-1 16,0 0-16,0 2 16,0-2-16,0 1 0,0-1 0,0 2 15,0-2-15,0 0 16</inkml:trace>
  <inkml:trace contextRef="#ctx0" brushRef="#br0" timeOffset="249.87">25647 679 0,'0'-18'0,"18"36"15,35 0 1,-36 0-16,-17-1 16,18-17-16,-1 17 0,2 1 15,15 0 1,-34 0-16,18-18 0</inkml:trace>
  <inkml:trace contextRef="#ctx0" brushRef="#br0" timeOffset="458.53">26070 591 0,'0'0'0,"-35"17"16,-1 19-1,19-19 1,17 1-16,-17 0 0,-1 0 16,0-1-16,0 36 15,1-35-15,17-1 0,0 0 32</inkml:trace>
  <inkml:trace contextRef="#ctx0" brushRef="#br0" timeOffset="643.65">25929 785 0,'18'-36'0,"-18"19"15,-18 70-15,54-123 0,-36 52 16,17 0 0,0 36-1,-17 0-15,0-1 16,19 0-16,-19 1 0,17 35 16,-17-36-1,18 19-15,-18-18 0,17 18 16,-17-19-16,17 18 15,2-35-15,-19 17 16</inkml:trace>
  <inkml:trace contextRef="#ctx0" brushRef="#br0" timeOffset="1305.57">26282 927 0,'0'-36'0,"0"18"0,0 1 0,0-19 16,0 19-1,0-1 1,-17 18-16,-1 18 15,0-1 1,18 0-16,0 2 16,0-2-16,0 1 15,0-1-15,18 2 0,-18-2 16,18-17-16,-1 17 0,0-17 16,19 0-16,-18 0 0,16 0 15,-15 0-15,16-17 0,-18 17 0,0-17 16,2-2-16,-2 19 0,1-17 15,-1-1-15,2 1 0,-2-2 0,-17 2 16,17 0-16,-17-1 16,0 0-1,0 0 1,-17 36 0,17 0-16,-17-18 15,17 18-15,-19-1 16,19 0-16,0 2 15,19-19-15,-19 17 16,17-17 0,0 0-1,1 0-15,0 0 16,0 0 0,16-17-1,-16 17 1,18 0-1,-19 0 1,0 0-16,2 0 0,16-19 16,-18 19-16,19 0 15,-19 0-15</inkml:trace>
  <inkml:trace contextRef="#ctx0" brushRef="#br0" timeOffset="1619.88">27446 715 0,'36'0'16,"-1"0"-16,-18 0 15,0 0-15,2 0 0,-2 0 0,1-18 16,-1 18-16</inkml:trace>
  <inkml:trace contextRef="#ctx0" brushRef="#br0" timeOffset="1849.54">27781 520 0,'36'17'31,"-19"-17"-31,0 19 0,-17-2 16,19 1-16,-2-18 0,-17 17 0,18 2 16,-18-2-16,17 0 15,-17 1-15,0 0 0,0 0 16,0-1-16,0 0 16,0 1-1</inkml:trace>
  <inkml:trace contextRef="#ctx0" brushRef="#br0" timeOffset="2210.79">28505 767 0,'0'-52'16,"-18"34"-1,18 0-15,0 0 0,0 1 0,0-19 16,0 19-16,0-18 16,0-18-16,0 18 0,18 16 0,-18-15 15,0 16-15,0-18 16,17 36-16,-17-17 0,17 17 15,2 0-15,-2 0 0,-17 17 16,18 1-16,16 0 0,-15 0 16,-19 16-16,17-15 15,1-2-15,-18 1 0,17 16 0,-17-15 0,19 33 16,-19-33 0</inkml:trace>
  <inkml:trace contextRef="#ctx0" brushRef="#br0" timeOffset="2366.65">28575 661 0,'0'0'0,"18"-17"0,-1 17 16,-17-17-16,17 17 0,2 0 15,-2 0-15,1-19 0,-1 19 16,2 0-16,-2 0 0</inkml:trace>
  <inkml:trace contextRef="#ctx0" brushRef="#br0" timeOffset="3170.95">28998 537 0,'0'-34'47,"19"16"-47,-19-18 32,0 19-32,0 0 0,0-1 15,17 53 32,0-35-16,1 0-15,-1-17 0,-17 34-1,19-17-15,-2 0 16,-17 17-16,17 2 15,-17-2 1,36 1 0,-36-1-16,18-17 0,-18 17 0</inkml:trace>
  <inkml:trace contextRef="#ctx0" brushRef="#br0" timeOffset="3886.54">28698 1155 0,'-35'18'15,"18"0"-15,-2-1 0,19 0 16,-17 2-16,0-2 0,17 1 16,0-1-16,0 2 15,0-2-15,17 0 16,0-17-1,2 0-15,-2-17 16,1 17-16,-1 0 16,2-17-1,-2 17-15,0 17 16,1-17-16,-18 17 0,18-17 16,-18 18-16,18-18 0,-18 17 15,17-17-15,-17 19 0,17-19 16,-17 17-16,18-17 0,0 17 0</inkml:trace>
  <inkml:trace contextRef="#ctx0" brushRef="#br0" timeOffset="4582.1">29051 1332 0,'0'-17'63,"0"-2"-32,18 2-15,-18-1-16,0 1 0,17-2 15,-17 2 1,0 0-16,19 17 15,-19-18 1,17 36 0,0-1-1,1-17 1,18-17 0,-19 17-1,0 0 1,1-18-1,0 36-15,0-18 16,-18 17 0,17 0-16,-17 2 15,0-2-15,17 1 16,-17-1-16,19-17 0,-19 19 16</inkml:trace>
  <inkml:trace contextRef="#ctx0" brushRef="#br0" timeOffset="4930.21">28981 1737 0,'0'0'15,"17"36"1,-34-1-1,17-18-15,0 1 0,0 18 16,0-19-16,0 0 16,0 2-16,0-2 0,0 18 15</inkml:trace>
  <inkml:trace contextRef="#ctx0" brushRef="#br0" timeOffset="5143.74">29227 1720 0,'18'-36'15,"-18"72"1,0-19-16,0 19 16,18-18-16,-18-1 0,0 0 15,0 1-15,0 0 0,18-18 16,-18 18-16,17 16 15,-17-15-15</inkml:trace>
  <inkml:trace contextRef="#ctx0" brushRef="#br0" timeOffset="5328.09">28981 1932 0,'-18'-19'15,"53"19"17,1 0-17,-19 0-15,1 0 0,-1 0 0,2-17 16,15 17-16,-16 0 0,0-17 0</inkml:trace>
  <inkml:trace contextRef="#ctx0" brushRef="#br0" timeOffset="5981.53">29474 1879 0,'0'-36'31,"0"18"-15,0 1-1,19 0-15,-19-1 16,0 0 0,0 0-16,0 54 47,17-18-32,0-18 1,37-18-1,-37 18-15,0 0 16,2 0-16,-2 0 0,1 0 16,-1 0-16,0 18 15,2-18-15,-19 17 0,17 0 16,1 19 0,-18-18-1,17-1-15</inkml:trace>
  <inkml:trace contextRef="#ctx0" brushRef="#br0" timeOffset="7445.02">27463 2813 0,'-17'0'0,"17"18"16,-17-1-1,17 19 1,0-19-16,0 1 15,0 0-15,17 0 0,0 16 16,2-34 0,-2 19-1,1-19-15,-1 0 0,0 0 16,2 0-16,-2-19 16,1 2-16,-18 0 15,0-1 1,0 0-16,0 0 0,-18 1 0,18 0 15,0-2-15,-17 19 0,17-17 0,-19 17 16,19-18-16,-17 18 0,0-17 16,-1 17-1,1 17 1</inkml:trace>
  <inkml:trace contextRef="#ctx0" brushRef="#br0" timeOffset="7764.76">27693 2831 0,'18'0'0,"-18"17"16,0 2-1,0-2-15,18-17 16,-18 17-16,0 1 0,0 0 15,17-18-15,0 18 0,1-18 16,18 0 0,-19 0-1,0 0-15,2-18 16,-2 18 0,-17-18-16,0 0 46</inkml:trace>
  <inkml:trace contextRef="#ctx0" brushRef="#br0" timeOffset="7943.59">28063 2672 0,'0'0'16,"18"36"-1,-18-19-15,18 1 16,-18-1-16,0 2 0,0 15 16,0-16-16,18-1 15,-18 19-15,0-19 0,0 1 0,0 0 16</inkml:trace>
  <inkml:trace contextRef="#ctx0" brushRef="#br0" timeOffset="8236.82">28063 2972 0,'18'-35'15,"-18"17"-15,18 18 0,-18-18 0,18 1 16,-1 0-16,0-2 16,1 2-16,0 17 0,-18-18 15,18 1-15,-1 17 16,-17-17-16,17 17 15,-17-19-15,19 38 16,-2-2-16,-17 0 16,0 1-16,0-1 15,0 2-15,18-19 0,-18 17 16,0 18-16,0-17 16,0 0-16,0-1 0,17-17 15,-17 17-15</inkml:trace>
  <inkml:trace contextRef="#ctx0" brushRef="#br0" timeOffset="8443.86">28522 2937 0,'0'-18'16,"0"54"-1,0-19 1,0 0 0,0 2-1</inkml:trace>
  <inkml:trace contextRef="#ctx0" brushRef="#br0" timeOffset="8565.96">28539 2884 0,'0'-17'0,"0"-2"31</inkml:trace>
  <inkml:trace contextRef="#ctx0" brushRef="#br0" timeOffset="9082.6">28717 2901 0,'0'0'16,"0"-17"-16,-19 34 47,2 1-47,17 0 16,17 0-1,2-18 1,-2 0-1,0-18-15,1 18 0,0 0 0,17 0 16,-18 0 0,1 0-1,0 0-15,0 0 16,-1 0-16,-17 18 0,17-18 16,2 17-1,-2-17 1,1 0 15,-1-17-15,-17-1-16,19 0 0,-19 0 15,17 18 1,-34-17 0</inkml:trace>
  <inkml:trace contextRef="#ctx0" brushRef="#br0" timeOffset="9245.93">28627 2708 0</inkml:trace>
  <inkml:trace contextRef="#ctx0" brushRef="#br0" timeOffset="10127.82">28381 3167 0,'17'17'0,"2"0"0,-2-17 16,0 0-16,1 0 0,18 0 15,-2 18-15,20-18 0,-1 0 0,18 0 16,-1-18-16,-18 18 0,19 0 16,0-17-16,-1 17 0,-16-17 0,16 17 15,-18-19-15,2 2 0,-1 17 16,-18-18-16,1 1 0,-2-2 0,37 2 16,-54 0-16,1-1 15,18 1-15,-19-2 0,0-15 0,2 16 16,-19 0-16,17-17 0,-17 18 0,18-2 15,-18-16-15,-18-18 16,18 18-16,-17-18 0,-19 18 0,-35-71 16,18 54-16,-16-2 15,-2 20-15,-212-90 16,142 88-16,36 1 0,-19 18 16,1-1-16,-18 0 0,-1 18 0,1 0 15,-18 18-15,-35 0 0,18 16 0,0 2 16,17 16-16,0 2 0,-265 122 15,319-123-15,-2 18 16,19-18-16,18 18 0,18-19 16,-2 18-16,1 1 0,36-18 0,-1-1 15,36 2-15,-18-1 0,36 18 16,140 87-16,-106-123 16,18 1-16,18-1 0,123 18 15,-122-36-15,15 1 0,-15 0 16,-19-18-16,0 18 0,0-18 15</inkml:trace>
  <inkml:trace contextRef="#ctx0" brushRef="#br0" timeOffset="13510.82">12506 2037 0,'353'-53'0,"-247"36"16,-1-1-16,19 18 0,35-17 0,17-2 15,1 2-15,-1-18 0,229-1 16,1 2-16,18-20 16,-231 37-16,19-19 15,176-16-15,-193 33 0,-2-15 16,143-20-16,-55 20 16,-157 16-16,-18 18 15,0-18-15,0 0 0,-36 18 0,1 0 16,-18-17-16,-1 17 0,-16 0 0,-18 0 15,-1 0-15</inkml:trace>
  <inkml:trace contextRef="#ctx0" brushRef="#br0" timeOffset="13842.92">14146 2179 0,'124'-36'15,"69"1"-15,-69-1 0,564-69 31,-493 87-31,369-52 16,-176 16-16,212-16 31,-477 70-31,-17-18 0,0 1 16,-1 0-16,72-19 0,-125 36 16,-16-18-16</inkml:trace>
  <inkml:trace contextRef="#ctx0" brushRef="#br0" timeOffset="30317.96">3617 6200 0,'17'0'125,"18"35"-125,1-35 16,-19 0-16,0 0 15,19 18-15,-1-18 16,18 0 0,-18 0-16,72 0 0,-38 0 15,38 0-15,-2 0 16,36 0-1,-17 0-15,35 0 0,-54 0 16,37 0-16,-54 0 16,-35 0-16,-1 0 15,-16 0-15,-1 0 16,-17 0 0</inkml:trace>
  <inkml:trace contextRef="#ctx0" brushRef="#br0" timeOffset="31493.83">12647 7064 0</inkml:trace>
  <inkml:trace contextRef="#ctx0" brushRef="#br0" timeOffset="31925.88">13353 7117 0</inkml:trace>
  <inkml:trace contextRef="#ctx0" brushRef="#br0" timeOffset="32349.24">14429 7029 0</inkml:trace>
  <inkml:trace contextRef="#ctx0" brushRef="#br0" timeOffset="32878.23">15787 7029 0</inkml:trace>
  <inkml:trace contextRef="#ctx0" brushRef="#br0" timeOffset="35085.76">16969 7012 0,'-18'0'62,"18"17"-46,18 1-1,35-18-15,52 17 16,-17-17-16,36 36 0,18-36 16,34 0-16,0 0 15,36 17 1,-36 1-16,-35-1 0,18-17 15,-18 0 1,-17 0-16,-36 0 0,35 0 16,-17 0-1,-18 0-15,-34 0 16,15 0 0,-16 0-16,18 0 0,-35 0 15,-1 0-15,-1 0 16,20 0-16,-37 0 15,19-35-15,-19 35 16,18-34-16,-35 15 16,19-16-16,-19 18 15,0-36 1,17-1-16,18-16 0,-35 35 16,0-18-1,0-18-15,0 19 0,0-55 16,-18 90-1,-16-54 1,15 54-16,2 0 0,-35-73 16,33 56-1,-16 16 1,35 0-16,-17 18 0,-2-18 16,2 18-1,-18 0-15,-1-17 16,2 17-16,-2-17 15,-52-19-15,36 36 16,-38 0-16,38-18 16,-18 18-16,-125-53 15,143 53 1,-19-17-16,1 17 16,-18-18-16,34 18 15,-16-17-15,-1 17 16,-34-17-16,-2 17 15,2 0-15,-37-19 16,20 19 0,32 0-16,-50 0 0,16 0 15,36 0-15,-53 0 16,36 0-16,15 0 16,21 0-16,33 0 15,-52 0 1,52 0-16,1 0 15,18 0 1,-36 0-16,35 0 16,1 0-16,-19 19 15,-69-19-15,69 34 16,18-16 0,1-18-16,0 17 15,-19 2-15,36-2 16,-18-17-16,1 35 15,17-17 1,-19 34-16,19-34 16,0 0-16,0 17 15,0 1 1,0-19-16,0 1 0,0-1 16,0 19-16,0-19 15,0 1-15,0-1 16,0 2-16,0-2 15,0 0 1,0 1-16,0 0 16,19-18-1,-19 18-15,0-1 0,17 0 16,-17 2 0,18-2-16,-1 18 0,-17-18 31,19 2-16,-2-2-15,-17 1 16,17-1 0,-17 2 15,18-2-15,0 18 15,0-35-16,-18 36 1,17-19 0,0 0-1,19 1 17,-36 0-17,18 0-15,-1-18 0,19 34 16,-1-34-1,18 0-15,-18 19 0,1-19 16,-2 17 0,-16-17-16,52 18 0,-34-18 15,-18 0 1</inkml:trace>
  <inkml:trace contextRef="#ctx0" brushRef="#br0" timeOffset="39085.93">5203 9040 0,'18'0'156,"18"0"-140,17 0-1,16 0 1,2 0-1,36 0-15,-19 0 0,34 0 16,-32 0 0,-2 0-16,-54 0 0,20 0 15,-1 17-15,-18-17 16,-18 0-16,0 0 16,19 0-16,-1 0 15,1 18 1,17-18-16,17 0 0,0 36 15,20-36-15,-2 0 16,0 0-16,34 0 16,2 0-16,-36 0 15,19 0 1,86 0 0,2 17-1,-107-17 1,35 17-16,-35-17 0,89 19 15,-89-19-15,53 0 16,1 0-16,-2 0 16,-16 0-16,17 0 15,18 0-15,-18 0 16,35 0-16,-17 0 16,35 0-16,-54 0 15,20 0-15,-1 0 16,17 0-16,0 0 15,141 0 1,-175 0-16,-36 0 16,0 0-16,-18 0 15,-18 0-15,-16 0 16,-2 0-16,-16 0 16,-2 0-1,2 0-15,-18 0 16,-1 0-16,19 0 0,16 0 15,-33 0-15,33 0 16,1 0 0,0 0-16,18 0 15,-36 0-15,35 0 16,-16 0-16,34 0 16,-36 0-16,1 0 15,0 0-15,-35 0 16,35 0-16,-36 0 15,54 17-15,-36-17 16,-17 0 0,34 0-16,-16 0 0,-1 0 15,-18 0 1,2 0 0</inkml:trace>
  <inkml:trace contextRef="#ctx0" brushRef="#br0" timeOffset="42125.94">19297 9057 0,'0'18'78,"0"18"-63,17 17-15,2-36 0,15 71 16,-16-70 0,0 18-1,0 16 1,-1-34-16,0-18 16,2 18-1,16 16-15,-18-34 16,19 18-16,16 18 15,1-36 1,1 17-16,16 0 0,36 19 16,-53-18-16,35-18 15,0 17-15,17-17 16,-51 0-16,-1 0 16,70 0-1,-53 0-15,1 0 0,17 0 16,-17 0-1,35 0-15,-18 0 0,54 0 16,-37 0 0,36 0-16,-53 0 15,36 0-15,-1 0 16,-16 0-16,33 0 16,-34 0-16,36 0 15,-37 0-15,19 0 16,-1 0-16,1 0 15,-19 0-15,19 0 16,-1 0 0,18 0-16,18 0 0,-35 0 15,34 0 1,-34 0-16,16 0 0,-16 0 16,-18 0-16,18 0 15,17 0-15,-70 0 16,-1 0-16,-35 0 15,1 0 1,-19-17-16,1 17 0</inkml:trace>
  <inkml:trace contextRef="#ctx0" brushRef="#br0" timeOffset="43589.21">24413 9428 0,'17'17'63,"18"1"-47,1 0-16,-2 0 15,20-18 1,16 0-16,18 0 0,-17 34 15,0-34 1,-18 19-16,-18-19 16,-1 0-16,-15 17 78,-38 18 109,2-35-171,-18 17-16,-18 2 16,18-2-16,-1 1 0,2-18 15,-20 36-15,54-19 16,-34-17-1,15 0 1,19 17 140,0 1-124,-17 0-17,-1 0-15,-18-1 16,19 0 296</inkml:trace>
  <inkml:trace contextRef="#ctx0" brushRef="#br0" timeOffset="50014.88">2046 9816 0,'0'35'78,"0"-17"-62,17-18 15,2 0-15,-2 0-16,18 18 15,-18-18-15,19 17 16,-1-17-16,1 17 15,17-17 1,-1 19-16,-16-19 0,35 0 16,69 0-1,-69 0 1,-1 0-16,18 0 16,-17 0-16,0 0 0,-18 0 15,0 0 1,-1 0-16,2 0 0,16 0 15,1 0 1,0 0-16,-1 0 0,124 0 16,-124 0-1,-16 0 1,-2 0-16,1 0 0,18 0 16,-18 0-1,-18 0 1,-18 0-1,19 0 1,-19 0 0,1 0-16,0 0 15,17-19-15,18 19 16,-18-17 0,-18 17-1,2-17-15,-2 17 0,18-18 16,-35 0-16,19 18 15,-2 0-15,0-18 16,1 1 0,-1 17-1,2-17 1,-19-1-16,17 0 16,0 0 15,-17 1-16,18 17 1,0-17-16,0-2 16,-18 2-1,0-1-15,17 18 16,0-17 0,-17-2-16,0 2 15,19 0-15,-2-1 31,-17-18-15,0 2 0,18 16-1,-18-35 1,17 53 0,0-35-1,-17 17 16,0 0-31,0 1 16,0 0 62,0-19-31,-17 18-16,0 1-15,-1 17 0,1 0-1,-2-19 1,2 19-16,17-17 15,-17 17 1,-19-17 15,18 17-15,1 0-16,-19-18 16,1 18-1,18 0 1,17-17-16,-36 17 15,19 0 1,-18-19 0,16 19-16,-33 0 15,-1 0 1,18-34-16,-18 34 0,17 0 16,1-18-16,-35 18 31,35 0-31,16 0 15,2 0 1,0 0-16,-1 0 16,0 0-1,0 0-15,1 0 16,0 0 0,-1-18-16,0 18 15,0 0-15,1 0 16,-19 0-1,19 0 1,-1-18-16,1 18 0,0 0 16,-2 0-16,-16 0 15,18-17-15,-2 17 16,2 0-16,0 0 16,-19 0-1,18 0 1,-16 0-16,-2 0 0,1 0 15,-18 0-15,35 0 16,-18 0-16,2 0 16,-1 0-1,16 0-15,2 0 0,0 0 16,-1 0-16,0 0 16,0 0-1,-16 0 1,15 0-1,-16 0 1,-18 0 0,36 0-1,-71 0 1,70 0-16,-18 0 16,19 0-16,-36 0 15,18 0 1,18 0-16,-2 0 15,2 0-15,-1 0 16,1 0-16,0 0 16,-2 0-16,2 0 15,-1 0 1,1 0 0,-2 0 15,2 0-16,0 0 17,-1 0-17,0 0 1,0 0 0,-16 0-1,16 0-15,0 0 16,0 0-1,-16 0-15,15 0 16,-16 0 0,-1 0-1,19 0-15,-18 0 16,18 0 0,-2 0-16,2 0 15,0 0 16,-19 0-15,1 0 0,18 0-1,-19 0-15,18 0 16,1 0 0,-36 0-16,35 0 0,-18 0 15,19 0-15,-18 0 16,18 0-1,-2 0 17,2 0-17,0 0 1,-19 0 0,18 17 46,1 1-31,17 0-15,-17-18 0,17 35 15,0-18-16,0 2 1,-19-2 0,19 1-16,0-1 31,-17 19-31,17-19 31,0 1-15,0-1-1,0 2 1,0-2 0,0 0-1,0 1-15,0 18 16,17-2 15,-17-16-15,19 0-1,-19 0 1,0-1 0,17 0-1,0 2 1,1-2 0,0 1-1,0-1 1,-1 0-16,19 2 15,-19-19 1,1 0-16,35 0 16,-1 0-1,-33 17-15,33-17 16,18 18 0,-16-18-16,-37 17 15,0-17 1,2 0-16,-2 0 62,18 19-30,-18 15 14,2-34-30,-19 18 0,17-18-1,-17 18-15</inkml:trace>
  <inkml:trace contextRef="#ctx0" brushRef="#br0" timeOffset="87702.56">6367 9992 0,'-52'0'0,"34"0"16,54-17 15,86-1-15,-68 18-16,34-17 0,0-2 15,1 19-15,16-17 0,1 0 0,18-1 16,-2 18-16,38-18 0,192-34 16,-17 16-16,-158 18 15,-1 1-15,-17-19 0,17 36 16,177-35-16,-194 18 0,-35 17 15,-1-19-15,1 19 0,-2-17 0,2 17 16,-18 0-16,0 0 16,-35-17-16,17 17 0,-17 0 0,-18 0 0,-18 0 15,-1 17-15,2-17 0,-18 0 0,18 0 16,-19 0-16,-17 17 0</inkml:trace>
  <inkml:trace contextRef="#ctx0" brushRef="#br0" timeOffset="88288.09">7867 10204 0,'-53'0'0,"229"-35"31,19-1-31,-73 19 0,20-19 16,16 19-16,20-18 0,-20 18 0,18-2 16,0 2-16,-17-18 15,158-1-15,-157 1 0,122-1 16,-176 19-16,0 0 0,-1-1 15,2 0-15,51 0 0,-35 1 16,-87 17-16,35 0 16</inkml:trace>
  <inkml:trace contextRef="#ctx0" brushRef="#br0" timeOffset="101016.66">26229 14084 0,'18'-17'0,"-18"-1"15,18 53 17,-18-16-17,-18-2-15,18 0 0,0 1 0,-18 18 16,18-19-16,0 19 0,-18-19 15,1 35-15,17-33 0,0-2 16,0 18-16,-17-16 0,17-2 0,0 0 16,0 1-16,0 0 15,17-18-15,-17 18 0,17-1 16,1-17-16,0 0 16,0 17-16,-1-17 0,0-17 15,1 17-15,0 0 0,0 0 0,-1 0 16,19-17-16,-19 17 0,1-18 15,-1 18-15</inkml:trace>
  <inkml:trace contextRef="#ctx0" brushRef="#br0" timeOffset="101216.63">26247 14384 0,'88'-35'15,"-70"35"-15,-1-17 0,0 17 16,2 0-16,-2-19 0,1 19 0,-1-17 16,0 17-16</inkml:trace>
  <inkml:trace contextRef="#ctx0" brushRef="#br0" timeOffset="101543.7">26335 14137 0,'35'-17'15,"-18"17"-15,2 0 0,-2-17 16,1 17-16,16 0 15,-15-19-15,16 19 0,1-17 0,-2 17 16,20-18-16,-37 18 0,18-17 0,1 17 16,-2-17-16,-15 17 0,-2-19 15,1 19-15,-1 0 0,2 0 16,-2 0-16,-17 19 16,0-2-16,0 18 15,-17-18-15,17 2 0,-19 15 16,19 2-16,-17-18 0,-1 16 15,1 2-15,-2-1 0,2 18 16,-18 18-16,35-54 0,-18 1 16,0 0-16</inkml:trace>
  <inkml:trace contextRef="#ctx0" brushRef="#br0" timeOffset="101738.71">26529 14367 0,'0'0'0,"36"0"31,-19 17-31,0-17 0,1 19 16,18-2-16,-19-17 0,0 17 16,1 1-16,0-18 0,0 0 15,16 18-15,-15-18 0,-2 18 16</inkml:trace>
  <inkml:trace contextRef="#ctx0" brushRef="#br0" timeOffset="102432.45">27358 14032 0,'-17'-17'15,"-1"34"-15,0 0 16,18 1-16,-18-1 16,1 19-16,0-1 15,-2-17-15,19 0 0,0 16 0,-17-15 16,17-2-16,0 1 0,0-1 15,17 0-15,-17 2 16,0-2-16,19-17 0,-19 18 0,17-18 0,0 0 16,1 0-16,0 0 15,0 0-15,-1 0 0,0-18 0,1 18 16,18-17-16,-19-2 0,-17 2 0,17 0 16,2 17-16,-19-18 0,0 1 15,17 17-15,-17-19 0,0 55 47,-17-36-31,17 18-16,0-1 0,17 19 31,18-36-15,1-19-1,-19 19-15,1 0 16,-18-17-16,17 17 0,2 0 15,-2 0-15,0 0 16,-17 17-16,18-17 16,-18 19-16,18-2 31,-18 1-31,35-18 31,0-35-15,-35 16-1,18 19-15,17-34 0,-18 16 16,2 18-16,16-17 0,-18-2 16,2 2-16,15 0 0,-16 17 15,18-36-15</inkml:trace>
  <inkml:trace contextRef="#ctx0" brushRef="#br0" timeOffset="103787.2">30798 14032 0,'-19'17'0,"2"-17"0,17 18 15,-17-18-15,-1 17 0,1 2 16,-19-2-16,1 18 15,17-17-15,0 0 0,1-1 16,0-17-16,17 17 0,-19 2 16,19-2-1,19 1 1,15-18 0,-16 17-16,0-17 0,0 0 0,16 0 15,-15 0-15,-2 0 0,18 0 16,-18 0-16,2 0 0,33-17 0,-33 17 15,-2 0-15,0 0 0,1 0 16,-1-18-16</inkml:trace>
  <inkml:trace contextRef="#ctx0" brushRef="#br0" timeOffset="104000.37">30938 14067 0,'-17'17'16,"17"2"-16,-18-19 0,18 17 15,-17 0-15,17 19 0,-17-18 16,17 16-16,-19 2 0,19-18 0,-17 35 16,-1-18-16,18-18 0,0 19 15,-17-19-15,17 1 0,0 0 16,0 0-16,0-1 0</inkml:trace>
  <inkml:trace contextRef="#ctx0" brushRef="#br0" timeOffset="105050.53">31379 14032 0,'18'-17'0,"0"34"32,-18 0-32,0 1 0,0-1 15,0 19-15,0-19 0,0 1 16,0 0-16,0 0 0,0-1 15,0 0-15,0 2 0,0-2 0,0 18 16,0-18-16,0 19 16,0-18-16</inkml:trace>
  <inkml:trace contextRef="#ctx0" brushRef="#br0" timeOffset="105408.64">31327 14279 0,'52'-18'16,"-34"18"-16,0-17 15,0 17-15,-1-19 0,0 19 0,37-17 16,-20 0-16,2 17 15,-18-18-15,-1 18 0,2-18 16,15 18-16,-34-18 16,18 18-16,0 0 15,0 18-15,-1-18 16,-17 18-16,0 0 16,17-1-16,-17 0 15,0 2-15,0-2 16,0 1-16,18-1 15,-18 0 1,0 2-16</inkml:trace>
  <inkml:trace contextRef="#ctx0" brushRef="#br0" timeOffset="105550.82">31803 14032 0</inkml:trace>
  <inkml:trace contextRef="#ctx0" brushRef="#br0" timeOffset="106062.53">31909 14120 0,'17'17'0,"-17"19"16,0-18-1,0-1 1,0 0-16,0 2 15,19-19 1,-2 0 0,0 0 15,-17-19-31,18 19 0,-1 0 16,2 0-16,-2 0 15,0 19 1,1-19 15,0 0 16,0-19-16,-1 19-31,0-17 16,2 17-1,-2-17-15,1 17 16,-1 0-16,0 0 16,2 0-1</inkml:trace>
  <inkml:trace contextRef="#ctx0" brushRef="#br0" timeOffset="106602.41">32455 14120 0,'-17'17'47,"17"1"-47,0 0 0,0 0 16,35-1 15,-17-17-15,0 0-16,-1-17 15,0 17-15,2-18 16,-2 0-16,1 18 16,-1-18-16,0 1 0,2 0 15,-19-2 1,17 19 0,1 19-1,-1-2-15,-17 0 16,19 1-16,-19 18 15,0-19-15,17 0 16,-17 2-16,0-2 16,-17 1-16,17-1 15,-19 0-15,2-17 16,-1 19-16,-18-19 16,-16 17-16,35 1 15</inkml:trace>
  <inkml:trace contextRef="#ctx0" brushRef="#br0" timeOffset="108295.91">26653 15213 0,'-18'-17'15,"0"17"1,0 0 0,1 17-16,17 1 15,-17 0 1,34 17-16,-17-18 15,0 2-15,17-2 0,-17 1 16,18-1-16,0 19 0,0-19 16,-1 1-16,-17-1 15,17 19-15,-17-19 16,0 1-16,0 0 16,-17 0-16,0-1 15,-1-17 1,0 0-16,0 17 0,1-17 15,0 0 1,-2 0-16,2 0 16,-1-17-16</inkml:trace>
  <inkml:trace contextRef="#ctx0" brushRef="#br0" timeOffset="108776.36">26723 15337 0,'0'0'15,"0"18"17,18-1-17,-18 0-15,17-17 16,-17 19-16,53 16 15,-35-35 1,-1 0-16,2 0 16,-2 0-1,0 0-15,-17-18 16,18 18-16,-1 0 16,2 0-1,-2 18 1,0-1-16,1 2 15,0-2 1,0-17-16,-1 0 16,0 0 15,2-17-31,-2 17 16,-17-19-16,0 2 15,18 17-15,-18-18 16,17 1-1,0 17-15,-17-19 16</inkml:trace>
  <inkml:trace contextRef="#ctx0" brushRef="#br0" timeOffset="108933.4">27305 15301 0,'18'0'16,"-18"-17"-16,-18 53 15,18-55-15,36 19 16,-36 19-16,17-2 15,-17 1-15,0-1 0,17 0 16,-17 2-16,0-2 16,0 1-16,0-1 0,0 2 15</inkml:trace>
  <inkml:trace contextRef="#ctx0" brushRef="#br0" timeOffset="109086.51">27358 15249 0</inkml:trace>
  <inkml:trace contextRef="#ctx0" brushRef="#br0" timeOffset="109392.38">27534 15320 0,'0'17'16,"0"-34"-16,0 52 0,0-18 15,0 0-15,17 2 31,2-19-15,-2-19 0,18 19-16,1-17 15,-19 17 1,19 0-16,-18 0 16,16 0-16,-16 0 15,0 0-15,0 0 16,16 0-1</inkml:trace>
  <inkml:trace contextRef="#ctx0" brushRef="#br0" timeOffset="110184.44">31098 15125 0,'52'0'0,"-16"0"15,-19 18 1,1-1-1,-1-17-15,-17 19 0,0-2 0,-17-17 16,17 17-16,-18 1 0,1 0 16,-19 17-1,19-18 1,-1 2-16,36-2 47,-1-17-47,0 0 0,37-17 15,-1 17-15,35-19 16,-71 19 0,37-17-16,-20 17 15,-15 0-15,-2-17 0</inkml:trace>
  <inkml:trace contextRef="#ctx0" brushRef="#br0" timeOffset="110500.15">31926 14949 0,'19'18'15,"-2"16"1,-17-15-16,0-2 0,0 18 16,0 1-16,0-19 15,0 18-15,0 1 16,-17-19-16,17 1 15</inkml:trace>
  <inkml:trace contextRef="#ctx0" brushRef="#br0" timeOffset="110814.9">31838 15249 0,'0'-18'16,"0"36"-1,36-36-15,-1 0 16,-18 18-16,2-17 0,15 17 16,-16 0-16,-1-17 15,2 17-15,15-19 0,2 2 0,-1 17 16,-18-18-16,2 18 16,-2 0-16,1 18 15,-1-18 1,-17 17-16,0 2 15,0-2 1,0 0-16,-17-17 16,17 18-16</inkml:trace>
  <inkml:trace contextRef="#ctx0" brushRef="#br0" timeOffset="110934.95">32279 14984 0,'0'0'15</inkml:trace>
  <inkml:trace contextRef="#ctx0" brushRef="#br0" timeOffset="111604.04">32350 15108 0,'0'17'16,"0"1"-16,0-1 0,0 2 31,0-2-16,35-17 17,-35-17-17,18 17-15,0 0 16,-1 0 15,0 0-15,1 0 15,0 0 0,0 0-15,-1 17 15,0-17-15,2 0-1,-2 0 1,-17-17-16,18 17 16,-1 0-16,0 0 47,2 0-16,-2 0-16,1 0 1,-1 0 0,2 0-1,-38-19 17</inkml:trace>
  <inkml:trace contextRef="#ctx0" brushRef="#br0" timeOffset="113715.61">26917 16236 0,'-18'-17'15,"1"17"-15,0 0 16,-2 17-16,2 2 16,17-2-16,-18 0 0,18 1 0,0 0 15,-17 0-15,17-1 0,0 0 16,0 1-16,17 0 0,-17 0 16,0-1-16,18-17 0,-1 36 15,2-36-15,15 17 16,1-34-1,-16 17-15,-2 0 0,0-19 16,1 2-16,0 17 0,0-17 0,-18-1 16,17 0-16,0 18 15,-17-18-15,19 18 0,-19-17 0,17 17 0,1 17 32,-18 1-17,0 0-15,17-18 0,-17 18 16,17-1-1,2-17 1,-2 0-16,1 0 16,-1-17-1,2 17-15,15 0 16,-16 0 0,0 0-16,-18 17 15,18-17-15,-18 17 0,17 2 16,-17-2-16,0 1 0,-17-1 15,17 2-15,0-2 16,-18 0-16,0 1 0,18-1 16,-18-17-16,18 19 0,-17-19 15,17 17-15,-17-17 16,34-17 15,0 17-15,-17-19-16,18 19 0,0-17 15,0-1-15,16-16 16,-16 15 0,0 2-16,0 17 0,-18-18 0,17 1 15,-17-2-15,17 19 16,2-34 0,-19 16-1,17 18 1,-17 35 31,0-18-32,0 2 1,0-2-16,18 1 16</inkml:trace>
  <inkml:trace contextRef="#ctx0" brushRef="#br0" timeOffset="114182.11">26829 16289 0,'0'106'15,"-18"-70"-15,18 34 0,-17 1 16,17-36-16,0 1 0,-19-2 16,19-16-16,-17 35 0,17-17 15,0-19-15</inkml:trace>
  <inkml:trace contextRef="#ctx0" brushRef="#br0" timeOffset="115051.84">26811 16307 0,'18'-18'0,"-1"1"0,2 17 0,-2 0 16,0-17-16,1 17 15,-1 0-15,2 0 0,-2 0 0,-17 17 16,17-17-16,1 17 16,-18 1-16,-18 18 15,18-19-15,-17-17 0,17 17 16,-17 1-16,-2 0 0,19 0 0,-17-18 16,17 17-16,-18 0 15,36 2 1,-1-19-1,2 17-15,-2-17 16,0 18-16,1-1 16,18 2-16,-36-2 15,17 0-15,0 1 0,-17-1 16,0 2-16,-17-2 0,17 0 16,-17-17-16,-1 36 15,-18-18-15,19-1 16,0-17-16,-2 0 0,-33 17 15,35-17 1,-2 0-16,2 0 16</inkml:trace>
  <inkml:trace contextRef="#ctx0" brushRef="#br0" timeOffset="115306.77">27253 16325 0,'0'0'15,"0"35"1,0-18 0,0 1-16,0 0 0,0 0 15,0 16-15,0-15 0,0-2 16,0 18-16,0 1 15,0-1-15,-19-18 0,19 2 16,-17 33 0,17-34-1</inkml:trace>
  <inkml:trace contextRef="#ctx0" brushRef="#br0" timeOffset="115877.47">27463 16131 0,'-17'36'31,"0"33"-15,17-50-16,0 15 15,0-16-15,0 18 0,-18-19 16,18 18-16,0-17 0,-18 0 16,18 16-16,0-15 0,-18-2 15,18 1-15,0-1 0,0 2 0,-17-19 16,17 17-16,0 0 0</inkml:trace>
  <inkml:trace contextRef="#ctx0" brushRef="#br0" timeOffset="116251.72">27675 16289 0,'0'0'15,"-34"36"1,-20 16-1,54-34-15,-17-18 16,-2 18-16,2 0 0,17-1 16,-17 0-16,17 2 0,-18-2 0,18 1 15,-17-1-15,17 2 16,17-2-16,-17 0 16,18-17-16,-1 0 0,0 0 15,2 0-15,-2 0 0,1 0 16,-1 0-16,2 0 0,-2-17 15,0 17-15,1 0 0,0 0 16,0-17-16,-1 17 0,0 17 31,1-17-31,-18 17 0,18 1 16,-18-1 0,-18 2-1</inkml:trace>
  <inkml:trace contextRef="#ctx0" brushRef="#br0" timeOffset="116364.07">27834 16413 0,'-17'-18'16</inkml:trace>
  <inkml:trace contextRef="#ctx0" brushRef="#br0" timeOffset="116716.3">27922 16484 0,'0'17'0,"0"1"31,19-1 1,-2-17-17,0 0 1,1 0 0,-18 19-1,17-19-15,2 17 16,-19 0-1,17-17 1,-17 18 0,-17-1-1</inkml:trace>
  <inkml:trace contextRef="#ctx0" brushRef="#br0" timeOffset="117159.76">28151 16096 0,'18'52'15,"-18"-33"1,0-2-16,0 0 0,0 18 16,0 18-16,-18-17 0,18-1 15,0-18-15,0 19 0,-17 16 0,17-33 16,-17-2-16,17 18 15,0-16-15,0-2 0,17 0 16</inkml:trace>
  <inkml:trace contextRef="#ctx0" brushRef="#br0" timeOffset="118078.86">28434 16377 0,'-17'18'15,"-2"18"1,19-19 15,19 0-31,-2-17 16,0 0-1,19 0 1,-18 0 0,-1 0-1,0 0 1,2 0-16,-2 0 15,1 0 1,-1 0-16,0 0 16,2 19-1,-2-19 1,1 0-16,-18 17 0,0 1 16,0-1-1,0 2-15,-18-19 16,18 17-16,-17 0 15,34-51 32,1 15-31,-18 2-16,17 17 16,2 0-16,-19-18 0,17 18 0,0-17 15,1 17 16,0 0-15,-18 17 0,18-17-1,16 0 1,-16-17 15,0 17-31,0-19 16,-1 19-1,0 0 1,2 0 0,-2 0-1,18 0 1,1-17 15,-19 17-31,1-17 31,-1 34-31,2 0 16,-2 2 15,0-2-15,1-17-16</inkml:trace>
  <inkml:trace contextRef="#ctx0" brushRef="#br0" timeOffset="120940.38">31397 16113 0,'18'-17'15,"0"17"-15,-1-19 16,0 19 0,2 19-16,-2-19 15,1 17-15,-1 1 16,0-18-16,-17 17 0,0 2 15,0-2-15,0 0 0,-34 37 16,34-37 0,-18-17-16,1 35 0,-2-35 15,19 18-15,-17-18 0,17 18 16,-17-1-16,17 0 47,17-17-32,0 0-15,2 0 0,-2 0 16,1 0-16,-1 0 0,19-17 16,16 17-16,-33-17 0,-2 17 15,0-18-15,19 0 0</inkml:trace>
  <inkml:trace contextRef="#ctx0" brushRef="#br0" timeOffset="121187.98">32050 15955 0,'17'34'31,"-17"-16"-31,0 0 0,0 0 16,18 35-1,-18-36-15,0 1 0,0 18 0,0-19 16,0 0-16,0 1 0,18-1 15,-18 2-15,0-2 0,0 0 16,0 1 0,-18-18-1</inkml:trace>
  <inkml:trace contextRef="#ctx0" brushRef="#br0" timeOffset="121499.49">32014 16255 0,'-35'-36'46,"70"72"-46,-52-90 16,53 54 15,-19 0-31,0 0 0,1 0 0,35-17 16,-36 17-16,2 0 16,-2 0-16,35-17 15,-33 17-15,-2-19 0,1 19 0,-1 0 16,2-17-16,-2 17 15,0 0 1,1 17 0,-18 2-16,18-19 15,-18 34 1,0-16-16,-18-1 16,18 2-1,0-2 1</inkml:trace>
  <inkml:trace contextRef="#ctx0" brushRef="#br0" timeOffset="121634.76">32403 16060 0,'0'0'0,"0"-17"16,-18 17-1</inkml:trace>
  <inkml:trace contextRef="#ctx0" brushRef="#br0" timeOffset="122351.81">32543 16096 0,'19'0'15,"-38"17"-15,19 1 16,0-1-16,0 2 16,0-2-1,0 0 1,19-17 0,-2 0-1,1 0-15,-1 0 16,0 0-16,2 0 15,-2 0-15,1 0 16,-1 18-16,2-18 16,-2 0-1,0 0 32,1 0-16,0 0 1,17 0-1,-18 0-15,1-18-1,0 18 1,0 0 31,-1 0-32,0 0 1,2 0-16,-19-17 16,17 17-16,1 0 15,-1 0-15,2 0 16,-2 0-16,0 17 15,-17 1 1,-17-1 0,17 2-1,-17-19-15,17 17 0,-19-17 0,2 17 16,-1-17-16,1 18 0,-2-18 16,2 18-16,0-18 0,-1 0 15</inkml:trace>
  <inkml:trace contextRef="#ctx0" brushRef="#br0" timeOffset="129914.97">27958 8457 0,'71'-17'0,"-54"17"0,18-17 15,-17 17-15,0-18 16,-1 18-16,0-18 15,19 0-15,-18 1 0,-1 0 16,19-19-16,-19 18 16,1-16-16,-1 34 15,-17-19-15,0 2 0,19-18 0,-19 16 16,0 2-16,17-18 0,-17 18 16,0-2-16,-17 2 0,17 0 15,0-19-15,-19-16 0,2 33 16,-18-33-16,16 16 15,-15 19-15,-2-18 0,1 16 16,0-15-16,-1 16 0,-52-18 0,71 19 16,-36 0-16,18-1 15,-18 0-15,17 18 0,1-18 0,0 18 16,-1 0-16,-34-17 0,52 17 0,-18 0 16,2 0-16,-1 0 15,16 0-15,-15 17 0,-2-17 0,1 18 16,-36 0-16,37 0 0,-2 16 15,1-15-15,-1 16 0,1-1 16,-1 2-16,2-1 0,-37 89 16,54-89-16,-2 1 15,2 17-15,-1-18 0,18-1 0,0-15 16,-17 16-16,17-18 0,0 19 0,17-19 16,-17 37-16,18-20 15,-18-16-15,17 18 0,2-2 16,-2-15-16,0-2 0,1 1 15,0-1-15,17 2 0,1-19 16,-19 17-16,1-17 0,16 17 16,2-17-16,-18 0 15,18 0-15,-19 0 16,0 0-16,1 0 0,0 0 0,17 0 16,-18 0-1,1 0 1,0 0-16,0 0 15,-1-17 17,0 17-1,-17-17 0,19 17-15,-2-19-1,1 19-15,-1-17 16,0 17-16,2 0 16</inkml:trace>
  <inkml:trace contextRef="#ctx0" brushRef="#br0" timeOffset="130982.48">28627 8157 0,'54'0'47,"34"0"-32,-35 0-15,-18 0 16,18-17-16,54 17 0,-55 0 0,72-17 16,-54 17-16,-18-18 0,19 18 15,-18 0-15,71-17 16,-72 17-16,-16 0 0,16-19 15,19 19-15,-35 0 0,-1-17 16,-18 17-16,19 0 0,-19 0 0,1 0 16,0 0-16,0 0 0,-1-17 15,0 17-15,2 0 16,-2 0-16</inkml:trace>
  <inkml:trace contextRef="#ctx0" brushRef="#br0" timeOffset="131494.82">29933 7893 0,'18'18'0,"0"-18"16,-1 0-16,0 0 16,19 17-16,-1-17 0,1 0 15,-1 19-15,-18-19 0,2 0 16,33 0-16,-34 17 0,0-17 15,16 0-15,-16 17 16,0-17-16,-18 18 0,18-18 16,-1 18-16,-17 0 15,0-1 1,0 0-16,0 2 0,-17-2 0,-1 18 16,0-18-16,0 19 15,-34 18-15,34-37 0,0 18 16,1-17-16</inkml:trace>
  <inkml:trace contextRef="#ctx0" brushRef="#br0" timeOffset="133251.14">28239 9145 0,'124'0'15,"-89"0"-15,1 0 0,-1 0 0,18 0 0,18 0 16,17 0-16,-18 0 0,1 0 16,0 0-16,17-17 0,-18 17 15,18 0-15,-17 0 0,17 0 0,-17 0 0,34 0 16,-34 0-16,-1 0 15,18-17-15,-34 17 0,16 0 0,1 0 16,-36 0-16,54-18 0,-54 18 16,-1 0-16,-15 0 15,16 0-15,-18 0 0,2 0 16,-2-18-16,0 18 16,1 0-1</inkml:trace>
  <inkml:trace contextRef="#ctx0" brushRef="#br0" timeOffset="133804.85">30022 8881 0,'35'0'16,"-1"18"-1,-15-18 1,-2 17-16,1-17 0,-1 0 15,2 19-15,-2-19 0,0 17 0,1-17 16,0 17-16,0-17 0,-1 0 0,0 18 16,1-18-16,0 17 0,0-17 15,-1 19-15,0-19 0,-17 17 16,19-17-16,-2 17 16,1 1-16,-18 0 15,0 0-15,0-1 16,0 0-16,-18-17 0,1 19 15,17-2-15,-19 1 0,-15 16 16,-2-15-16,18-2 0,1 1 16,0-1-16,-1 2 0,-18-2 15,19 18-15</inkml:trace>
  <inkml:trace contextRef="#ctx0" brushRef="#br0" timeOffset="134980.7">28346 10116 0,'52'0'0,"-33"-17"0,15 17 15,-16 0-15,18 0 0,-2 0 16,20-19-16,-1 19 0,18 0 16,69-17-16,-70 17 0,1 0 15,0 0-15,17-18 0,18 18 0,-18 0 16,18 0-16,-18-17 0,1 17 16,-20 0-16,21 0 0,-21 0 0,2-17 15,-1 17-15,-16 0 0,-1 0 16,-1 0-16,-16-19 0,-1 19 0,-17 0 15,17 0-15,-18 0 0,1 0 16,0 0-16,0 0 0,-1 0 0,0-17 16,2 17-16,-2 0 15,1 0-15,-1-18 32</inkml:trace>
  <inkml:trace contextRef="#ctx0" brushRef="#br0" timeOffset="135556.31">30162 9745 0,'53'18'31,"-35"-18"-31,0 0 0,17 18 16,-18-18-16,19 0 0,-1 0 0,1 18 15,-1-18-15,35 17 0,-16-17 16,-37 17-16,18-17 0,18 18 16,-17-18-16,-19 18 0,1 0 15,-1-1-15,-17 0 16,0 2-16,0-2 0,0 1 0,-17-1 0,-1 19 15,1-1-15,-19-18 16,-17 54-16,18-35 0,-18-2 16,-18 20-16,36-20 0,-1-15 15,2 16-15</inkml:trace>
  <inkml:trace contextRef="#ctx0" brushRef="#br0" timeOffset="136966.21">28434 11156 0,'71'0'0,"-54"0"0,0 0 16,54 0-16,-35 0 0,16 0 16,1 0-16,18 0 0,70 0 15,-70-17-15,0 17 0,-1 0 16,0 0-16,19-18 0,140 1 16,-158 0-16,52 17 15,-53-19-15,-16 19 0,-2-17 16,18 17-16,-34 0 0,-18-18 15,16 18-15,-15 0 0,-2 0 16,1 0-16,-1 0 0,2 0 16,-2 0-16,0-17 15,1 17-15</inkml:trace>
  <inkml:trace contextRef="#ctx0" brushRef="#br0" timeOffset="137505.6">30074 10787 0,'53'34'31,"-35"-34"-16,-1 18-15,19-18 0,-19 18 16,19-18-16,-1 18 0,36 16 16,-54-34-1,19 18-15,-19 0 0,1 0 0,-1-1 0,2 19 16,-19-19-16,0 1 0,0 18 16,0-2-16,-19 1 0,-16 1 15,-18 52-15,-18 0 16,37-52-16,-2-1 0,1 1 0,-1-2 15</inkml:trace>
  <inkml:trace contextRef="#ctx0" brushRef="#br0" timeOffset="138463.41">29034 12339 0,'35'0'0,"-18"0"0,19 17 16,-19-17-16,19 0 0,34 0 16,-34 0-16,-2 17 0,20-17 15,-1 0-15,-1 0 0,19 0 16,-1 0-16,-16 0 0,-20 0 0,20 0 15,-18 0-15,-2 0 0,1 0 16,36 0-16,-53 0 16,0 0-16,-1-17 0,0 17 0,2 0 0,-2 17 15,1-17-15</inkml:trace>
  <inkml:trace contextRef="#ctx0" brushRef="#br0" timeOffset="139298.69">29845 12197 0,'17'18'47,"2"-18"-47,-19 17 15,17-17-15,0 19 0,1-2 16,0 0-16,0-17 15,-1 18-15,0-18 0,2 18 0,-2-18 16,1 18-16,16-18 0,-15 17 0,-2-17 16,1 0-16,-1 17 0,2-17 15,15 0-15,-16 18 0,0-18 16,0 0-16,-1 18 0,-17 0 16,17-18-1,-17 17-15,0 0 0,-17 2 0,17 16 0,-17-18 16,-1 19-16,0 16 15,-17-16-15,18-1 0,-19 1 16,-18 34-16,37-35 0,-18-18 16,-18 37-16,36-37 0</inkml:trace>
  <inkml:trace contextRef="#ctx0" brushRef="#br0" timeOffset="140863.95">25877 11527 0,'-19'-18'31,"-33"36"-15,16-1-1,1 2-15,-1-2 0,-16 0 16,-1 1-16,0 0 0,-18 17 15,2 1-15,-2-19 0,18 18 0,-18 1 16,-53 16-16,72-16 0,-1-19 16,18 19-16,-18-18 0,-1-1 15,20 18-15,-20-17 0,20 0 0,-2-1 16,18 0-16,-35 2 0,36-2 16,-1-17-16,1 18 0,-2-18 15</inkml:trace>
  <inkml:trace contextRef="#ctx0" brushRef="#br0" timeOffset="141198.47">24642 11773 0,'0'0'0,"-53"71"0,35-52 0,18 15 15,-17-16-15,17 18 0,-19-19 16,2 18-16,17-17 0,0 17 0,0-18 16,0 2-16,0 16 0,0-18 15,17 36-15,-17-35 0,19-1 16,-2 19-16,1-19 0,35 19 15,-36-36-15,18 18 0,-16-18 16,15 17-16,1-17 0,18 0 16,-17 0-16,52 0 0,35-17 15,-70 17-15,1 0 0,-20-18 16</inkml:trace>
  <inkml:trace contextRef="#ctx0" brushRef="#br0" timeOffset="142154.98">19614 12480 0,'0'35'32,"0"-18"-32,0 2 15,0 15-15,0-16 16,-17 35-16,17-18 0,0-17 15,0 17-15,0-18 0,-18 19 0,18-18 16,0-1-16,0 0 16,0 2-16,0-2 0,0 1 0,0-1 0,0 2 15,0-2-15,18-17 16,-18 17-16,17-17 0,19 0 16,-19 0-16,1 0 15,18-17-15,-19 17 0,0 0 16,1-17-16,0 17 0,0 0 15,-1-19-15,0 2 16,2 17-16,-2-18 0</inkml:trace>
  <inkml:trace contextRef="#ctx0" brushRef="#br0" timeOffset="142364.69">19614 12744 0,'36'0'0,"-19"0"0,1-17 15,-1 17-15,2 0 0,15 0 16,-16-18-16,35 18 0,-36-18 16,19 18-16,-18 0 0,-1-18 0,0 18 15,2-17-15</inkml:trace>
  <inkml:trace contextRef="#ctx0" brushRef="#br0" timeOffset="142518.81">19579 12515 0,'35'-18'15,"36"1"1,-54 17-16,19 0 15,-19 0-15,19-19 0,-1 19 0</inkml:trace>
  <inkml:trace contextRef="#ctx0" brushRef="#br0" timeOffset="142698.57">20250 12321 0,'17'0'0,"1"18"16,-72-18-1,90 17-15,-53-52 0,34 87 0,-17-34 16,0 18-16,0-19 0,-17 19 15,17-1-15,-19-18 0,19 19 0,-17-1 16,17-18-16,-17 19 0,-1-1 16,18-17-16,-18 17 0,18-18 0,-18 19 15,1-18-15,17-1 0,-17 0 0,-1 19 16</inkml:trace>
  <inkml:trace contextRef="#ctx0" brushRef="#br0" timeOffset="142910.26">19985 12691 0,'0'0'0,"17"-18"0,2 36 16,-2-18-16,0 0 16,-17 18-16,18-18 0,0 18 0,0-18 15,-1 17-15,0-17 0,1 17 16,0-17-16,17 19 0,-18-19 15,2 17-15,-2-17 0,1 0 0,-1 0 16,19 0 0</inkml:trace>
  <inkml:trace contextRef="#ctx0" brushRef="#br0" timeOffset="143787.78">20567 12321 0,'-53'0'16,"36"35"-1,17-18-15,-18 1 0,18 18 16,0-19-16,0 19 0,0-19 0,0 1 15,0-1-15,0 2 16,0-2-16,18 0 0,-18 1 0,17-18 0,-17 17 16,36 2-1,-19-19-15,1 0 0,-1 0 16,0 0-16,2-19 16,-2-16-16,1 18 15,-18 0-15,0-2 16,17 19-16,-17-17 0,19 34 47,-19 2-32,17-2 1,0-17-16,1 0 16,18-17-1,-19 17-15,-17-19 0,17 19 16,1-17-16,0-1 0,-18 1 15,18-2-15,-18 2 16,17 17-16,-17-17 16,17 51-1,-17-15 1,19-2 0,-19 1-16,17-18 15,1 17 1,-1-34-16,0 17 15,2-18-15,-2 1 0,1-2 16,-18 2-16,17 0 0,2-1 16,-19 0-16,17 0 0,-17 1 0,17-36 15,-17 35-15,18-16 0,-18 15 16,0 2-16,18-1 16,-18 53-1,0-16 1,0-2-16,0 0 15,-18 1-15,18 18 0,0-19 0,0 36 16,0-35-16,0 16 0</inkml:trace>
  <inkml:trace contextRef="#ctx0" brushRef="#br0" timeOffset="144414.7">21802 11880 0,'0'88'0,"0"-53"15,17 1-15,-17-2 0,0 20 16,0-1-16,0 52 0,0 54 15,0-142 1,0 54-16,0-52 16,0 15-16,0-16 15,-17-1-15,34-69 32,-17 16-17,0 19-15,35-71 0,-16 34 16,-2 20-16,36-54 15,-18 52-15,1 1 16,-19 18-16,1 17 16,-1 0-16,0 0 15,-17 17-15,0 0 0,0 1 16,0 35-16,-17-36 16,0 19-16,-1-18 15,-18 34-15,-16-16 16,34-19-1,18-52 17</inkml:trace>
  <inkml:trace contextRef="#ctx0" brushRef="#br0" timeOffset="144575.62">22173 12109 0,'34'18'31,"-34"-1"-31,18 178 47,-18-161-31</inkml:trace>
  <inkml:trace contextRef="#ctx0" brushRef="#br0" timeOffset="144754.62">22207 11897 0,'-17'36'31</inkml:trace>
  <inkml:trace contextRef="#ctx0" brushRef="#br0" timeOffset="145121.2">22331 12056 0,'18'36'16,"-1"-36"-16,0 35 15,-227-53-15,420 72 0,-191-54 0,-19 17 16,0 0-16,17 18 16,1-16-16,-18-2 15,17-17 1,0 0-1,19-17 1,-336-337-16,618 672 16,-301-336-16,2-16 15,-2-2 1,-17 18-16,17 1 16,-17-2 15,-264 2-31</inkml:trace>
  <inkml:trace contextRef="#ctx0" brushRef="#br0" timeOffset="145412.82">22825 12003 0,'-18'70'15,"18"-51"-15,0-2 0,0 1 16,18-1 0,-1 2-16,2-19 15,-2 0-15,0 0 16,1 0-16,-18-19 16,17 2-16,-17-1 15,0 1 1,0-2-16,-17 2 15,-1 17-15,1-17 0,17-1 16,-17 18-16</inkml:trace>
  <inkml:trace contextRef="#ctx0" brushRef="#br0" timeOffset="145616.85">23037 11668 0,'34'71'31,"-34"-54"-31,18 36 16,-18-18-16,0-16 0,0 15 15,0 2-15,0-18 0,0 16 16,0-16-16,0 18 0,0-19 0,0 0 16,18 2-16,-18 16 0,0-18 15,-18 2 1</inkml:trace>
  <inkml:trace contextRef="#ctx0" brushRef="#br0" timeOffset="145786.98">23037 12003 0,'0'-18'0,"17"18"0,-17-17 0,17 17 16,1-17-16,0-1 0,0 18 15,-1-18-15,54-17 16,-35 35-16,-2-17 0,1-2 0,18 2 16</inkml:trace>
  <inkml:trace contextRef="#ctx0" brushRef="#br0" timeOffset="146484.46">21661 13168 0,'-36'0'16,"18"0"-16,-34 0 15,34 17-15,-17-17 16,-1 18-16,19-1 16,-1 0-16,18 2 15,0-2-15,18 18 16,-1-35-16,2 19 0,-2-2 16,0 0-16,54 37 15,-71-37-15,17-17 0,1 17 16,0-17-16,0 36 15,-36-18 1,18-1-16,-18 0 0,0 2 16,-34-2-16,34-17 15,-17 18-15,18-18 0,-2 0 16,2 0-16,-1 0 0,1 17 16,-2-17-16,2 0 0,0-17 15</inkml:trace>
  <inkml:trace contextRef="#ctx0" brushRef="#br0" timeOffset="147228.92">21873 13168 0,'0'0'31,"-19"17"-31,19 1 15,-17-1-15,17 0 0,-18 19 16,18-1-16,0-16 0,0-2 16,0 18-16,0-17 0,18 0 15,-1-1-15,-17 0 0,19-17 16,-19 18-16,17-18 0,0 0 0,1 0 16,18 0-16,-19-18 15,0 18-15,2-17 0,16 0 16,-35-1-16,17-18 15,0 36-15,2-17 0,-2 0 16,1 17 15,-18 17-31,17 0 16,-17 1-16,0 0 16,19-18-16,-19 18 0,17-18 0,0 0 15,1 17 1,0-17-16,0-17 15,-1 17-15,-17-18 0,0 0 16,0 0 0,0 1-16,-17 0 0,17-2 15,-18 2-15,0-1 16,0 1 0,18-2-16,18 2 46,0 17-46,17 0 32,-35 17-32,17-17 0,1 19 15,35 16 1,-53 1 0,17-36-16,2 17 15,-19 0 1,17-17-16,1-17 31,-1 0-15,-17-2-16,17 2 15,-17-1-15,19 18 0,-19-17 16,17-2-16,1 2 0,-1 17 31</inkml:trace>
  <inkml:trace contextRef="#ctx0" brushRef="#br0" timeOffset="147464.95">22719 13203 0,'35'-54'0,"-18"37"15,-69 88-15,70-125 31,-36 90-15,18-18 0,-18-18-16,18 17 0,0 0 15,0 2-15,0-2 0,18-17 16,-18 18-16,18-1 0,-1 2 16</inkml:trace>
  <inkml:trace contextRef="#ctx0" brushRef="#br0" timeOffset="147730.29">21643 13925 0,'35'-17'31,"-18"0"-31,19 17 0,-1-18 0,18-18 15,1 19-15,16 0 0,1-1 0,-2 0 0,2-17 16,53-1-16,-53 1 16,51 1-16,-68 15 15,-1 2-15,0-1 0,35-18 16,-53 36-16,-18-17 0,2 17 0,-2 0 16,1 0-1</inkml:trace>
  <inkml:trace contextRef="#ctx0" brushRef="#br0" timeOffset="147918.13">21854 14049 0,'53'0'15,"-35"0"-15,18-17 0,69-19 16,-52 19-16,18-1 15,88-35-15,-1-18 0,72-34 32,-177 69-32,18 1 0</inkml:trace>
  <inkml:trace contextRef="#ctx0" brushRef="#br0" timeOffset="149652.66">20197 14843 0,'-36'18'0,"18"0"16,18-1-16,-17 0 0,17 1 0,0 0 15,0 17-15,0-18 16,0 2-16,0-2 0,0 18 16,17-16-16,-17-2 15,18 0-15,0-17 0,0 18 16,-1-18-1,0-18-15,2 18 0,-2-17 16,1 17-16,-1-36 16,-17 19-16,0-1 0,19 1 15,-19-2-15,0 2 0,0 0 16,-19-1-16,19 0 0,-17 0 16,-1 1-16,1 0 15,-19 17-15,19 0 31,-1 0-31,0 0 0,18 17 16,-18-17-16</inkml:trace>
  <inkml:trace contextRef="#ctx0" brushRef="#br0" timeOffset="149925.12">20514 14931 0,'17'0'0,"2"0"0,-2 0 16,18 0-1,1-18 1,-19 18-16,1 0 0,-1 0 16,2 0-16,-19-17 0</inkml:trace>
  <inkml:trace contextRef="#ctx0" brushRef="#br0" timeOffset="150131.15">20831 14737 0,'0'35'31,"0"-16"-31,0-2 16,0 71-1,0-71-15,0 1 0,0 18 16</inkml:trace>
  <inkml:trace contextRef="#ctx0" brushRef="#br0" timeOffset="150417.94">21007 14861 0,'19'35'0,"-19"-18"15,17-17 1,37 0 0,-37 0-1,36-34 1,-53 16-16,18 0 16,-18 0-16,-18 1 15,18 0-15,-18-2 16,18 2-16,-35-1 15,-1 18 1,19 18-16,-1-18 0,-18 17 16,19 2-16</inkml:trace>
  <inkml:trace contextRef="#ctx0" brushRef="#br0" timeOffset="150796.26">20321 15655 0,'0'53'16,"0"16"-1,0-33 17,0-18-32</inkml:trace>
  <inkml:trace contextRef="#ctx0" brushRef="#br0" timeOffset="151002.04">20514 15584 0,'0'17'32,"17"19"-17,-17-18 1,0-1-16,0 0 0,0 19 16,0-18-1,19-1 1,-19 0-16,17-17 0</inkml:trace>
  <inkml:trace contextRef="#ctx0" brushRef="#br0" timeOffset="151158.97">20709 15743 0,'34'-18'0</inkml:trace>
  <inkml:trace contextRef="#ctx0" brushRef="#br0" timeOffset="151835.07">20990 15425 0,'17'0'0,"2"0"0,16 0 15,-18 0 1,2 18-16,-2-1 15,-17 19-15,0-19 16,0 19 0,0-18-16,0-1 0,0 0 15,0 1-15,-17 0 16,34 0 0,0-18-1,19 0 1,-18-18-16,-1 0 15,0 18-15,1-18 16,0 18-16,0-17 0,-1 17 16,0 0-16,-17-17 15,19 17-15,-2 0 16,-17-18-16,18 18 16,-1-18-16,0 18 15,-17-18 1,0 1-16,0 0 31,-17-2-15,0 38-1,17-2-15,-18-17 0,18 17 16,-17-17-16,17 18 0</inkml:trace>
  <inkml:trace contextRef="#ctx0" brushRef="#br0" timeOffset="152515.82">20479 16395 0,'18'-18'16,"-1"36"-16,0 0 0,-17 0 15,0-1 1,-17 0-16,17 2 0,-17-2 15,17 1-15,-18-1 0,18 2 16,-18-19-16,18 17 16,0 0-16,-18 1 15,36-1 17,0-17-17,0-17-15,-1 17 16,19-18-16,-19 1 15,1 0-15,-1-2 0,0 19 0</inkml:trace>
  <inkml:trace contextRef="#ctx0" brushRef="#br0" timeOffset="152668.01">20761 16360 0,'0'-17'16,"17"34"15,-17 0-15,0 1-16,19 0 15,-19 0-15,17-18 16,-17 17-16,17-17 16,1 17-16,-106-122 0</inkml:trace>
  <inkml:trace contextRef="#ctx0" brushRef="#br0" timeOffset="152879.51">21026 16413 0,'0'-18'0,"17"18"16,-17-18-16,18 18 15,-1-17-15,-69 70 0,123-106 0,-71 36 16,17 17-16,0-18 15</inkml:trace>
  <inkml:trace contextRef="#ctx0" brushRef="#br0" timeOffset="153207.15">21414 16096 0,'0'17'31,"17"1"-15,-17-1-16,0 2 0,18-2 15,-18 0 1,17 1-16,-17-1 15,0 2-15,0-2 16,0 0-16,0 1 16,0 0-1</inkml:trace>
  <inkml:trace contextRef="#ctx0" brushRef="#br0" timeOffset="153431.72">21625 16148 0,'0'0'32,"18"19"-17,-18-2 1,18-17-16,-1-17 31,0-2-15,-17 2-1,-17 34 32,0 2-47</inkml:trace>
  <inkml:trace contextRef="#ctx0" brushRef="#br0" timeOffset="153671.57">21307 16836 0,'19'0'15,"-19"36"1,0-19-16,0 1 16</inkml:trace>
  <inkml:trace contextRef="#ctx0" brushRef="#br0" timeOffset="153855.68">21378 17136 0,'0'17'16,"17"-17"-16,-17 19 0,0-2 16,0 1-1,0-1 1,0 2-16,0-2 0,0 0 16</inkml:trace>
  <inkml:trace contextRef="#ctx0" brushRef="#br0" timeOffset="159025.41">1799 11897 0,'35'-17'15,"-16"17"-15,15 0 0,20-17 0,68-2 16,-34 2-16,2-1 16,15 18-16,-17-17 0,0-2 15,0 2-15,1 17 0,-19-17 0,0-1 16,142 1-16,-158-2 15,-1 19-15,-18 0 0,-18 0 16,19 0-16</inkml:trace>
  <inkml:trace contextRef="#ctx0" brushRef="#br0" timeOffset="159222.89">2663 12039 0,'247'-36'15,"-123"1"-15,123 0 16,-177 17-16,1 18 16,17-18-16,0 1 0,-17 0 15</inkml:trace>
  <inkml:trace contextRef="#ctx0" brushRef="#br0" timeOffset="167741.82">1958 13256 0,'17'-53'0,"-34"87"46,0 37-30,-1 0-16,18-35 16,-18-19-16,18 18 0,-18 1 15,18-19-15,0 19 16,-17-19-16,17 18 0,0-16 0,-17-2 0,17 0 16,0 1-16,0-1 0,0 2 15,17-2 1</inkml:trace>
  <inkml:trace contextRef="#ctx0" brushRef="#br0" timeOffset="168026.22">2381 13273 0,'-18'35'31,"18"18"-15,0-35 0,0 0-16,-17 0 0,17 34 15,0-16-15,0-19 16,0 0-16,0 2 0,0 33 15,0-33-15,0-2 16</inkml:trace>
  <inkml:trace contextRef="#ctx0" brushRef="#br0" timeOffset="168249.79">2170 13573 0,'52'0'31,"-33"0"-15,15 0-16,-16 0 0,0 0 15,0 0-15,16 0 0,2-17 16,-1 17-16</inkml:trace>
  <inkml:trace contextRef="#ctx0" brushRef="#br0" timeOffset="168483.6">2769 13327 0,'18'0'0,"-36"0"15,18 34 16,0-16-15,-18 18-16,18-2 0,0 2 16,-17-18-16,17-1 0,0 19 15,0-19-15,-17 1 0,17-1 16,0 2-16,0-2 0,0 0 16,0 1-16,0-1 15</inkml:trace>
  <inkml:trace contextRef="#ctx0" brushRef="#br0" timeOffset="168906.28">3193 13397 0,'17'35'31,"-17"-18"-15,0 1-16,0 0 0,0 0 0,0-1 15,0 0-15,0 2 0,17-2 16,-17 1-16,0-1 0,0 2 0,0-2 15,19 0 1</inkml:trace>
  <inkml:trace contextRef="#ctx0" brushRef="#br0" timeOffset="169149.24">3017 13556 0,'0'-19'16,"34"19"0,-34-17-16,18 17 0,18 0 15,-2 0-15,2 0 0,-18 0 16,16 0-16,-15 0 0,16 0 16,18 0-16,-18 0 15,-17 0-15,17 0 0,-18 0 0,1 0 16,0 0-16,0 0 0,16-17 15,-15 17-15,-2 0 0,1 0 16</inkml:trace>
  <inkml:trace contextRef="#ctx0" brushRef="#br0" timeOffset="170331.68">3934 13256 0,'17'-36'16,"1"36"-16,-1-17 15,2 17-15,-2 0 0,0 0 0,1 17 16,-1-17-16,2 0 0,-19 17 0,17 2 15,0-2-15,-17 1 16,18-1-16,-18 2 0,-18-2 0,18 18 16,-17 1-16,0-2 15,-2-16-15,-16 18 0,35-19 16,-17 0-16,0 2 0,-2-19 0,19 17 16,-17-17-16,17 18 0,-18-18 15,18 17-15,18-17 31,-1 0-31,2 0 16,15 0-16,1 0 16,-16 0-16,-2-17 0,18 17 15,-17 0-15,17-18 0,18 18 16,-35 0-16,-1-17 0,0 17 16</inkml:trace>
  <inkml:trace contextRef="#ctx0" brushRef="#br0" timeOffset="170567.48">4603 13273 0,'0'-36'0,"0"72"47,0-18-47,0-1 15,0 19-15,0-19 0,0 37 16,0-20 0,0-16-16,0 0 15,0 0-15,0-1 0</inkml:trace>
  <inkml:trace contextRef="#ctx0" brushRef="#br0" timeOffset="170751.93">4445 13449 0,'-18'0'15,"53"-17"1,1 17 0,-19 0-16,1 0 15,0 0-15,17 0 0,18 0 16,-18 0-16,1-17 0</inkml:trace>
  <inkml:trace contextRef="#ctx0" brushRef="#br0" timeOffset="171189.05">4833 13308 0,'18'0'0,"0"0"16,34 0-1,-52 19-15,18-2 16,-18 18 0,-18-17-16,18 0 15,-35 16-15,35-16 0,-17 0 0,-1-18 16,18 18-16,-18-1 0,0-17 16,18 17-16,-17 2 15,34-2 16,1-17-31,0 0 16,0 0-16,-1 0 0,18-17 0,1 17 16,-2-19-16,-15 19 0,16-17 15,1 17-15</inkml:trace>
  <inkml:trace contextRef="#ctx0" brushRef="#br0" timeOffset="171364.26">5379 13273 0,'19'-17'0,"-38"34"16,38 1 0,-19-1-16,0 2 15,0-2-15,0 0 16,0 1-16,0 18 0,0-19 16,0 0-16,0 1 0,0 0 0,0 0 15,0-1-15</inkml:trace>
  <inkml:trace contextRef="#ctx0" brushRef="#br0" timeOffset="171536.86">5239 13503 0,'-18'0'16,"36"0"-16,0-18 15,35 18 1,-18 0-1,-18-18-15,19 18 0,-1 0 16,18-18-16,-36 18 16</inkml:trace>
  <inkml:trace contextRef="#ctx0" brushRef="#br0" timeOffset="171967.9">5538 13220 0,'36'0'0,"-72"0"15,89 0-15,-35 0 0,0 0 16,0 0-16,-1 17 16,0-17-1,-17 19-15,-17-2 0,17 1 16,-17 18-16,-1-19 0,18 0 16,-18 1-16,0 0 15,18 0-15,-17-18 0,0 17 16,17 0-16,0 1 15,17 0 1,0-18 0,19 0-16,-18 0 15,-1-18-15,19 18 0,-1 0 16,-18 0-16,19-18 0,16 18 0,-33-17 16,15 17-16,-16-17 0</inkml:trace>
  <inkml:trace contextRef="#ctx0" brushRef="#br0" timeOffset="172185.24">6174 13185 0,'0'-36'16,"0"72"-1,0-1 1,17 1-1,-17-19-15,0 1 0,0-1 16,0 2-16,-17-2 16,17 18-16,0-17 0,-19-18 15,19 18-15</inkml:trace>
  <inkml:trace contextRef="#ctx0" brushRef="#br0" timeOffset="172349.21">6067 13379 0,'19'-18'32,"-2"18"-17,1 0-15,-1-17 0,0 17 16,19 0-16,18-17 16,-37 17-16,36 0 0,-18 0 0,36-19 15,-425 90-15</inkml:trace>
  <inkml:trace contextRef="#ctx0" brushRef="#br0" timeOffset="172970.87">6545 13203 0,'34'0'16,"-16"0"-16,-1 17 16,2-17-16,-2 36 15,0-36-15,-17 17 0,-17 18 16,17-16-16,-17 15 16,-2 2-16,2-18 0,-18 16 15,18 2-15,-2-18 16,2-1-16,-1 0 15,18 2 1,-17-19-16,34 17 16,18-17-1,1-17-15,-19 17 0,18-19 16,54 2-16,-1-18 16,-53 17-16</inkml:trace>
  <inkml:trace contextRef="#ctx0" brushRef="#br0" timeOffset="173151.94">7055 13291 0,'36'-71'32,"-18"88"-1,-18 19-31,0-18 16,0-1-16,17 2 0,-17 15 15,17 2-15,-17 16 16,19-34-1,-19 0-15,0 0 16</inkml:trace>
  <inkml:trace contextRef="#ctx0" brushRef="#br0" timeOffset="173317.17">7003 13415 0,'52'-124'31,"-69"230"-31,34-106 16,19 0-16,-1-18 15,-18 18-15,2 0 0,-2 0 16</inkml:trace>
  <inkml:trace contextRef="#ctx0" brushRef="#br0" timeOffset="173635.14">7409 13256 0,'17'0'0,"0"0"31,19 0-31,-36 17 16,18-17-16,-18 35 15,0-16 1,-18 15-16,0 2 15,18-18-15,-18-1 0,18 0 16,-17 1 0,17 0-16,17-18 15,-17 18 1,18-18-16,18 0 16,-2 0-16,56-18 15,-690-35-15,1234 106 0,-599-53 16,-16 0-16,-725-70 0,1446 122 0,-722-52 15,18 0-15</inkml:trace>
  <inkml:trace contextRef="#ctx0" brushRef="#br0" timeOffset="174048.03">8167 13185 0,'0'35'31,"0"18"-16,0-35-15,0-1 0,0 19 16,0-19-16,0 19 0,0-1 16,0-18-16</inkml:trace>
  <inkml:trace contextRef="#ctx0" brushRef="#br0" timeOffset="174294.78">7990 13379 0,'36'-18'0,"-19"18"0,18 0 16,-16 0-16,33 0 0,-16 0 15,-2 0-15,-15 0 0,-2 0 16,18-17-16,-18 17 0,2 0 15,-2 0-15,1 0 0,-1 0 0,2 0 16,-2 0-16,0 0 0,1-17 16</inkml:trace>
  <inkml:trace contextRef="#ctx0" brushRef="#br0" timeOffset="175691.92">9049 13115 0,'0'-18'0,"17"18"0,2 0 16,-2 0-16,0 0 16,1 18-1,-18-1-15,-18 0 16,18 2-16,-34 33 15,15-16 1,38-1 15,-2-35-15,-17 17-16,17-17 0,1 19 0,-1-19 16,-17 17-16,19-17 15,-19 17-15,0 1 16,0 0-16,-19-18 15,19 18-15,-17-1 0,-1-17 16,1 17-16,0-17 0,-2 0 16,19 18-16,-17-18 0,-1 0 15</inkml:trace>
  <inkml:trace contextRef="#ctx0" brushRef="#br0" timeOffset="175884.1">9490 13044 0,'17'0'31,"1"0"-31,-18 17 0,0 1 16,0 0-16,0 0 0,0-1 16,17 0-16,-17 2 0,-17-2 0,17 1 15,0-1-15,0 0 0,0 2 16,0-2-16,0 1 0,0-1 0,0 2 15</inkml:trace>
  <inkml:trace contextRef="#ctx0" brushRef="#br0" timeOffset="176083.99">9383 13256 0,'36'0'16,"-18"0"-16,-1 0 0,2-19 16,-2 19-16,18 0 0,1 0 0,-19 0 15,18 0-15,1 0 0,52-17 16,-54 17-16,-15 0 16</inkml:trace>
  <inkml:trace contextRef="#ctx0" brushRef="#br0" timeOffset="176480.88">10054 13044 0,'17'0'0,"-17"-17"0,19 17 15,-2 0 1,-17 17-16,18-17 16,-18 17-1,-18 1-15,18 0 16,0 0 0,0-1-1,18-17-15,-18 17 16,17-17-16,-17 19 0,19-19 15,-19 17-15,17 1 16,-17 16-16,0-15 16,0-2-16,0 1 0,-17-1 0,-2 2 15,19-2-15,-17-17 0,17 17 16,-35 1-16,35 0 16,-19-18-16</inkml:trace>
  <inkml:trace contextRef="#ctx0" brushRef="#br0" timeOffset="176695.16">10583 12973 0,'0'-17'31,"18"52"-16,-18-18-15,0 2 16,0-2-16,0 36 0,-18-35 16,18-1-16,0 19 0,0-1 15,-17-18-15,17 0 0,0 2 16</inkml:trace>
  <inkml:trace contextRef="#ctx0" brushRef="#br0" timeOffset="176868.45">10442 13220 0,'36'-17'16,"-19"-1"-16,1 18 16,-1 0-16,2 0 0,-2 0 15,18-17-15,-18 17 0,19 0 0,-1-19 16,-17 19-16</inkml:trace>
  <inkml:trace contextRef="#ctx0" brushRef="#br0" timeOffset="177583.21">11025 12991 0,'34'0'0,"-16"0"15,0 0-15,0 0 0,-1 17 16,-17 2-1,0-2-15,0 0 16,-17-17-16,17 18 16,-18 0-1,18 0-15,0-1 32,18 0-32,-1 2 0,0-2 15,2 1 1,-2-1-16,-17 0 0,0 2 15,-17 16-15,17-18 16,-19-17-16,2 19 0,0-2 16,-1 0-16,0 1 15,0-18-15,1 18 0,0-18 16</inkml:trace>
  <inkml:trace contextRef="#ctx0" brushRef="#br0" timeOffset="177781.27">11501 13008 0,'34'19'16,"-15"-2"0,-19 0-16,0 1 15,0 18-15,0 52 16,0-71-1,0 19-15,0-19 16,0 1-16,0-1 0</inkml:trace>
  <inkml:trace contextRef="#ctx0" brushRef="#br0" timeOffset="177978.13">11465 13256 0,'0'-19'16,"18"19"0,17-17-16,-18 17 0,2 0 15,33-17-15,1 17 16,-18 0-16,1-18 0,-19 18 16,54 0-16</inkml:trace>
  <inkml:trace contextRef="#ctx0" brushRef="#br0" timeOffset="178395.76">12030 12991 0,'17'0'16,"1"17"0,-18 2-16,0-2 31,-18 0-31,18 1 31,18 0-31,-18 0 16,18-1-16,0 0 15,-18 19-15,-18 35 32,18-54-32,-36 1 15,19 18-15,0-19 16,-2 0-1</inkml:trace>
  <inkml:trace contextRef="#ctx0" brushRef="#br0" timeOffset="178695.22">12541 13008 0,'0'19'16,"0"-2"-1,0 18-15,0-17 16,0 0-16,-18-1 0,18 0 0,0 2 16,0 16-16,0-18 15,0 0-15,0 2 16</inkml:trace>
  <inkml:trace contextRef="#ctx0" brushRef="#br0" timeOffset="178913.25">12294 13115 0,'53'0'16,"-35"0"-1,18 0-15,-19 0 0,0 0 16,1 0-16,18 0 0,-19 0 15,18-18-15,-17 18 0,0 0 16,16 0-16,-15 0 0,-2 0 0,18 0 16</inkml:trace>
  <inkml:trace contextRef="#ctx0" brushRef="#br0" timeOffset="179765.23">13441 12991 0,'0'-18'16,"-18"36"-16,-18-1 16,36 2-16,-17-19 0,0 17 15,-1 0-15,1 1 16,-2 0-16,2 0 15,17-1-15,-17 0 0,17 2 16,17-2 0,-17 1-16,17-18 0,-17 17 15,54 0-15,-20-17 16,-15 19-16,16-19 0,-18 0 16,19 0-16,17 0 0,-18 0 15,18 0-15,-1 0 16,-33-19-16,16 19 0,-18-17 15</inkml:trace>
  <inkml:trace contextRef="#ctx0" brushRef="#br0" timeOffset="179992.08">13458 13008 0,'0'0'31,"-17"19"-31,34 15 0,-17 2 16,0-18-16,0 35 15,0-36-15,19 54 16,-19-36 0,17 1-16,-17-19 0,0 0 15,0 1-15,17-18 0</inkml:trace>
  <inkml:trace contextRef="#ctx0" brushRef="#br0" timeOffset="180223.21">14217 13044 0,'0'0'16,"17"17"0,-17 37-1,0-37-15,0 0 0,0 19 16,-17-18-16,17-1 0,0 19 16,0-1-16</inkml:trace>
  <inkml:trace contextRef="#ctx0" brushRef="#br0" timeOffset="180438.91">14041 13185 0,'0'0'15,"17"0"-15,0-17 0,2 17 16,33 0 0,-33 0-16,15 0 0,-16 0 15,18 0-15,-19 0 16</inkml:trace>
  <inkml:trace contextRef="#ctx0" brushRef="#br0" timeOffset="180755.09">14782 13008 0,'-19'36'47,"2"-19"-31,17 1-1,-17 0-15,-1 0 16,89-125-16,-160 231 0,89-107 0,-18 2 31,18-2-31,0 1 16,18-1-1,0-17-15,17 17 16,1-17-16,-19 0 16,1 0-16,16 0 15,-15 0-15,-2-17 16,1 17-16,-1 0 0</inkml:trace>
  <inkml:trace contextRef="#ctx0" brushRef="#br0" timeOffset="180970.96">14922 13008 0,'-17'0'16,"-1"19"-16,18-2 15,0 0-15,-17-17 0,17 18 16,0 0-16,0 0 0,0-1 16,-19 19-16,19-19 15,0 1-15,-17-1 0,17 0 0,0 2 16,0-2-16,-17 1 0,17-1 16,0 2-16,124-338 0</inkml:trace>
  <inkml:trace contextRef="#ctx0" brushRef="#br0" timeOffset="181432.32">15470 12956 0,'17'71'15,"-17"-54"-15,0 18 0,0-17 16,18 17-16,-36 1 16,36-1-16,-18-18 15,0 0-15</inkml:trace>
  <inkml:trace contextRef="#ctx0" brushRef="#br0" timeOffset="181633.06">15310 13097 0,'53'0'16,"18"18"15,-18-18-31,-35 0 0,16 0 0,2 0 16,-18 0-16,18 0 15</inkml:trace>
  <inkml:trace contextRef="#ctx0" brushRef="#br0" timeOffset="181859.19">16034 12939 0,'0'0'16,"17"17"-16,-17 0 15,0 1-15,0-1 16,18 2-16,-18-2 0,0 0 16,0 19-16,0-18 0,0 16 15,0 2 1,0-18-16,0-1 0,0 0 16,18 2-1</inkml:trace>
  <inkml:trace contextRef="#ctx0" brushRef="#br0" timeOffset="208921.97">582 13856 0,'476'-36'78</inkml:trace>
  <inkml:trace contextRef="#ctx0" brushRef="#br0" timeOffset="209867.53">2046 14261 0,'-35'0'16,"123"0"0,-53 0-16,1 0 15,69 0-15,-34 0 0,0 0 16,17 0-16,0 0 0,124-17 15,-107-2-15,19 2 0,0 0 16,35-1-16,-1 0 0,1 0 16,17 1-16,-17-19 0,17 19 0,177-18 15,-177-1-15,19 19 16,-2-1-16,2 1 0,-2-2 0,195 2 16,36-18-16,-212 18 15,-1-2-15,1 19 0,0-17 16,229-18-16,-1 17 15,1-17-15,-229 18 0,18-2 16,-18 2-16,17 17 0,194-35 16,-211 18-16,0 17 0,-2-19 15,2 2-15,-17-1 0,16 1 0,195-2 16,-212 2-16,18 0 16,158-19-16,-176 18 15,176 1-15,-176 0 0,-17-1 0,-1 0 16,0 0-16,-17 18 15,1-17-15,-20 0 0,108-2 0,-108 19 16,-16-17-16,0 17 0,-2 0 16,-15-18-16,16 18 0,-17 0 15,0 0-15,-18-17 0,0 17 0,53 0 16,-88 0-16,-1 0 0,-16 0 16,-1 0-16,-16 0 15,-2 0-15,0 0 0,1 0 0</inkml:trace>
  <inkml:trace contextRef="#ctx0" brushRef="#br0" timeOffset="211852.09">7409 15813 0,'-18'0'16,"70"0"30,-34-17-46,35-2 16,-36 19 0,2 0-16,-2 0 15,1 0-15,-18 19 32,-18-2-32,1-17 0,-2 18 15,2-1-15,0-17 0,-1 19 0,-18 15 16,19-34-16,0 18 15,-1 0-15,0-18 0,18 18 16,-18-1-16,1-17 0,17 17 16,17-17-1,1 0 1,18 0-16,-2 0 0,-16-17 16,18 17-16,-2 0 0,2-17 15,-1 17-15</inkml:trace>
  <inkml:trace contextRef="#ctx0" brushRef="#br0" timeOffset="212513.14">8467 15672 0,'35'-17'0,"-35"-1"16,17 18-16,-69 35 0,122-70 0,-52 35 16,0 0-16,-1 0 0,-17 18 15,17-18-15,-17 17 0,19 0 16,-19 2-16,0-2 16,0 1-16,-19-1 0,19 19 0,-17-19 15,-18 18 1,35-16-16,-18-19 0,0 17 0,18 0 0,-17 1 15,0 0-15,-1-18 16,18 18-16,18-1 31,-1-34-15,0 17-16,1 0 16,0 0-16,0 0 0,35-18 15,-36 18-15,1-18 0,-1 18 16,2 0-16,-2 0 0,0 0 15,1-18-15</inkml:trace>
  <inkml:trace contextRef="#ctx0" brushRef="#br0" timeOffset="-213961.18">8995 15777 0,'-17'0'0</inkml:trace>
  <inkml:trace contextRef="#ctx0" brushRef="#br0" timeOffset="-212973.67">9402 15496 0,'-19'17'16,"2"19"0,0-18-16,17-1 0,-18 18 15,18-17-15,-17 0 0,17-1 0,0 19 16,0-19-16,0 18 16,0-18-16,0 2 0,0-2 0,0 1 15,17-1-15,1 2 0,-1-2 16,0 0-1,2-17-15,-2 0 0,1 0 16,-1 0 0,2-17-16,-19 0 15,-19-2 1,2 19 0,-1-17-16,1 17 0,-2-18 15,-15 18-15,16 0 16,1 0-16,-19 18 15,19-18 1</inkml:trace>
  <inkml:trace contextRef="#ctx0" brushRef="#br0" timeOffset="-212589.49">9842 15813 0,'-52'18'31,"33"-1"-31,2 2 0,17-2 0,-17 0 16,-1 19-16,-18-1 0,-16 18 15,16-18-15,19 1 0,-19-1 16,19 1-16,-18-19 0,18 18 15,-2-18-15,2 2 0,17-2 16,-18 0-16,18 1 0</inkml:trace>
  <inkml:trace contextRef="#ctx0" brushRef="#br0" timeOffset="-212359.33">9949 15937 0,'-36'52'16,"36"-34"-16,-52 35 0,140-176 0,-195 282 0,72-107 15,18-16-15,-19-1 16,1 18-16,-1-18 0,-16 35 0,16-34 15,19-1-15</inkml:trace>
  <inkml:trace contextRef="#ctx0" brushRef="#br0" timeOffset="-204652.89">31467 8105 0,'0'-17'16</inkml:trace>
  <inkml:trace contextRef="#ctx0" brushRef="#br0" timeOffset="-197174.92">32050 8017 0,'17'-18'0,"1"18"15,0-18 1,0 18-16,-1 0 15,0 0-15,2 0 16,-2 0-16,1-17 16,-1 17-1,0 17-15,2 1 16,-19 18 0,0-2-16,0-15 15,0-2-15,0 18 0,0 1 16,0-1-16,0 1 0,0 16 15,0 1-15,0 0 0,0 106 16,17-107-16,18 89 16,-35-105-16,19 16 15,-2-33-15,-17 16 0,17 1 0,1-19 0,-18 18 16,18-18-16,0 2 16,-18-2-16,0 0 0,17 1 0,-17 0 15,0 0-15,17-1 16,-34-17-16,17 17 15,-17-17-15,-1 0 16,0 0-16,0 0 0,1 0 16,0 0-16,-2 0 0,2 19 0,-1-19 15,1 0-15,-2 0 0,-15 0 16</inkml:trace>
  <inkml:trace contextRef="#ctx0" brushRef="#br0" timeOffset="-196361.07">32279 9093 0,'18'18'16,"-1"-18"-16,19 0 15,-19 17-15,1-17 0,18 17 16,-19 19 15,0-1-31,-17-18 0,-17 37 16,17 16-1,-17-34-15,17 16 0,-18 2 0,18-1 16,0-18-16,-18 53 0,18-35 16,0-18-16,0 1 0,0-2 15,0 2-15,0-1 0,0 1 16,18-1-16,-18-18 0,0 36 15,18-18-15,-18-16 0,0-2 16,0 0-16,17 1 0,-17 0 0,0 0 16,0-1-16,-17 0 15,-1 2-15,0-19 16,0 0-16,1 0 0,17 17 16,-17-17-16,-2 0 0,-16 0 15,18 0-15,-2 0 16,2 0-1</inkml:trace>
  <inkml:trace contextRef="#ctx0" brushRef="#br0" timeOffset="-195833.34">32333 10204 0,'88'-17'16,"-71"17"-1,18 0-15,-17 17 16,0 0 0,-18 2-16,0-2 0,-18 35 31,18-33-31,0-2 0,0 18 16,0-16-16,0 15 0,0 2 0,52 192 31,-52-192-16,19-1-15,-19 1 0,0-19 0,17 37 16,-17-37-16,18 0 0,-18 1 16,0 0-16,0 0 15,-18-1-15,1 0 16,-2-17-16,19 19 16,-17-19-16,0 0 0,-1 0 15,-18 0-15,36 17 0,-17-17 16,0 0-16,-19 0 15,18 0-15,18 18 0,-17-18 16</inkml:trace>
  <inkml:trace contextRef="#ctx0" brushRef="#br0" timeOffset="-195334.62">32421 11068 0,'70'-17'15,"-52"17"-15,-1 0 16,-17 17-16,17-17 15,-17 19-15,19-19 0,-19 17 16,0 0-16,0 1 16,0 18-16,0-19 0,0 0 0,0 19 15,0 52 1,17-53-16,-17 1 0,0-1 0,0 1 16,0-2-16,0 72 0,0-53 15,0 0-15,18-1 16,-18 2-16,0-1 0,0 0 0,0-18 15,0 18-15,0-18 0,0 1 0,0-1 16,0 1-16,0-2 0,0-16 16,0 18-16,0-2 0,0-16 0,-18 0 15,18 17-15,-17-18 0,17 1 16,-19 0-16,2 0 0,0 16 16,-37 2-16,37-36 15,-18 18-15,-1-1 0,19-17 16,-19 19-16,-16-19 0,16 0 0,-35 17 15,1-17-15,18 17 16,16-17-16,1 0 0,-1 18 16</inkml:trace>
  <inkml:trace contextRef="#ctx0" brushRef="#br0" timeOffset="-193308.92">8925 14067 0,'0'-18'0,"0"53"47,0-16-47,0-2 0,0 0 15,-18 1-15,18 0 0,0 0 0,0-1 16,-17 36 0,17-18-16,0-18 15</inkml:trace>
  <inkml:trace contextRef="#ctx0" brushRef="#br0" timeOffset="-192924.82">9578 13996 0,'-71'36'16,"37"-19"-16,15 1 16,2-1-16,-18 2 0,16-2 0,2 0 15,0 1-15,-1-18 0,1 18 16,-2 0-16,2-1 0,0 0 0,-1 2 16,18-2-16,0 1 15,0-1 1,18-17-16,-1 0 0,0 17 0,2-17 15,-2 0-15,1 0 16,-1 19-16,19-19 0,-19 0 0,37 0 16,-20-19-16,-16 19 0,18 0 15,-19 0-15,36-17 0,-35 17 16</inkml:trace>
  <inkml:trace contextRef="#ctx0" brushRef="#br0" timeOffset="-192707.07">9525 14137 0,'0'54'0,"0"-20"16,0-122-16,-18 230 0,18-108 0,0 2 15,0-1-15,0 18 16,0 18-16,0-18 0,0-18 16,18 1-16</inkml:trace>
  <inkml:trace contextRef="#ctx0" brushRef="#br0" timeOffset="-187020.02">9402 15567 0,'123'-71'0,"-106"71"16,2-17-16,-2 17 0,-17-19 16,17 19-16,-17-17 15,-17 17 16,-19 0-15,19 0-16,-1 0 16,1 0-16,-19 36 15,19-19-15,-1 0 0,1-17 16,17 18-16,-19 0 0,2 0 16,17-1-16,-17 0 0,17 1 0,-18 0 15,18 0-15,-17-1 0,17 0 16,-19 19-16,2-18 15,17-1-15,0 0 0,0 2 16,-17-19-16,17 17 16,17-17-1,0 0 1,2 0 0,-2 0-16,1 0 0,-1 0 15,19 18-15,-19-18 0,1 0 16,-1 17-16,2 2 15,-2-2-15,0 0 16,-17 1-16,0 0 0,0 0 0,-17 52 16,0-52-1,-54 52-15,35-35 0,-69 53 16,51-52-16,-16 17 16,-18-18-16,0 0 0,0 1 0,-212 52 15</inkml:trace>
</inkml:ink>
</file>

<file path=ppt/ink/ink127.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51:06.083"/>
    </inkml:context>
    <inkml:brush xml:id="br0">
      <inkml:brushProperty name="width" value="0.05292" units="cm"/>
      <inkml:brushProperty name="height" value="0.05292" units="cm"/>
      <inkml:brushProperty name="color" value="#0070C0"/>
    </inkml:brush>
  </inkml:definitions>
  <inkml:trace contextRef="#ctx0" brushRef="#br0">11831 14116 0,'0'-18'15,"0"1"-15,0-2 0,-17-15 16,-1 16-16,1 0 15,-72-34 1,37 52-16,-2-19 0,-16 19 16,16 0-16,-34 19 15,-70 15-15,70 2 0,0-1 0,-36 36 16,18-1-16,1 1 0,-2 17 0,19-17 16,0 34-16,18-17 0,16 19 15,2-19-15,16 0 0,2 0 16,16 0-16,-18 1 0,36-1 0,0-17 0,0-2 15,18 2-15,18-1 0,-2 1 16,37-18-16,0 1 0,-1-2 16,18 1-16,18-18 0,18-17 0,17 17 15,-17-18-15,16-17 0,-16 0 16,52-17-16,-17 0 0,-1-19 0,1 1 16,-18 18-16</inkml:trace>
  <inkml:trace contextRef="#ctx0" brushRef="#br0" timeOffset="536.41">14248 13622 0,'88'18'0,"-34"-1"16,15 18-16,20 1 0,158 140 16,-176-106-16,-19 1 15,18 34-15,-34-15 0,-1-2 0,1 0 16,-19 17-16,-17 2 0,0-2 0,-36 19 16,-69 140-16,17-140 15,-36 16-15,1 1 0,-89 18 0,0 0 16,-52-1-16,-18-16 0,-18-1 0,-52 0 15</inkml:trace>
  <inkml:trace contextRef="#ctx0" brushRef="#br0" timeOffset="11435.27">4952 3921 0,'0'35'31,"0"-18"-31,0 19 16,-17 69-1,17-51-15,-19 16 16,19-35-16,-17 1 0,17-1 0,-17-18 15,17 19-15,0-19 0,-18 1 16,18-1-16,-17-17 0,17 19 0</inkml:trace>
  <inkml:trace contextRef="#ctx0" brushRef="#br0" timeOffset="11641.21">4723 4238 0,'53'0'15,"-35"0"-15,16 0 0,-15 0 16,16 0-16,-1 0 0,56 0 16,15 0-16,-52-18 0,18 18 15,-19 0-15,19 0 0</inkml:trace>
  <inkml:trace contextRef="#ctx0" brushRef="#br0" timeOffset="12170.97">9750 3956 0,'0'0'0,"17"34"31,2-34-31,-19 19 0,0-2 16,17 37-16,-17-37 0,0 35 15,17-33-15,-17-2 16,-17 18-16,17-17 0,0 0 15,0-1-15,0 0 0</inkml:trace>
  <inkml:trace contextRef="#ctx0" brushRef="#br0" timeOffset="12391.06">9574 4238 0,'34'-18'32,"37"0"-17,-18 18-15,-35 0 16,70-17-16,-52 17 0,-2-17 16,20 17-16,-20 0 0,2 0 15,18 0-15,-20-19 0</inkml:trace>
  <inkml:trace contextRef="#ctx0" brushRef="#br0" timeOffset="13014.37">14618 3744 0,'0'17'0,"0"2"0,18-2 0,-18 18 16,0-17-16,0 0 15,0 35-15,0-18 16,0-18-16,18 36 0,-18-18 0,0-16 16,0-2-16,0 0 0,0 1 15,0-1-15,-18 2 0</inkml:trace>
  <inkml:trace contextRef="#ctx0" brushRef="#br0" timeOffset="13232.76">14407 4009 0,'35'0'16,"-18"0"-16,2 0 15,33 0-15,-16 0 16,52 0-16,70-19 16,-104 19-16,16 0 15,-18 0-15,-33-17 0,16 17 16,-1 0-16</inkml:trace>
  <inkml:trace contextRef="#ctx0" brushRef="#br0" timeOffset="17020.13">32310 1750 0,'0'-34'46,"0"16"-46,0-18 32,0 2-32,0 16 0,-18-35 15,18 36 1,-17-2 0,-19 38-1,19-2-15,-1 0 16,18 19-16,-17-1 0,0 18 0,-2-18 15,-33 70-15,52-69 0,-19-1 16,2 1-16,0-1 0,17 1 16,-18-19-16,18 0 0,-18 19 0,18-18 15,-18 16-15,18-15 16,0-2-16,-17-17 0,17 18 16,0-1-16,0 2 15,0-2 1</inkml:trace>
  <inkml:trace contextRef="#ctx0" brushRef="#br0" timeOffset="17275.15">31834 2104 0,'0'0'32,"17"-18"-32,2 18 15,15 0-15,-16 0 16,0 0-16,17 0 0,-18 0 0,37 0 16,-20 0-16,-15 0 15,33 0-15,-16 0 0,-19 0 16,1 0-16</inkml:trace>
  <inkml:trace contextRef="#ctx0" brushRef="#br0" timeOffset="20224.16">27354 1909 0,'0'-17'0,"17"-1"16,0 1-1,2 17-15,-2 0 16,18 17-16,-16-17 16,-2 18-16,0-1 0,18 19 15,-35-19-15,0 1 0,19 0 0,-19 0 16,0-1-16,-19 36 15,19-35-15,-17-1 0,-1 19 16,1-36-16,0 17 0,17 1 16,-19-18-16,2 17 15,-1-17-15,1 0 0</inkml:trace>
  <inkml:trace contextRef="#ctx0" brushRef="#br0" timeOffset="20492.23">27688 1928 0,'-34'34'32,"34"-16"-32,-18 0 15,18 0-15,-18-1 0,18 0 0,-18 1 16,18 0-16,0 0 0,0-1 15,0 0-15,0 2 16,18-2-16,-18 1 16,18-18-16,-18 17 0,18-17 15,-1 0-15,0 0 0,-17 19 0,36-19 16,-18 0-16,-1 0 16,0 0-16</inkml:trace>
  <inkml:trace contextRef="#ctx0" brushRef="#br0" timeOffset="23615.22">29540 4273 0,'-88'71'0,"71"-37"0,0-15 15,-1-2-15,-18 37 0,19-37 16,-19 0-16,19 1 0,17 0 0</inkml:trace>
  <inkml:trace contextRef="#ctx0" brushRef="#br0" timeOffset="23819.65">29118 4414 0,'17'-17'0,"0"17"16,54 52 15,-54-33-31,73 15 15,-56-16-15,-16 0 0,18 0 16,16-1-16,-16 0 0,-19-17 16,0 18-16</inkml:trace>
  <inkml:trace contextRef="#ctx0" brushRef="#br0" timeOffset="24143.76">29311 5225 0,'-35'36'16,"18"-19"-16,69-70 0,-123 124 0,54-35 16,0-19-16,-18 19 0,16-1 0,-15-18 15,16 19-15,-18-1 0,19-18 0,0 19 16</inkml:trace>
  <inkml:trace contextRef="#ctx0" brushRef="#br0" timeOffset="24335.85">29012 5314 0,'35'18'31,"-35"-1"-31,17 0 0,-17 2 16,18-2-16,0 1 0,34 52 16,-33-52-16,-2-1 0,1 19 15</inkml:trace>
  <inkml:trace contextRef="#ctx0" brushRef="#br0" timeOffset="24734.85">29118 6320 0,'-18'70'0,"-35"1"16,18-36-1,-1-1-15,19 2 0,-19-1 0,19 1 0,-18-1 16,16 1-16,2-19 16</inkml:trace>
  <inkml:trace contextRef="#ctx0" brushRef="#br0" timeOffset="24927.34">28852 6442 0,'19'0'0,"33"36"31,-33-36-31,-2 18 0,18-1 0,1 19 16,-2-19-16,2 18 0,-1-16 0,1-2 15,-1 18-15,-18-17 0,19 0 16,-19-1-16</inkml:trace>
  <inkml:trace contextRef="#ctx0" brushRef="#br0" timeOffset="25291.96">29171 7360 0,'-19'36'16,"19"-19"-16,-88 88 15,71-69-15,-18-1 0,-1 1 16,19-1-16,-19 1 0,19-19 15,-18 18-15,16-18 0</inkml:trace>
  <inkml:trace contextRef="#ctx0" brushRef="#br0" timeOffset="25488.98">28923 7466 0,'36'0'0,"-19"18"0,37 34 32,-20-34-32,-16 0 0,18 16 0,-2-15 15,2 16-15,-1-18 0,-18 19 0,19-19 16,-1 1-16,-16-1 0,-2 2 16,0-2-16</inkml:trace>
  <inkml:trace contextRef="#ctx0" brushRef="#br0" timeOffset="25804.87">29294 8472 0,'-35'17'0,"16"0"15,2 1-15,0 0 0,-18 17 16,-1-18-16,-17 19 0,18-1 15,0-18-15,-1 19 0,2-18 0,-2 18 0,18-36 16,1 17-16</inkml:trace>
  <inkml:trace contextRef="#ctx0" brushRef="#br0" timeOffset="25984.53">29100 8577 0,'35'53'0,"-35"-35"0,17-1 16,2 0-16,16 19 0,-1-1 0,2 1 16,-1-1-16,18-18 0,1 19 15,16-1-15,-18 1 0,19-19 0,0 19 16,-1-1-16,-16-18 0,-2-17 16</inkml:trace>
  <inkml:trace contextRef="#ctx0" brushRef="#br0" timeOffset="28076.16">13366 14416 0,'-52'70'0,"33"-35"16,19-18-16,-17 2 0,-18 16 15,-1 35-15,19-16 0,17-20 16,-18-16-16,18 18 0,0-2 0,0-15 15,0 16-15,0-18 0,18 19 16,-1-19-16,-17 1 0,36-1 0,-19 2 16,1-19-16,-1 17 0</inkml:trace>
  <inkml:trace contextRef="#ctx0" brushRef="#br0" timeOffset="28446.57">14178 14204 0,'17'17'0,"0"2"16,1-2-16,0 0 0,0 37 16,16 34-16,-15-54 0,-19 20 15,0-1-15,0-1 0,-19 1 0,2 1 16,0 16-16,-19-18 0,-16 2 15,-2-1-15,1-1 0,-18-16 0,2-1 16,16 1-16,-18-2 0,0-15 16,18-2-16</inkml:trace>
  <inkml:trace contextRef="#ctx0" brushRef="#br0" timeOffset="30290.94">1848 4080 0,'18'0'16,"16"0"-16,-15 17 0,-2-17 16,35 52-1,-52-33-15,19-2 0,-19 0 0,0 1 16,0 0-16,-19 0 0,19-1 16,-17 19-16,0-19 0,-1 1 0,-52 52 15,52-52-15,-18-1 16,19 2-16,0-19 0,-2 17 15,2-17-15,-1 17 0,1-17 16,52 18 15,1-18-15,-2 0-16,-16 0 16,0 0-16,0 0 0,-1 0 15,19 0-15,-19 0 0,1 0 0,-1-18 16,19 18-16,-19 0 0,18-17 15</inkml:trace>
  <inkml:trace contextRef="#ctx0" brushRef="#br0" timeOffset="30519.09">2642 4132 0,'0'36'16,"-18"-36"-16,0 34 15,18-16-15,-18 18 16,1-19-16,17 0 0,-17 2 0,-1 16 0,0-18 16,18 0-16,-18 2 0,1-19 0,17 17 15,-17 1-15,-2-1 16</inkml:trace>
  <inkml:trace contextRef="#ctx0" brushRef="#br0" timeOffset="30725.91">2376 4326 0,'-17'-17'16,"53"34"15,-19-17-16,1 18-15,-1-18 0,2 17 16,-2 0-16,18-17 0,-17 0 0,0 19 16,16-19-16,-16 17 0,0-17 15,17 0-15,-18 0 0,2 0 0,-2 0 0,1 0 16</inkml:trace>
  <inkml:trace contextRef="#ctx0" brushRef="#br0" timeOffset="30919.85">3100 4168 0,'-17'52'47,"17"-34"-47,0 0 0,-19-1 16,19 0-16,0 2 0,-17 33 15,17-35-15,-17 19 16,17-18-16,0-1 0,-18 2 15,18-2-15</inkml:trace>
  <inkml:trace contextRef="#ctx0" brushRef="#br0" timeOffset="31397.43">1478 4026 0,'-18'35'0,"18"-16"0,-18-2 15,18 35-15,0-16 0,-18-1 16,18 1-16,0-2 0,18 20 16,-18-1-16,18-18 0,-18 18 0,18 0 15,16-18-15,-16 0 0,18 1 16,-2-19-16,2 19 0,-1-19 16,1-17-16,35 18 0,-37-18 15,20 0-15,68-18 0,-68 1 16</inkml:trace>
  <inkml:trace contextRef="#ctx0" brushRef="#br0" timeOffset="31840.48">3135 3744 0,'71'17'0,"-35"2"0,-2-2 16,2 18-16,-1 1 0,1-2 16,-1 2-16,18 16 0,-36-16 0,18 18 15,-16-2-15,-2-16 0,0 16 0,-17 18 16,0-34-16,-17-1 15,0 18-15,-2-18 0,2 1 0,-18 17 16,-1-18-16,19-18 0,-18 19 16,-1-18-16,1-1 0,17 0 0,0-17 15,-35 19-15</inkml:trace>
  <inkml:trace contextRef="#ctx0" brushRef="#br0" timeOffset="32891.87">6187 4044 0,'17'0'0,"1"-18"16,0 18-16,0 0 15,-1 0 1,0 0-16,-51 0 31,-20 35-15,37-35-16,0 19 15,-2-19-15,2 0 0,17 17 16,-18-17-16,1 17 16,34 1-1,18-1 1,-16 2 0,-2-19-16,0 17 0,1-17 15,18 17-15,-19 1 0,0 0 16,2-18-16,-19 18 0,17-18 0,-17 17 15,0 19 1,-17-36-16,-2 35 0,2-35 16,0 17-16,-1 0 0,0-17 0,0 19 15,1-19-15,0 0 16,-19 17-16,18-17 0,1 0 0,0 0 16,-2 0-16,2-17 15</inkml:trace>
  <inkml:trace contextRef="#ctx0" brushRef="#br0" timeOffset="33184.06">6999 4114 0,'0'35'31,"-19"-16"-31,19-2 0,0 0 0,0 1 16,-17 0-16,17 17 0,-17-18 15,17 2-15,0-2 0,-18 18 16,18-18-16,0 2 0,-18-2 0,18 1 0,0-1 15,-18 2-15,18-2 16</inkml:trace>
  <inkml:trace contextRef="#ctx0" brushRef="#br0" timeOffset="33396.12">6822 4290 0,'36'0'32,"-2"19"-17,-16-19-15,0 17 0,0-17 0,-1 18 16,0-18-16,2 17 0,16-17 16,-1 17-16,-15-17 15,-2 19-15,1-19 0,-1 0 0,2 0 16</inkml:trace>
  <inkml:trace contextRef="#ctx0" brushRef="#br0" timeOffset="33795.39">7387 4220 0,'17'-18'16,"18"36"-1,-18 0 1,-17 0 0,-17-1-16,0 0 0,-1 2 15,1-2 1,-2 1-16,2-1 15,0 0 1,34 2 0,19-19-1,-19 0 1,1 0-16,16 0 0,-15 0 16,-2 0-16,1 0 0,-1 0 0,2 0 15,15 0 1</inkml:trace>
  <inkml:trace contextRef="#ctx0" brushRef="#br0" timeOffset="34279.92">6134 3850 0,'0'0'0,"-52"71"15,33-36-15,2-1 0,17 2 16,-18-1-16,18 18 0,-17-18 16,17 1-16,0-1 0,0 1 0,0-2 0,17 2 15,-17 16-15,18-16 16,-1-1-16,19 1 0,16 17 16,1-18-16,-17-18 0,16 1 0,2-18 15,16 0-15,-16 18 0,-2-36 16,18 18-16,1 0 0</inkml:trace>
  <inkml:trace contextRef="#ctx0" brushRef="#br0" timeOffset="34604.69">7863 3921 0,'105'123'0,"-87"-106"0,0 19 16,0-1-16,-18 1 0,17-2 15,-17 2-15,0-1 0,0 1 16,0-1-16,-17-1 0,-1 2 0,-35 52 16,17-52-16,1-1 15,-1-18-15,-16 19 0,16-1 0,-16-18 16,16 2-16</inkml:trace>
  <inkml:trace contextRef="#ctx0" brushRef="#br0" timeOffset="35771.9">10984 4009 0,'-88'71'0,"71"-71"15,0 17-15,-2 0 0,2 1 0,-1-1 16,1 2-16,0-2 0,-2 0 15,2 1-15,-1 0 16,18 0-16,0 16 16,18-15-16,-1-19 15,19 17 1,-19 1-16,1-18 0,-1 0 16,19 0-16,-19 0 0,1 0 0,18 0 15,-19 0-15,0 0 0,19-18 0,-18 18 16</inkml:trace>
  <inkml:trace contextRef="#ctx0" brushRef="#br0" timeOffset="35995.42">11020 4097 0,'-36'35'15,"36"-18"1,-17 2-16,17-2 0,0 0 15,0 1-15,-17 0 0,17 0 0,0 16 16,-18-15-16,18 16 0,0-18 0,0 0 16,0 2-16,-18 16 0,18-18 15,0 2-15,0-2 0,0 0 0,0 19 32,18-36-32</inkml:trace>
  <inkml:trace contextRef="#ctx0" brushRef="#br0" timeOffset="36202.86">11584 4168 0,'0'0'16,"-17"34"-1,-19 20 1,36-37-16,-17 0 0,17 2 15,-18-2-15,18 18 0,-17-18 16,-2 2-16,19-2 0,-17 1 0,17-1 16,0 2-16,-17-2 0</inkml:trace>
  <inkml:trace contextRef="#ctx0" brushRef="#br0" timeOffset="36410.46">11355 4326 0,'0'-17'16,"36"34"-1,-19 1 1,1-1-16,-1 0 16,0-17-16,2 19 0,-2-19 0,1 17 15,-1-17-15,19 18 0,-19-18 16,1 0-16,0 0 0,0 0 15,16 17-15</inkml:trace>
  <inkml:trace contextRef="#ctx0" brushRef="#br0" timeOffset="37258.04">11990 4114 0,'36'0'0,"-36"18"0,17-18 16,-17 17-16,17 2 15,-34-2 1,17 0-16,-17 1 0,17 0 31,0 0-15,0 16-1,17-34-15,-17 19 0,0-2 16,0 1-16,-17-1 16,17 0-16,-36 2 15,18-2-15,1-17 16,17 18-16,-17-18 0,-37 0 16,37 0-16,0 0 0</inkml:trace>
  <inkml:trace contextRef="#ctx0" brushRef="#br0" timeOffset="37710.44">10738 3885 0,'-54'36'0,"2"33"0,34-33 16,-17-1-16,0 18 0,17 1 16,-34 87-16,33-89 15,19 55 1,19-55-16,33 18 15,-34-34-15,17-1 0,0-18 0,1 2 16,17-19-16,-18 17 0,106-17 16,-70 0-16,-1-17 15,18 17-15,0-19 0</inkml:trace>
  <inkml:trace contextRef="#ctx0" brushRef="#br0" timeOffset="38023">12502 3780 0,'53'70'0,"-53"-35"16,17 1-16,1 16 0,-18 1 0,17-18 16,-17 18-16,0 71 15,0-72-15,-17 2 0,-1-20 16,-18 56-16,2-56 0,-37 54 16,18-52-16,1-1 15,16-18-15,-16 19 0,16-18 0,1-1 16</inkml:trace>
  <inkml:trace contextRef="#ctx0" brushRef="#br0" timeOffset="39077.4">16259 3832 0,'0'18'31,"0"0"-31,-53 104 16,35-86-16,1 18 0,-2-2 0,2 1 16,17 0-16,-35 35 15,18-53-15,17 1 0,0-1 0,0 35 16,0-52-16,17 0 15,1 0-15,35 16 16,-36-34 0,1 0-16,18 0 0</inkml:trace>
  <inkml:trace contextRef="#ctx0" brushRef="#br0" timeOffset="39622.99">16594 3956 0,'36'0'16,"-19"0"-16,-17 17 16,17-17-16,-17 17 0,0 2 15,0-2-15,0 1 16,-34 35 0,15-36-16,2 1 0,-1-1 0,18 2 15,-17-19-15,17 17 0,-19-17 16,19 17-16,-17 1 15,34-18 1,-17 18-16,54-18 16,-37 0-1,2 18-15,-2-18 0,18 0 16,-17 0-16,17 0 0,-18 0 0,90-18 16</inkml:trace>
  <inkml:trace contextRef="#ctx0" brushRef="#br0" timeOffset="39782.94">17211 4061 0,'17'0'0,"-34"0"0,0 36 31,-18 16-15,16-33-16,2-2 16,17 0-16,-71 54 15,54-54-15,0 2 0,17-2 16,-19-17-16,19 18 0</inkml:trace>
  <inkml:trace contextRef="#ctx0" brushRef="#br0" timeOffset="39928.08">16930 4220 0,'0'0'16,"17"0"15,0 0-31,37 18 15,-37-18-15,0 0 16,1 0-16</inkml:trace>
  <inkml:trace contextRef="#ctx0" brushRef="#br0" timeOffset="40235.76">17670 4061 0,'17'0'16,"-52"19"31,-18 15-32,36-34-15,17 18 0,-18-18 0,1 17 16,-2 2-16,-15-2 16,16 0-16,0 1 15,18 0-15,0 0 16,0-1-16,18 0 15,17 2 1,-18-2-16,2-17 0,16 18 16,-1-18-16,20 0 15,-18 0-15,-19-18 16,0 18-16,1-17 0</inkml:trace>
  <inkml:trace contextRef="#ctx0" brushRef="#br0" timeOffset="40414.46">17794 4044 0,'-36'17'15,"36"2"-15,-18-2 0,18 0 0,0 1 16,-17-1-16,17 19 16,0-19-16,0 19 0,0-18 0,17-1 15,-17 0-15,0 2 0,0-2 16,18 1-16,-18-1 0,0 0 0,18-17 15</inkml:trace>
  <inkml:trace contextRef="#ctx0" brushRef="#br0" timeOffset="40641.75">18111 3797 0,'35'35'0,"-17"-17"0,0 0 0,34 87 16,-34-69-1,-18-19-15,18 18 0,-18 1 0,0-1 0,-18 1 16,18-2-16,-18 2 16,18-1-16,-18-18 0,1 37 15,17-37-15,0 0 0,-17 2 0</inkml:trace>
  <inkml:trace contextRef="#ctx0" brushRef="#br0" timeOffset="40873.93">18958 3832 0,'-18'106'31,"0"-35"-15,18-54-16,0 18 0,-35 72 16,35-73-1,-17 37-15,-1-18 16,18-35-16,-18-1 16</inkml:trace>
  <inkml:trace contextRef="#ctx0" brushRef="#br0" timeOffset="41038.61">18711 4132 0,'17'-18'16,"1"18"-16,-1-17 0,19 17 15,17 0 1,-35 0-16,16 0 0,54-17 15</inkml:trace>
  <inkml:trace contextRef="#ctx0" brushRef="#br0" timeOffset="41648.76">20334 3726 0,'-71'124'0,"35"-36"16,36-53-16,-17 36 0,17-35 15,0-19-15,17 18 0,2 35 16,-19-52-16,34 52 16,-16-70-16,0 19 15,0-19-15,16 0 16</inkml:trace>
  <inkml:trace contextRef="#ctx0" brushRef="#br0" timeOffset="42164.04">20898 3814 0,'-159'36'0,"142"-36"16,-1 18-16,0-18 16,18 17-16,0 0 15,0 2-15,18-19 16,0 17-16,-1 1 15,18 16 1,-17-34-16,0 36 0,-1-36 16,-17 18-16,0-1 0,-17 19 15,-1-19 1,-18 1 0,19-1-16,0-17 0,-1 19 15,-35-2-15,36-17 16,-2 0-16,2 0 15</inkml:trace>
  <inkml:trace contextRef="#ctx0" brushRef="#br0" timeOffset="42381.37">21251 3921 0,'17'-19'0,"-17"55"16,-17-1 0,-2-18-16,19 2 0,-17-2 15,0 1-15,-1 18 0,1-19 0,17 18 16,-36 1 0,19-19-16,17 0 0,-18 1 0,0-18 0,18 18 15</inkml:trace>
  <inkml:trace contextRef="#ctx0" brushRef="#br0" timeOffset="42566.25">21039 4044 0,'71'36'15,"-71"-19"-15,17-17 0,0 17 0,54 1 16,-54-18 0,19 17-16</inkml:trace>
  <inkml:trace contextRef="#ctx0" brushRef="#br0" timeOffset="42787.62">21691 3885 0,'-17'36'16,"17"-19"-1,0 18-15,-18 18 16,18-18-16,0-16 0,-17 15 16,17-16-16,0 18 0,0-19 0,-19 54 15,38-54-15,-19 19 16,0-19-16</inkml:trace>
  <inkml:trace contextRef="#ctx0" brushRef="#br0" timeOffset="43071.15">22115 3602 0,'53'90'0,"-106"-180"0,106 214 15,-35-70-15,-18-2 0,17 1 0,-17 0 16,0-1-16,-17 19 0,17-18 16,-18 1-16,0 16 0,-17 1 0,-53 34 15,52-51-15,-16-2 16,-1 1-16,-71 35 15,72-52-15,-19-1 0,0 1 0,1-19 0,-89 35 16,71-33-16,17-19 0,-17 0 16</inkml:trace>
  <inkml:trace contextRef="#ctx0" brushRef="#br0" timeOffset="44107.07">3418 5490 0,'17'0'16,"54"18"-16,-18-18 15,140 0 1,-122 0-16,36 0 0,122 17 16,-106-17-16,18 0 0,0 0 15,423 0 1,-369 0-16,422 0 15,-177 19-15,-228-19 0,18 0 16,475 17 0,-476-17-16,19 17 0,492 1 15,-493 0-15,1-18 16,509 18 0,-509-1-16,16-17 0,-17 17 0,1-17 0,16 0 15,-17 18-15,-1-18 0,478 36 16,-477-36-16,-18 17 15,459 19 1,-458-19-16,-1-17 0,-17 18 16,669 35-1,-439-36-15,210 18 16,-440-35-16,212 19 16,-214-2-16,-15-17 0,17 17 15,-1 1-15,1-18 0,-18 18 0,0-18 16,0 18-16,194-1 15,-194-17-15,-18 0 0,18 17 0,-18-17 16,-17 18-16,265 0 16,-301-18-16,247 35 15,-263-35-15,-2 17 16,-34-17-16,0 0 0,-37 0 0</inkml:trace>
  <inkml:trace contextRef="#ctx0" brushRef="#br0" timeOffset="45302.78">7527 6142 0,'71'-17'0,"-53"17"0,0 0 0,-1 0 0,0 17 15,19 2 1,-18-2-16,-18 1 16,-18 35-1,-35-1 1,36-33-16,-37 15 0,37-16 15,0 0-15,-19 0 0,18-18 0,18 17 16,-36 0-16,19-17 16,17 19-16,-17-19 15,70 17 17,-18-17-32,1 0 15,-2 0-15,2 0 0,-18-17 16,16 17-16,73-19 15,-72 19-15,-18 0 0,19-17 16,-1 0-16</inkml:trace>
  <inkml:trace contextRef="#ctx0" brushRef="#br0" timeOffset="45511.93">8339 6125 0,'0'-17'16,"-17"51"-1,17 2 1,-19-1 0,19-16-16,-17-2 0,17 0 15,0 18-15,-18-16 0,18-2 0,0 0 16,-17 37-16,17-37 16,0 0-16,-17 2 15</inkml:trace>
  <inkml:trace contextRef="#ctx0" brushRef="#br0" timeOffset="45703.09">8144 6320 0,'19'-19'31,"33"19"-16,-33 0-15,-2 0 16,18 19-16,-18-19 0,54 0 16,-53 0-16,0 0 0</inkml:trace>
  <inkml:trace contextRef="#ctx0" brushRef="#br0" timeOffset="46210.82">8851 6232 0,'17'-19'15,"-53"38"17,-16-2-17,34-17-15,-17 17 16,18-17-16,-1 18 15,18-1-15,18 2 16,-1-2 0,0-17-1,-17 17-15,18 1 0,0-18 0,-18 18 16,18 17 0,-1-35-16,-17 17 0,0 2 0,-17-2 15,17 1 1,-18-1-16,0-17 0,18 17 0,-18-17 15,-16 36-15,16-36 16</inkml:trace>
  <inkml:trace contextRef="#ctx0" brushRef="#br0" timeOffset="46418.86">9168 6213 0,'18'0'16,"-18"19"-1,17-2-15,-17 0 0,0 37 16,0-37 0,0 0-16,0 37 15,0-37-15,-17 0 0,34 2 16,-17-2-16,-17 1 15</inkml:trace>
  <inkml:trace contextRef="#ctx0" brushRef="#br0" timeOffset="46632.74">9080 6408 0,'70'-18'16,"-52"18"-16,0 0 0,52 0 15,-52 0-15,18 0 16,-19 0-16,18 0 0,-18-18 0,54 18 16,-53 0-1,0 0-15</inkml:trace>
  <inkml:trace contextRef="#ctx0" brushRef="#br0" timeOffset="47558.44">9979 6213 0,'0'36'16,"-17"-19"-1,-1 1-15,1-18 0,17 17 0,-19 2 16,2-2-16,0-17 0,-1 17 0,0 19 15,0-36-15,1 35 16,0-35 0,17 17-16,-19 2 15,38-2-15,-2 1 16,18-1 0,-17-17-16,0 17 0,16-17 15,-15 0-15,16 0 0,35 0 16,-35 0-1,-16-17-15,-2 17 0,0 0 0,1-17 16</inkml:trace>
  <inkml:trace contextRef="#ctx0" brushRef="#br0" timeOffset="47767.29">10103 6266 0,'-17'18'15,"17"-1"-15,-19 2 0,19-2 16,0 0-16,0 1 0,-17 0 0,17 17 16,0-18-16,0 54 15,-18-35 1,18-19-16,0 1 0,0-1 0,18 2 16,-18-2-16,17 0 15,19-17-15</inkml:trace>
  <inkml:trace contextRef="#ctx0" brushRef="#br0" timeOffset="47979">10755 6284 0,'0'17'31,"0"36"-31,0-35 15,0 0-15,-17 0 0,17-1 0,0 54 16,-18-18 0,18-36-16,0 1 15,0-1-15</inkml:trace>
  <inkml:trace contextRef="#ctx0" brushRef="#br0" timeOffset="48166.49">10562 6496 0,'17'0'31,"0"-18"-15,1 18-16,0 0 0,0 0 0,-1 0 15,54 0 1,-54 0-16,2-17 0,50 17 15,-50 0-15</inkml:trace>
  <inkml:trace contextRef="#ctx0" brushRef="#br0" timeOffset="48715.05">11460 6266 0,'90'35'0,"-73"-16"16,-17-2-16,17 0 15,-17 1-15,-17-18 0,17 18 0,-17 0 0,17-1 16,-54 36 0,37-35-16,-2-1 0,2-17 15,17 17-15,-17-17 0,-1 19 16,18-2-16,-17-17 0,17 18 16,0-1-1,17-17-15,1 0 16,-1 0-16,36 0 15,-35 0-15,-1 0 16,19 0-16,-19-17 0,1 17 0,0-18 16,17 1-16,0 17 15</inkml:trace>
  <inkml:trace contextRef="#ctx0" brushRef="#br0" timeOffset="48886.2">11955 6337 0,'0'-17'16,"0"34"-16,17 0 31,-34 19-15,17-18-16,0 16 0,0-15 15,0-2-15,0 1 16,0-1-16,0 0 0,0 19 0,0-1 16,0-16-16,0-2 15,-17 0-15</inkml:trace>
  <inkml:trace contextRef="#ctx0" brushRef="#br0" timeOffset="49231.09">11867 6530 0,'17'0'31,"37"-17"-16,-37 17-15,0 0 0,19-17 16,-18-1-16,-1 18 16,19-17-16,-19 17 0,1-19 0,16 19 15,-15-17-15,-2 0 0,1 17 0,18-36 16,-19 36 0,0 0-16,1 0 15,-18 18-15,0 0 16,17-1-16,-17 19 15,0-19-15,0 35 16,0-33-16,0-2 16,0 1-16,0-1 0,19-17 15,-19 36-15</inkml:trace>
  <inkml:trace contextRef="#ctx0" brushRef="#br0" timeOffset="49891.91">631 5454 0,'35'0'15,"-18"0"-15,36-17 16,-35 17-16,35 0 16,-36 0-16,2 0 15,-2 17-15</inkml:trace>
  <inkml:trace contextRef="#ctx0" brushRef="#br0" timeOffset="50047.1">736 5596 0,'18'0'32,"0"0"-32,0 0 0,16-18 15,-15 18-15,16 0 0,-1 0 16,2-17-16,-1 17 0,72-17 15,-90 17-15</inkml:trace>
  <inkml:trace contextRef="#ctx0" brushRef="#br0" timeOffset="51009.97">595 9600 0,'159'-18'0,"-141"18"0,17 0 0,1 0 16,-19 0-16,18 0 0,1 0 16,-1 0-16,-18 0 15,2 0-15,-2 0 0</inkml:trace>
  <inkml:trace contextRef="#ctx0" brushRef="#br0" timeOffset="51190.98">666 9829 0,'36'0'31,"-19"0"-15,71 0-1,-17-17-15,-18 17 0,-18 0 16,1 0-16,16 0 0,18 0 0,-16-18 16</inkml:trace>
  <inkml:trace contextRef="#ctx0" brushRef="#br0" timeOffset="52450.32">4070 9706 0,'18'-36'0,"0"36"0,16-17 15,-15 17-15,-2 0 16,1 17-16,35 1 16,-53 0-16,17 0 0,-17 35 15,-17-36 1,17 1-16,-17 18 0,-54 69 15,35-88-15,1 19 16,17-1-16,0-18 0,-34 2 16,34-2-16,0 18 15,1-35-15,34 17 16,1-17 0,52 0-1,-34-17-15,-1 17 16,1 0-16,-1 0 0,1 0 0,-2 0 15,37-17-15,-36 17 16,1 0-16,-2 0 0,2 0 0,-18 0 16,-1-18-16,19 18 0,-19 0 0</inkml:trace>
  <inkml:trace contextRef="#ctx0" brushRef="#br0" timeOffset="53626.9">5199 9865 0,'0'17'0,"-17"-17"16</inkml:trace>
  <inkml:trace contextRef="#ctx0" brushRef="#br0" timeOffset="59131.91">5816 9741 0,'36'-17'0,"-18"17"0,-72 17 46,37-17-30,0 0-16,-19 0 16,18 17-1,1-17-15,17 19 16,0-2 0,17 1-16,-17-1 15,0 2-15,0-2 16,0 18-1,-17-18-15,0 19 16,-19-19-16,18-17 16,-35 36-1,36-36-15,-1 18 0,0-18 16,0 17-16,1-17 0,-18 17 16,17-17-1</inkml:trace>
  <inkml:trace contextRef="#ctx0" brushRef="#br0" timeOffset="59373.24">6275 9917 0,'-17'19'0,"-1"-2"0,-52 54 15,34-54-15,1 19 16,-53 16-16,-71 55 16,70-55-1,72-35-15,-18 19 32,18-36-32</inkml:trace>
  <inkml:trace contextRef="#ctx0" brushRef="#br0" timeOffset="59554.63">6399 9936 0,'-141'176'0,"105"-123"0,-123 87 16,107-87-16,-1 1 15,-53 34-15,53-35 0,0-36 16,18 18-16</inkml:trace>
  <inkml:trace contextRef="#ctx0" brushRef="#br0" timeOffset="60803.94">6046 9300 0,'0'-18'16,"-18"1"-1,1 17 1,-2 17-16,2-17 0,0 0 0,-1 18 15,1-18-15,-2 18 0,2 0 16,-18 16-16,-35 20 0,34-20 16,18 2-16,-16-1 0,-2 1 0,18-1 0,-18 1 15,19 16-15,-54 72 16,54-88-16,0-2 16,-1 20-16,0-20 0,0 20 15,18-37-15,0 19 0,-17 16 16,17-35-16,17 2 15,-17-2-15,0 1 0,18-1 16,18 2 0,16-2-1,-16-34-15,-19 17 16,71-36-16,-69 36 16,50-35-16,-50 16 15,-2 2-15,0 0 0,19-18 16,-18 16-16,-18 2 15,17 17-15,-17-17 0,0-19 16,0 18-16,0 1 16,-17-19-16,-1 19 15,0-1-15,-17 1 16,18 17-16,-2 0 16,2 0-16,-1-17 0,1 17 0,-36 0 15,35 0-15,1 0 16,-19 0-1,19 0-15,-1 0 16</inkml:trace>
  <inkml:trace contextRef="#ctx0" brushRef="#br0" timeOffset="74095.16">22362 15509 0,'-476'-17'0,"370"17"0,0 0 15,-265-18-15,248 18 16,-1 0-16,-17 0 0,18 0 0,-1 0 16,-228 0-1,246 0-15,0 0 0,18 0 0,18 0 16,-89 0-16,88 0 15,35 0-15,-16 0 0,16 0 16,19 0-16,-19 0 0,19 0 0,-1 18 0,1-18 16</inkml:trace>
  <inkml:trace contextRef="#ctx0" brushRef="#br0" timeOffset="74445.48">20739 15157 0,'-71'17'16,"18"1"-16,1-1 0,-36 19 0,-1-1 0,1-18 16,-18 19-16,1 16 0,-19-16 0,0 17 15,36-1-15,-176 72 16,193-89-16,18 18 0,18-17 16,17-1-16,0 0 0,18 1 15,18-2-15,35 20 0,230 70 16,-125-72-16,18-16 15,36 16-15,18-16 0,87 17 0,0-18 16,18 18-16,-16-1 0,15-16 0,1 17 16</inkml:trace>
</inkml:ink>
</file>

<file path=ppt/ink/ink128.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52:35.248"/>
    </inkml:context>
    <inkml:brush xml:id="br0">
      <inkml:brushProperty name="width" value="0.05292" units="cm"/>
      <inkml:brushProperty name="height" value="0.05292" units="cm"/>
      <inkml:brushProperty name="color" value="#0070C0"/>
    </inkml:brush>
  </inkml:definitions>
  <inkml:trace contextRef="#ctx0" brushRef="#br0">14164 1667 0,'53'17'16,"-1"1"-1,126 0 1,15-18-16,19 0 16,17 0-16,54 0 15,17 0-15,176 0 16,53 0-16,89 0 16,51 0-1,107 0-15,-17 0 16,-1 0-16,-87 0 15,140 0-15,18 0 16,-124 0-16,-122 0 0,-107 0 16,-141 0-16,-35 0 15,-142 0 1,-51 0-16,-55 0 16</inkml:trace>
  <inkml:trace contextRef="#ctx0" brushRef="#br0" timeOffset="4899.16">476 3290 0,'36'0'78,"35"0"-78,17 0 16,17 0-16,36 0 16,-53 0-16,54 0 15,-18 0-15,-19 0 16,-34 0-1,17 0-15,-35 0 0,-18 0 16,-18 0 0</inkml:trace>
  <inkml:trace contextRef="#ctx0" brushRef="#br0" timeOffset="8216.92">15523 3307 0,'-18'0'31,"36"0"79,87 0-79,36 0-31,35 0 15,230 0-15,-141 0 16,-18 0 0,211 0-16,-52 0 15,0-52-15,88 16 0,-124-35 16,-70 54 0,-53-36-16,-18 35 15,-53 18-15,2-34 16,-38 34-16,-51 0 15,-37 0-15,-16 0 16,-19 0 0,1 0 265,-1 0-250,19 0-31,-1 17 16,53 18-16,1-18 15,-1 36 1,35-17-16,1-1 0,-36-18 16,53 2-16,0-2 15,18 18 1,-18-35-16,-1 0 0,-33 0 16,16 0-1,1 0-15,-36 0 0,36 0 16,17 0-1,-89 0 1,19 0-16,-35-17 16,-19 17 31,0 0-32,1 0-15,35 0 16,18 0-16,34-18 15,-34 18-15,35-36 16,17 19 0,-52 17-16,35-17 0,-36-1 15,-34 18-15,-2-18 16,2 18 265</inkml:trace>
  <inkml:trace contextRef="#ctx0" brushRef="#br0" timeOffset="12111.71">25100 3324 0,'53'0'156,"123"0"-140,212 0-1,-158 0 1,299 0-1,-300 0-15,54 0 16,-72-52-16,37 35 16,33-36-1,-174 35-15,-90 18 32</inkml:trace>
  <inkml:trace contextRef="#ctx0" brushRef="#br0" timeOffset="13184.97">564 4242 0,'19'0'31,"15"0"-16,-16 0 1,88 0-16,53 18 0,34-18 16,37 0-16,264 0 15,-264 0 1,-37 0 0,-105 0-16,-35 0 0,-35 0 15</inkml:trace>
  <inkml:trace contextRef="#ctx0" brushRef="#br0" timeOffset="13960.52">3828 4278 0,'0'0'0,"17"0"16,18 0-16,18 0 0,71 17 16,-1 18-1,72 1-15,17-36 0,34 0 16,37 0-1,105 0-15,88 0 16,105 0-16,954 0 16,-723 0-1,1111 53 1,-918 18-16,54-2 16,-2-69-16,-157 0 15,159 0 1,-54 0-16,-194 0 0,35 0 15,-34 0-15,-89 0 16,-106 0-16,-34 0 16,-54 36-16,-141-36 15,18 53-15,87-35 16,-86 16-16,-73-34 16,549 19-1,-495-19-15,-19 0 16,-15 0-16,-108 0 15,-34 0 1,0 52-16,-18-52 0,35 17 16,-17-17-1,0 36-15,-19-36 0,-69 0 16,-36 0 0,-70 0-16</inkml:trace>
  <inkml:trace contextRef="#ctx0" brushRef="#br0" timeOffset="15895.44">27464 4595 0,'17'0'46,"1"17"-30,18 1-16,-19-18 0,36 18 16,-35-18-16,16 18 15,-15-18-15,16 0 16,-18 0 0,19 34-16,-1-15 15,-18-19 1,2 0-1,-2 0-15,0 17 0,19 1 16,-18-18 93,-18 17-62,0 19-31,-18-19 0,-18 18-1,36-16-15,-17-2 16,-19-17-16,19 35 15,-18-17-15,-1-18 16,19 0-16,-1 18 16,1-18 15</inkml:trace>
  <inkml:trace contextRef="#ctx0" brushRef="#br0" timeOffset="22026.66">30956 6447 0,'17'17'47,"-17"1"-31,19 0-16,-2 0 16,1-1-16,-1 0 0,19-17 15,-19 19-15,1-2 0,18 1 16,-2-18-16,-16 17 0,18 2 0,-2-19 15,-15 17-15,16-17 0,1 17 0,-2-17 16,1 0-16,-16 0 0,15 0 16,2 0-16,-1 0 0,-18-17 0,19 17 15,-1 0-15,1-17 0,-19-2 0,18 19 16,1-17-16,16-18 16,-33 35-16,-2-19 0,18 2 0,-17 0 15,17-19-15,-18 18 0,2 1 16,-2 0-16,1-19 0,-1 18 15,-17-16-15,17 15 0,2-16 0,-19-1 16,17 19-16,-17 0 0,18-18 0,-18 16 16,0-15-16,0 16 15,-18-52-15,18 51 0,-17-16 16,17 18-16,-19 0 0,2-19 16,0 18-16,-1 1 0,1-2 0,-72-51 15,71 52-15,-16 1 16,15 0-16,-16-1 15,18 0-15,-19 18 0,19-18 0,-18 1 16,16 17-16,-15-17 0,16 17 0,-18-19 16,19 19-16,-18 0 0,17 0 15,0 0-15,-16 0 0,15-17 0,-16 34 16,18-17-16,-19 0 0,1 0 0,18 19 16,-19-19-16,1 17 0,17-17 15,-17 17-15,0 1 0,17 0 0,-17 0 16,-1 16-16,19-16 0,-18 0 0,16 17 15,2-18-15,0 19 16,-18 18-16,16-20 0,2-16 0,17 18 16,-17-19-16,17 18 15,-18 1-15,18-19 0,0 19 0,0-19 16,-18 1-16,18-1 0,0 0 0,0 19 16,0-18-16,0-1 15,0 2-15,18-2 0,-18 0 0,0 1 16,18 0-16,-1-18 0,-17 18 15,17-18-15,2 0 0,-2 17 16,1-17-16,-1 0 0,0 0 0,2 0 16</inkml:trace>
  <inkml:trace contextRef="#ctx0" brushRef="#br0" timeOffset="23382.42">30921 6394 0,'-36'-18'16,"2"18"-1,16 0-15,0 0 16,0 0-16,-16 0 0,16 0 16,-18 0-16,19 0 0,-36 0 0,18 18 15,-18-18-15,-1 0 0,-156 0 16,139 18-16,0-18 16,-17 0-16,18 0 0,-1 0 15,0 18-15,18-18 0,-18 0 16,-17 17-16,54-17 0,-56 0 15,56 0-15,-1 17 0,-1-17 0,19 0 16,-19 0-16,1 0 16,18 0-16,-2 0 0,-16 18 15,18-18-15,0 0 0,-2 0 16,2 0-16,-1 0 16,1 0-16,-2 0 15,2 0 1</inkml:trace>
  <inkml:trace contextRef="#ctx0" brushRef="#br0" timeOffset="23936.46">29369 6271 0,'-36'0'47,"2"17"-32,15-17-15,-50 18 16,50-1-16,-33 2 15,33-2-15,2-17 0,0 17 16,-18-17-16,16 18 0,2-18 16,0 18-16,-1-18 0,0 18 0,0-1 15,1 0 1,0-17-16,17 18 16,-19-18-16,19 18 15,0 0-15,19-18 16,-2 17-16,0-17 15,-17 17-15,18-17 16,0 0-16,0 19 16,-1-19-16,-17 17 0,17-17 15,2 0-15,-2 18 0</inkml:trace>
  <inkml:trace contextRef="#ctx0" brushRef="#br0" timeOffset="25486.75">30904 7347 0,'-19'0'32,"2"0"-17,0-19 1,-19 19-16,18 19 15,1-19-15,0 0 0,-1 0 0,0 0 16,0 0-16,-16 0 0,15 0 0,-16 0 16,-1 0-16,2 0 0,-1 0 15,-18 0-15,17 0 0,1 0 0,-18 0 16,18 0-16,-18 0 0,18 17 16,-36-17-16,18 0 0,18 0 0,-18 0 15,0 0-15,18 0 0,-53 0 16,35 0-16,17 0 15,1 18-15,-36-18 0,37 0 16,-2 0-16,1 0 0,-1 0 0,19 0 16,-18 0-16,-1 17 0,-17-17 15,18 0-15,18 0 0,-19 0 16,18 0-16,1 0 0,0 0 0,-2 0 16,2 0-16,-1 0 0,1 0 15,-2 0-15,2 0 0,0 0 16,-1 0-16,1 0 15,-2 0-15,2 0 16,0 0 15,-1 0 16</inkml:trace>
  <inkml:trace contextRef="#ctx0" brushRef="#br0" timeOffset="26227.89">29033 7223 0,'0'0'0,"-17"17"32,0-17-17,17 19-15,-18-19 0,0 17 0,-17 18 16,18-35 0,-2 17-16,2 2 15,-1-2-15,1 1 0,0-18 16,17 17-16,-19-17 0,19 19 0,-17-19 15,17 17 1,0 0-16,-18-17 16,18 18-1,18-1 1,-1 2 0,2-19-1,-19 17-15,17-17 0,0 0 0,1 17 16,-1-17-16,19 0 0,-19 18 15,1-18-15,0 18 16,0-18-16,-1 0 0,0 0 16,-17 18-16,19-18 0,-2 0 31,1 17-31,-18 0 31,17-17-31</inkml:trace>
  <inkml:trace contextRef="#ctx0" brushRef="#br0" timeOffset="29376.81">30709 8440 0,'-34'-17'16,"15"17"0,2-19-1,-1 19-15,-18 0 0,19 0 0,-18 0 16,-1 0-16,2 0 0,-54 0 0,17 19 16,0-19-16,-17 0 15,18 0-15,-1 0 0,-70 0 16,-1 0-16,90 0 0,16 0 15,2 0-15,-2 0 0,-35 0 16,54 0-16,-18 0 16,-1 0-16,19 0 0,-1 0 15,0 0-15,0 0 16,1 0-16,0 0 16,-2 0-1,19-19 1</inkml:trace>
  <inkml:trace contextRef="#ctx0" brushRef="#br0" timeOffset="29977.71">29440 8228 0,'-19'0'0,"-15"0"15,-2 18 1,18-18-16,-16 18 15,15-18 1,19 18-16,-17-18 0,-1 17 16,1-17-16,0 17 15,-2-17-15,2 19 16,17-2 0,0 1-1,0-1 1,17 0-16,19 19 15,-36-18 1,17-1-16,1 2 0,-1-2 16,2 0-16,-2-17 0,-17 18 15,17-18-15,-17 17 0,18-17 16,-18 19-16,18-19 0,-18 17 16,18-17-1,-18 17 1</inkml:trace>
  <inkml:trace contextRef="#ctx0" brushRef="#br0" timeOffset="31120.74">30356 9446 0,'-17'-18'0,"-1"18"0,18-18 16,-34 18-16,15 0 16,-16 0-16,18 0 0,-2 0 15,-51-18-15,-36 18 16,-18 0-16,55 0 16,-2 0-16,1 0 0,-1 0 15,0 0-15,1 0 0,-1 18 0,0-18 16,1 0-16,-1 0 0,0 0 0,37 0 15,-1 18-15,-18-18 16,-1 0-16,20 0 0,15 0 0,-16 0 16,18 0-16,-19 0 0,19 0 0,-1 18 15,1-18-15,-2 0 16,2 0-16,0 0 16,-1 0-16,0 0 15,0 0 1</inkml:trace>
  <inkml:trace contextRef="#ctx0" brushRef="#br0" timeOffset="31622.91">28857 9234 0,'-34'17'0,"15"-17"0,-16 36 31,-1-19-31,19-17 0,0 18 16,-1 0-16,-18 0 0,2 16 15,16-16 1,0 0-16,0 0 0,18-1 16,-17 0-16,17 2 15,0-2-15,0 1 0,17-1 16,-17 2-16,18-2 0,0 0 0,-18 1 15,18-1-15,-1 2 16,18 15-16,-17-34 0,0 18 16,-1 0-16,0-18 0,-17 18 0,19-1 15,-2-17-15,1 17 0,-1-17 16,2 19-16,-2-19 0,0 17 16,1-17-16,-18 18 15,-18-18 16</inkml:trace>
  <inkml:trace contextRef="#ctx0" brushRef="#br0" timeOffset="38442.65">10355 7682 0,'-124'70'16,"124"-52"-16,-18-1 15,18 2 1,18-2 0,-1 0-16,0 1 15,2 0-15,16 0 16,-35-1-1,17 0 1,-17 1-16,-17-18 0,17 18 16,-18-18-16,18 18 0,-17-18 15,-2 17-15,-50 36 16,50-35 0,-15-1-16,16 2 15,18-2-15,-18-17 0,18 17 16,0 1-1,18-1 1,17-17 0,-18 0-16,2 0 0,16 0 15,18 0 1,-36 0-16</inkml:trace>
  <inkml:trace contextRef="#ctx0" brushRef="#br0" timeOffset="38997.81">10919 7647 0,'0'-53'0,"0"35"15,-18 18 1,0 18-1,-17 35 1,18-1-16,17-16 0,-36 52 16,36-53-16,0 1 15,-18-2-15,18 37 16,0-35-16,0-19 0,0 1 16,0-1-16,0 2 0,0-2 0,0 0 15,0 1 1,18-18-16,-18 17 15</inkml:trace>
  <inkml:trace contextRef="#ctx0" brushRef="#br0" timeOffset="39215.29">10584 8016 0,'0'-17'0,"0"34"0,17-34 31,18 17-15,-18 0-16,2 0 0,-2 0 15,1 0-15,18 0 0,-19 0 0,36 0 16,-18-17-16,0 17 16,-17 0-16,17 0 0,1 0 0,-19 0 15</inkml:trace>
  <inkml:trace contextRef="#ctx0" brushRef="#br0" timeOffset="39563.01">11271 7787 0,'89'53'0,"-72"-53"0,-17 18 16,0 0-16,0 0 0,0-1 0,-17 0 15,17 1-15,-19 0 16,2 0-16,0-1 0,17 0 16,-18 2-16,0-2 0,0 1 0,1-18 15,17 17-15,-17-17 0,17 19 16</inkml:trace>
  <inkml:trace contextRef="#ctx0" brushRef="#br0" timeOffset="39818.08">11465 7858 0,'0'-18'0,"-34"36"15,-20 18 1,54-19 0,-17 0-16,-2 1 0,19 0 0,-17 0 0,17-1 15,0 0-15,0 2 16,0-2-16,0 1 0,17-1 0,2 2 15,-2-19-15,1 17 0,-1 0 16,19 1-16,-19-18 0,1 0 16,-1 0-16,36 17 15,-35-17-15,0 0 0,0 0 16</inkml:trace>
  <inkml:trace contextRef="#ctx0" brushRef="#br0" timeOffset="40162.64">10036 8440 0,'71'0'31,"158"-17"-15,-122 17-16,-2 17 0,19-17 0,-1 0 16,18 0-16,-17 0 0,-1 0 15,18 0-15,-17 0 0,-1 0 0,1 18 0,-19-18 16,2 0-16,-19 0 0,-18 0 15,1 17-15,-19-17 0,-16 0 16,-19 0-16,1 0 0,0 0 16,0 0-16</inkml:trace>
  <inkml:trace contextRef="#ctx0" brushRef="#br0" timeOffset="40899.47">11043 8970 0,'-54'34'31,"1"-16"-31,36-18 0,-19 18 15,-16 0-15,16 16 16,18-34 0,18 36-1,0-18-15,0-1 0,18-17 16,-18 17-16,18 2 0,0-2 16,-1-17-16,-17 18 15,0-1-15,0 2 16,0-2-16,-17-17 0,17 17 15,-18 1-15,0-18 0,0 18 16,1 0-16,0-18 0,17 17 0,-19 0 16,2-17-16,-1 18 15,1 0-15,17 0 16,17-1 0,18-17-1,-16 0 1,-2 0-16,0 0 0,1 0 15,0 0-15,0-17 0,16 17 0,-16 0 16,18-18-16,-19 18 0</inkml:trace>
  <inkml:trace contextRef="#ctx0" brushRef="#br0" timeOffset="41326.66">11641 9058 0,'0'-36'0,"0"1"0,0 106 16,0-159-16,-17 70 15,17 0-15,-17 36 32,17 0-32,0-1 15,-18 18-15,0 35 16,0-34-16,18-18 0,0 16 15,-17 2-15,17-1 0,0-16 16,0 15-16,-17-16 0,17 0 0,0 17 16,0-18-16,0 1 0,0 0 15,0 0-15,0-1 16</inkml:trace>
  <inkml:trace contextRef="#ctx0" brushRef="#br0" timeOffset="41522.1">11236 9304 0,'35'0'16,"18"-17"-16,-36 17 15,19 0-15,18 0 16,-20-17-16,20 17 0,-20 0 15,2-19-15,-18 19 0,16 0 0,2 0 16,16-17-16</inkml:trace>
  <inkml:trace contextRef="#ctx0" brushRef="#br0" timeOffset="42331.45">8891 8582 0,'122'-19'0</inkml:trace>
  <inkml:trace contextRef="#ctx0" brushRef="#br0" timeOffset="42506.69">8801 8775 0,'71'0'16,"-35"0"-16,-19 0 0,1-17 15,-1 17-15,2 0 0,-2 0 0</inkml:trace>
  <inkml:trace contextRef="#ctx0" brushRef="#br0" timeOffset="55036.72">2064 12003 0,'-36'88'0</inkml:trace>
  <inkml:trace contextRef="#ctx0" brushRef="#br0" timeOffset="55750.53">2505 11791 0,'18'0'0,"-54"19"47,18-19-31,1 17-16,0 0 15,-2-17 1,2 18-1,17 0-15,0 0 16,17 16 0,-17 2-1,0-18 1,0-1 0,-35 0-1,35 2-15,-17-19 0,-19 17 16,1 1-1,18-18-15</inkml:trace>
  <inkml:trace contextRef="#ctx0" brushRef="#br0" timeOffset="56147.52">2028 12003 0,'0'-17'0,"0"-1"16,0-18-1,19 19 1,-19 0-16,0-1 15,17 18-15,-17-18 16,17 18-16,1 0 0</inkml:trace>
  <inkml:trace contextRef="#ctx0" brushRef="#br0" timeOffset="56515.45">3069 11844 0,'-36'54'0,"19"-2"16,0-34-16,17 17 15,-18-35-15,1 36 0,17-19 0,-19 1 16,2-1-16</inkml:trace>
  <inkml:trace contextRef="#ctx0" brushRef="#br0" timeOffset="56736.9">2769 12039 0,'35'17'31,"-16"-17"-31,-19 18 16,17-1-16,0-17 0,-17 19 0,18-19 16,0 17-16,0-17 15,16 17 1,-15-17-16</inkml:trace>
  <inkml:trace contextRef="#ctx0" brushRef="#br0" timeOffset="56953.48">3299 11898 0,'0'17'16,"0"0"-1,0 1-15,0 18 16,-18-19-16,18 0 0,0 19 16,0-18-16,0-1 0,0 2 0,0-2 15,0 0 1,0 1-16,0 18 16</inkml:trace>
  <inkml:trace contextRef="#ctx0" brushRef="#br0" timeOffset="57680.2">4357 11791 0,'0'53'31,"0"-35"-31,0 0 0,18 88 16,-18-89 0,0 19-16,0-19 0,0 54 15,0-54-15,0 1 16</inkml:trace>
  <inkml:trace contextRef="#ctx0" brushRef="#br0" timeOffset="57927.11">4216 12003 0,'17'-17'15,"1"17"1,0 0-16,0 17 0,-1-17 0,0 0 15,19 0-15,35 0 16,-36 0-16,-1 0 0,-15 0 16,16 0-16,-18 0 0,19 0 15,-1 0-15,-17 0 0</inkml:trace>
  <inkml:trace contextRef="#ctx0" brushRef="#br0" timeOffset="58478.43">5256 11827 0,'89'0'0,"-89"17"16,18-17-16,-18 18 0,-18 18 15,18-19-15,-18 0 16,0-17-16,1 36 16,-19-1-16,19-18 0,-1 2 0,-18-19 15,19 17-15,17 1 0,-17-18 16,-1 17-16,1 2 0,-2-2 15,38 0 1,-2-17 0,1 0-16,16 0 15,-15 0-15,-2 0 0,18 0 0,-16 0 16,-2 0-16,18 0 0,-17 0 0,17 0 16,-18 0-16,1 0 0,18-17 15,-19 17-15,19-17 0,-19 17 16</inkml:trace>
  <inkml:trace contextRef="#ctx0" brushRef="#br0" timeOffset="58749.32">5663 11791 0,'17'0'0,"18"-17"31,-17 34-15,0-17-16,-1 19 0,0-2 15,-17 18-15,0-17 16,0 0-16,0-1 0,0 0 16,18 1-16,-36 18 0,18-19 15,0 19-15,0-19 0,-17 1 16,17-1-1</inkml:trace>
  <inkml:trace contextRef="#ctx0" brushRef="#br0" timeOffset="58949.65">5609 12020 0,'0'-17'31,"18"0"-16,18 34 1,-2-17 0,37 0-1,-54 0-15,1 0 0,0 0 16,0 0-16,-1 0 0,19 0 16</inkml:trace>
  <inkml:trace contextRef="#ctx0" brushRef="#br0" timeOffset="59144.4">6403 11827 0,'17'0'0,"-34"17"32,-1 37-17,18-37-15,-17 0 0,17 1 16,-17 18-16,-2-19 15,19 19-15,-17-1 0,-1-18 0,18 2 16,-17-2-16,17 0 0</inkml:trace>
  <inkml:trace contextRef="#ctx0" brushRef="#br0" timeOffset="59382.67">6085 11986 0,'0'-18'15,"71"70"1,-54-33-16,1-2 16,0-17-16,17 18 0,-35-1 15,17-17-15,2 0 16,33 19-1,-33-19-15</inkml:trace>
  <inkml:trace contextRef="#ctx0" brushRef="#br0" timeOffset="59717.78">6561 11862 0,'19'0'0,"-2"0"0,-53 0 0,90-18 16,-37 36 0,0-18-1,-17 18-15,0 0 0,-17-1 16,0 0-16,-1 1 16,18 0-16,-17 0 0,-2-1 15,19 0-15,-17-17 0,17 19 16,-17-2-16,17 1 15,-18-1-15,36 2 16,-1-19 0,0 17-16,2-17 0,-2 0 15,18-17-15,-18 17 0,54 0 16,-35 0-16,35-19 16,-37 19-16,20 0 0,-20 0 0,20 0 15</inkml:trace>
  <inkml:trace contextRef="#ctx0" brushRef="#br0" timeOffset="60153.93">7549 11880 0,'0'0'16,"0"35"0,0-18-1,18 1-15,-36 18 0,18-19 0,0 0 16,0 2-16,0-2 0,0 37 15,0-37-15,0 18 16,0-18-16,0 2 0</inkml:trace>
  <inkml:trace contextRef="#ctx0" brushRef="#br0" timeOffset="60355.59">7391 12003 0,'141'0'16,"-70"0"0,70 17-16,-106 2 0,1-19 15,16 0-15,-16 0 16,-2 0-16</inkml:trace>
  <inkml:trace contextRef="#ctx0" brushRef="#br0" timeOffset="60934.57">8643 11827 0,'18'35'15,"0"-17"1,-1 0-16,0 34 16,2-34-16,-19 17 15,0-18-15,0 2 0,0-2 0,0 1 0,0-1 16,-19 19-16,19-19 0,-17-17 16,0 18-16,17-1 0,-18-17 15,0 19-15,0-19 0,1 17 16,0-34-1,51-19 17,-16 18-32,0 18 0,-18-17 15,18 0-15,-1-2 0,19-16 16,-19 18-16,1-2 0,-1-15 0,-17 16 16,17 0-16,-17 0 0,0 1 15,0 0-15,19-1 0,-38 0 16,19 0-16,0 1 0,-17 0 0,0-2 15,-1 19-15,1 0 16,-2 0-16,2 0 16,0 0-16,-1 19 15,0-2 1</inkml:trace>
  <inkml:trace contextRef="#ctx0" brushRef="#br0" timeOffset="61133.18">9101 11810 0,'0'0'15,"19"17"-15,-19 0 16,-19 19 0,19-18-16,0-1 0,-17 18 15,17-17-15,-35 34 0,17 2 16,0-37-16,1 19 0,17-19 15,-17 1-15,-2-1 0</inkml:trace>
  <inkml:trace contextRef="#ctx0" brushRef="#br0" timeOffset="61322.68">8801 12127 0,'0'-17'15,"36"34"16,18 18-15,-37-35 0,0 17-16,18-17 0,18 19 15,35-2 1,-52-17-16,35 0 0</inkml:trace>
  <inkml:trace contextRef="#ctx0" brushRef="#br0" timeOffset="61993.89">9525 11862 0,'71'18'16,"-54"0"-16,-17-1 0,-17 0 16,17 1-1,-19-18 1,19 18-16,19 0 15,-19-1-15,0 0 16,17-17-16,-17 19 0,0-2 16,0 1-16,0-1 0,-17 2 15,-2-2-15,19 0 16,-17 1-16,0-1 0,-1 2 16,1-2-16,-2 0 15,2-17-15,17 18 0,-17-18 0</inkml:trace>
  <inkml:trace contextRef="#ctx0" brushRef="#br0" timeOffset="63058.07">10619 11756 0,'-18'35'31,"18"-16"-31,-17-2 15,-2 88 1,19-87-16,-17 18 0,17-2 16,-17 2-16,17-18 0,-18 35 0,18-36 15,0 1-15,0-1 16,0 2-16</inkml:trace>
  <inkml:trace contextRef="#ctx0" brushRef="#br0" timeOffset="63260.54">10336 12020 0,'36'0'16,"-19"0"-16,1 0 0,0 0 15,17 0-15,-18 0 16,19 0-16,-18 19 0,16-19 0,-15 0 15,16 0-15,-1 0 0,2 0 0,-1 0 16</inkml:trace>
  <inkml:trace contextRef="#ctx0" brushRef="#br0" timeOffset="67397.53">11695 11756 0,'34'18'31,"-15"-18"-15,-2 0-1,1 0 17,-1 0-32,-52 0 78,18 0-78,-2 17 15,2-17-15,-18 0 16,18 0-16,-19 19 16,19-19-1,17 17 1,0 0 0,17 1-1,-17 0-15,17-18 0,-17 18 0,19-18 16,-2 17-1,-17 0-15,18-17 0,-1 18 0,-17 0 16,17-18-16,-17 18 16,19-18-16,-19 17 0,0 19 15,-19-36 1,19 17-16,-17-17 0,0 18 16,-1-18-1,-18 17-15,19-17 16,-18 0-1,17 0 1</inkml:trace>
  <inkml:trace contextRef="#ctx0" brushRef="#br0" timeOffset="67722.39">12595 11880 0,'-36'52'0,"-16"19"16,33-54-1,2 2-15,-1-2 0,1 18 16,-19-16-16,19-2 0,-1 0 0,0 1 0,-17-1 16,18 2-16,-1-19 15,0 17-15,0 0 0</inkml:trace>
  <inkml:trace contextRef="#ctx0" brushRef="#br0" timeOffset="67974.42">12083 12020 0,'17'0'16,"19"0"-1,-36 19-15,17-19 0,1 17 0,-1-17 16,2 18-16,-19-1 0,17 2 0,0-19 16,1 17-16,0 0 0,0 1 15,-1-18-15,-17 17 0,17 2 16,1-19-16,-18 17 16,18-17-16,-18 17 0,18-17 0,-1 0 15,0 18-15</inkml:trace>
  <inkml:trace contextRef="#ctx0" brushRef="#br0" timeOffset="69488">13088 11950 0,'17'-18'16,"2"18"-16,-38 18 47,2 0-47,0 0 15,-1-18-15,18 17 0,-18 0 0,0-17 16,18 19-16,-17-2 15,0 1-15,17-1 0,-19 2 16,19-2-16,19 18 16,-2-35-1,0 17-15,1-17 0,0 0 16,0 19-16,-1-19 0,0 0 0,2 17 16,-2-17-16,1 0 0,-1 0 0,0 0 15,2 0-15,-2 0 0,1 0 16,-1 0-16</inkml:trace>
  <inkml:trace contextRef="#ctx0" brushRef="#br0" timeOffset="69657.57">13300 12039 0,'0'0'0,"-17"35"16,-2-18-16,19 2 0,0-2 0,-17 0 15,17 18-15,-18-16 0,18-2 0,-17 0 16,17 19-16,-19-18 0,2-1 16,17 19-16</inkml:trace>
  <inkml:trace contextRef="#ctx0" brushRef="#br0" timeOffset="70381.92">11483 11668 0,'-142'282'15,"142"-246"-15,0-2 0,0 20 16,19-1-16,-2-1 0,37 37 16,-20-54-16,20 18 0,-20-18 15,20-18-15,68 54 0,-32-52 16,-38-2-16,36-17 15,-18 17-15,20-17 0,-2 0 0,0-17 0</inkml:trace>
  <inkml:trace contextRef="#ctx0" brushRef="#br0" timeOffset="70781.67">13881 11686 0,'36'53'16,"-18"-36"-16,-1 18 0,2 18 16,-2-17-16,-17-1 0,0 0 15,0 1-15,0-2 0,-17 2 16,-2 18-16,2-20 0,-1 1 0,-18 1 15,-33 17-15,33-18 0,-17-18 16,18 2-16,-18-2 0,1 1 16,-19-1-16,18-17 0</inkml:trace>
  <inkml:trace contextRef="#ctx0" brushRef="#br0" timeOffset="71429.12">8484 11686 0,'-71'36'16,"37"-2"-16,-2 1 0,-16 54 16,-19 70-1,54-107-15,17 1 16,0 35-16,0-52 0,17 16 15,0 2-15,1-20 0,18 2 0,-19-1 16,18 1-16,54 16 0,-54-33 16,35-2-16,-16-17 15,-20 0-15,2 0 0</inkml:trace>
  <inkml:trace contextRef="#ctx0" brushRef="#br0" timeOffset="71887.95">9825 11580 0,'35'35'0,"-18"-18"0,2 37 16,-19-37-16,0 19 16,0-1-16,0 18 0,0 52 15,0-51-15,-36 34 0,19-35 16,-1-1-16,-18-16 0,2 17 15,-2-18-15,-16 18 0,-2-18 16,18 1-16</inkml:trace>
  <inkml:trace contextRef="#ctx0" brushRef="#br0" timeOffset="72628.03">5185 11598 0,'-140'229'16,"104"-124"-16,19-51 0,-19 51 15,36-52-15,0 1 0,0-20 16,0 37-16,36 17 16,-19-52-16,19-1 0,35 18 15,-36-36-15,18 1 16,-18-18-16,1 0 0,86 0 15,2-35-15</inkml:trace>
  <inkml:trace contextRef="#ctx0" brushRef="#br0" timeOffset="73079.97">6949 11580 0,'36'52'0,"-36"-16"0,-36-124 15,90 194-15,-54-70 0,0 33 16,0 20-16,-18-37 0,18 2 0,-17-1 16,-19-1-16,-17 36 15,18-52-15,0 17 0,-1-18 16,-69 36-16,52-37 0,18-15 16</inkml:trace>
  <inkml:trace contextRef="#ctx0" brushRef="#br0" timeOffset="73749.74">1781 11686 0,'-70'124'0,"52"-90"0,1 2 0,0 16 16,17 2-16,-19-20 0,19 2 15,0-1-15,19 53 16,15-35-16,37 18 0,-18-35 16,89 33-16,-73-50 15,126 16-15,-2-35 0,-86 0 16,15 0-16,-15-18 0,-2 1 15</inkml:trace>
  <inkml:trace contextRef="#ctx0" brushRef="#br0" timeOffset="74150.44">3633 11456 0,'159'176'31,"-123"-105"-31,-1-18 0,-18 18 0,2-18 16,-2 70-16,-17-70 15,-17 70-15,-2-52 0,-16-1 16,-18 54-16,-35-18 16</inkml:trace>
  <inkml:trace contextRef="#ctx0" brushRef="#br0" timeOffset="77022.99">2557 12974 0,'36'0'16,"-18"0"-16,-1 0 0,0 0 16,2 0-16,-2 0 0,18 17 15,-16-17-15,15 0 0,1 0 0,1 0 16,17 0-16,-18 0 0,18 0 0,35 0 16,-17 0-16,0 0 15,51 0-15,-51-17 16,70 17-16,-87 0 0,16 0 0,1 0 15,0 0-15,-19 0 16,72 0-16,-54 0 0,1-18 16,-19 18-16,1 0 0,18 0 0,0 0 15,-18 0-15,16 0 0,2 0 16,-18 0-16,18 0 0,-18-18 0,18 18 16,0 0-16,69 0 0,-70 0 15,54 0-15,-53 0 16,-18 0-16,-1 0 0,55 0 15,-38 0-15,2 0 0,-18 0 16,1 0-16,16 0 0,36 18 16,-53-18-16,18 0 0,-19 0 15,36 0-15,-35 0 16,-17 0-16,69 0 0,-70 0 16,18 0-16,1 0 0,-20 0 0,20 0 15,-1 0-15,-18 0 0,53 0 16,-35 0-16,18 0 15,-1 0-15,-35 0 16,1 0-16,-1 0 0,1 0 0,-2 0 16,37 0-16,0 0 15,17 0-15,-52 0 16,52 0-16,0 0 16,0 0-16,-54 0 15,20 0-15,34 0 0,0 0 16,1 0-1,-37 0-15,36 0 0,-35 0 16,-17 0-16,16 0 0,-16 18 16,52-18-16,-53 0 15,72 0-15,-37 0 16,-52 0-16,16 0 16,37 0-16,-18 0 0,18 0 15,-36 0-15,18 0 16,18-18-16,-18 18 15,-18 0-15,18 0 0,70 0 0,-53 0 16,-16 0-16,-1 0 16,-1 0-16,1 0 0,-18 0 0,18 0 15,18 0-15,53 0 0,16 0 16,-87 0-16,18 18 16,70-18-16,1 0 15,-90 0-15,18 0 0,-16 17 16,16-17-16,-16 0 0,34 0 15,34 0-15,-51 0 0,36 17 16,-55-17-16,-16 0 0,16 0 16,-16 0-16,17 0 0,-18 0 15,1 0-15,33 0 16,-33 0-16,-19 0 0,37 0 16,-37 0-16,36 0 15,-35 0-15,-1 0 0,19-17 16,-19 17-16,1 0 15,35-17 1,-18 17-16,-17 0 16,0 0-16,16-18 15,-16 18 1,18 0-16,-2-18 16,-15 18-16,-2 0 15,37 0-15,-20 0 16,-16-18-16,18 18 15,-19 0-15,0 0 0,19 0 16,-1 0-16,-18 0 16,1 0-16,0 0 0,17 0 15,-18-17-15,2 17 16,-2 0-16,1 0 0,-1 0 0,19 0 16,-19 0-1,1 0-15,-1 0 0,2 0 16,15 0-16,-16 0 15,18 0-15,-2 0 16,-15 0 0,-2 0-16,1 0 0,-1 0 15,0 0 1,2 0-16,-2 0 16,1 0-1,-1 0 1,2 0-1</inkml:trace>
  <inkml:trace contextRef="#ctx0" brushRef="#br0" timeOffset="87581.65">6615 13415 0,'0'-19'15,"-18"55"-15,18-18 0,-17 16 16,-2 2 0,19-18-16,-17 18 0,0-19 0,17 0 15,-18 18-15,18-16 0,-18-2 0,18 18 16,-18-17-16,18 0 0,-17-1 16,17 0-16</inkml:trace>
  <inkml:trace contextRef="#ctx0" brushRef="#br0" timeOffset="87795.91">6968 13503 0,'17'0'16,"-17"17"-16,0 1 0,0 35 15,0-36 1,0 18-16,-17 1 0,17-1 16,-19 1-16,2-2 0,17 2 0,-17-18 15</inkml:trace>
  <inkml:trace contextRef="#ctx0" brushRef="#br0" timeOffset="87998.12">6791 13803 0,'0'-19'16,"18"2"-16,34 34 16,-34-17-1,0 0-15,0 0 0,-1 19 16,0-19-16,19 0 0,-18 0 15,-1 17-15,2-17 0</inkml:trace>
  <inkml:trace contextRef="#ctx0" brushRef="#br0" timeOffset="88896.06">7373 13574 0,'54'34'16,"-54"-16"-16,0-1 0,0 2 15,0-2-15,0 0 16,-19 1-16,2 18 0,-1-19 15,18 0-15,-17-17 0,-2 19 0,2-2 16,0 1-16,-1-1 16,0 0-1,18 2 1,0-2 0,18-17-16,17 18 15,-18-18 1,19 17-1,-18-17-15,-1 0 0,2 0 16,-19-17-16,17 17 0</inkml:trace>
  <inkml:trace contextRef="#ctx0" brushRef="#br0" timeOffset="89110.77">7955 13608 0,'0'18'16,"-18"-1"-16,1 54 15,17-53 1,-17 0-16,17 16 0,-19-15 0,19-2 16,-17 18-16,17-18 15,0 2-15,-18 16 0,18-18 16,0 2-16</inkml:trace>
  <inkml:trace contextRef="#ctx0" brushRef="#br0" timeOffset="89318.04">7673 13820 0,'18'-17'15,"35"17"1,-36 0-16,18 0 16,18 0-16,-18 0 15,1 0-15,-1 0 0,1-19 0,-2 19 0,2 0 16,-18 0-16</inkml:trace>
  <inkml:trace contextRef="#ctx0" brushRef="#br0" timeOffset="89998.63">8413 13626 0,'36'0'15,"-72"0"-15,90 0 16,-37 0 0,2 0-16,-19 17 0,0 2 15,0 15 1,-19-34-16,19 18 16,-17 0-16,17 0 15,17-18 16,2 17-31,-2-17 0,-17 17 16,17-17-16,-17 19 16,18-19-16,-18 17 0,0 1 15,0-1-15,-18 0 16,1 2-16,0-19 16,-2 17-16,2 1 0,-1-18 0,1 0 15,17 17-15,-19-17 0,2 19 16,0-19-16</inkml:trace>
  <inkml:trace contextRef="#ctx0" brushRef="#br0" timeOffset="90210.41">8908 13591 0,'0'35'15,"0"35"1,0-52 0,0 0-16,-17 17 0,17-18 15,0 19-15,-19-18 0,19 35 16,-17-36-16,17 1 0,0-1 16,0 2-16,-18-2 0,18 0 15</inkml:trace>
  <inkml:trace contextRef="#ctx0" brushRef="#br0" timeOffset="90407.36">8801 13838 0,'19'0'0,"-2"0"0,1 0 16,-1 0-16,2 0 15,15 0-15,-16 0 0,-1 0 16,19 0-16,-19 0 0,1 0 16,18 0-16,-2 0 0</inkml:trace>
  <inkml:trace contextRef="#ctx0" brushRef="#br0" timeOffset="90730.42">9648 13696 0,'-35'18'31,"-1"0"-15,19-18-16,0 18 0,-1-1 15,-35 0-15,36 2 0,-1-19 16,0 17-16,0-17 0,1 18 15,0-18-15,17 17 0,-18 0 16,0 2-16,0-2 16,36 1-1,0-18 1,17 17-16,-18-17 16,1 0-16,0 0 0,0 0 15,-1-17-15,0 17 0,2 0 0,-2-18 0,18 18 16</inkml:trace>
  <inkml:trace contextRef="#ctx0" brushRef="#br0" timeOffset="90901.3">9772 13662 0,'0'0'16,"-35"34"-16,35-16 16,-18 0-16,18 0 0,-18 16 15,1 2-15,0-1 0,-2 1 16,2 16-16,-1-16 0,18-1 15,-17-17-15,-2 17 0,19-18 16,-17 37-16,0-37 0,-1 0 16</inkml:trace>
  <inkml:trace contextRef="#ctx0" brushRef="#br0" timeOffset="91447.77">6015 13484 0,'-88'124'0,"53"-70"0,158-232 0,-282 426 15,142-196-15,-19 19 0,18-18 0,1 18 16,17 52-16,105 71 16,-51-123-16,-1-18 15,35-1-15,17 19 0,107 17 16,-106-52-16,0-19 0,0 1 16</inkml:trace>
  <inkml:trace contextRef="#ctx0" brushRef="#br0" timeOffset="92049.69">10160 13344 0,'71'71'0,"-1"-2"16,-16 21-16,-20 15 15,-34 107 1,-17-160-16,-54 72 15,35-71-15,2-1 0,-20 2 16,2-1-16,-18-18 0,-37 53 16,36-52-16,-51 34 0,86-35 15,-16-18-15</inkml:trace>
  <inkml:trace contextRef="#ctx0" brushRef="#br0" timeOffset="92951.8">14852 12620 0,'17'0'0,"1"0"0,0 0 0,0 0 16,35 0-16,-18 0 16,-18 0-16,54 0 0,-35 0 15,16 0-15,-34 18 16,17-18-16,-18 0 0,19 0 16,-18 0-16</inkml:trace>
  <inkml:trace contextRef="#ctx0" brushRef="#br0" timeOffset="93135.36">14817 12920 0,'52'36'16,"-34"-36"-16,0 18 15,17-18-15,-18 0 0,19 17 0,-1-17 16,18 0-16,-18 0 0,18 17 15,1-17-15,-1 0 0,-18 0 0,18 0 16</inkml:trace>
  <inkml:trace contextRef="#ctx0" brushRef="#br0" timeOffset="101769">26123 12462 0,'-18'70'32,"18"-52"-32,0-1 0,0 19 0,-17-19 15,17 19-15,-17-1 0,17-18 16,0 19-16,-18-18 0,18-1 0,-18 36 15,18-35-15,0-1 16,-18 2-16,18-2 0</inkml:trace>
  <inkml:trace contextRef="#ctx0" brushRef="#br0" timeOffset="101978.32">26529 12444 0,'18'35'16,"-36"-16"-16,18 15 15,0-16-15,-18 35 16,0-18-16,18 1 0,-17 17 16,0-18-16,17-18 0,-18 19 15,18-19-15,0 1 0,-18 18 16</inkml:trace>
  <inkml:trace contextRef="#ctx0" brushRef="#br0" timeOffset="102134.3">26847 12886 0,'0'0'15</inkml:trace>
  <inkml:trace contextRef="#ctx0" brushRef="#br0" timeOffset="102870.02">27481 12603 0,'36'35'16,"-36"-17"0,-18 0-16,18-1 0,-18-17 15,18 17-15,-17-17 0,0 19 0,17-2 16,-19-17-16,19 18 0,0-1 31,0 0-31,0 2 16,19-19-16,-19 17 0,17 1 15,-17-1 1,17 2-16,-34-2 16,17 0-16,-17-17 0,17 18 15,-19-18-15,2 18 16,-35 0-16,16-1 0,1 0 0,-1-17 15</inkml:trace>
  <inkml:trace contextRef="#ctx0" brushRef="#br0" timeOffset="103346.38">26671 13274 0,'69'0'0,"-33"17"15,-141-34-15,281 34 0,-142-17 0,2 0 16,35 17-16,-19-17 0,-16 0 0,35 0 16,-19-17-16,18 17 15,1 0-15,-18-17 0,18-2 0,-18 2 16,17-1-16,0 1 0,1 0 0,0-19 16,53-52-16,-54 52 15,1-16-15,-19-2 0,19-16 0,-18-1 16,18-17-16,-18 0 0,-18 0 0,-1 0 15,2-89-15,-53 106 16,-2-17-16,-15 17 0,-20 1 0,-104-36 16,35 53-16,-18 18 15,-1 1-15,1 15 0,18 19 16,-247 19-16,16 33 0,178 1 16,0 0-16,18-1 0,16 19 15,1 0-15,-106 87 16,159-70-16,-36 90 0,71-109 15,18 108-15,53-106 0,-1 17 16,19 0-16,16-17 0,19-1 16,123 89-16,-88-106 0,106 53 15,-124-72-15,17 2 16,2-18-16,-2-1 0,-17 2 0,19-2 16,86 0-16,-122-17 0,-1 0 15,-16 0-15</inkml:trace>
  <inkml:trace contextRef="#ctx0" brushRef="#br0" timeOffset="112688.94">6261 13432 0,'0'-17'0,"0"52"31,-17-18-31,17 36 0,-17 1 15,-1-20-15,18 1 0,0 1 16,-18 17-16,18-18 16,0-18-16,-18 19 0,18-18 0,0-1 15,0 0-15,0 2 0,0-2 16</inkml:trace>
  <inkml:trace contextRef="#ctx0" brushRef="#br0" timeOffset="113231.22">6703 13415 0,'17'0'0,"-34"0"0,53-19 16,-19 19-1,-53 19 16,19-19-31,-1 0 16,1 17-16,-2-17 0,-33 35 16,35-18-16,-2 2 15,2-2-15,0-17 16,17 18-16,0-1 16,0 2-16,17-2 15,-17 0-15,17-17 0,2 18 0,-19-1 16,17-17-16,-17 19 0,18-2 15,-1 0-15,-17 1 0,17 0 16,-17 0-16,-17-1 16,0 19-16,-1-19 0,1 1 15,-19 16-15,1-15 0,-1-2 16,19 1-16,-19-18 0,1 36 16,18-36-16,0 0 0,17 17 15,-19-17-15</inkml:trace>
  <inkml:trace contextRef="#ctx0" brushRef="#br0" timeOffset="115522.05">7585 13626 0,'-36'-18'16,"72"18"46,-1 18-46,-18-18-1,-17 17-15,19-17 16,-19 19-16,0-2 0,0 0 16,0 1-16,-19 0 0,19 17 15,0-18-15,-17 19 16,0-18-16,17-1 0,-18 0 15,18 2-15,-18-2 16,18 1-16</inkml:trace>
  <inkml:trace contextRef="#ctx0" brushRef="#br0" timeOffset="115723.2">7496 13872 0,'36'-17'15,"-19"17"1,1 0-16,0 0 16,0 0-16,-1-17 0,0 17 0,19 0 15,-18 0-15,16-18 0</inkml:trace>
  <inkml:trace contextRef="#ctx0" brushRef="#br0" timeOffset="117303.36">8608 13643 0,'0'-17'15,"0"-1"-15,-17 1 16,-2 17-1,-16 0 1,18 0 0,17 17-16,-17-17 0,17 18 15,0-1 1,17 2-16,-17-2 0,17 0 16,-17 1-16,18 0 15,-1 0-15,2-1 0,-19 0 16,17 2-16,-17-2 0,17 1 0,-17-1 15,0 0-15,18-17 0,-18 19 16,0-2-16,0 1 0,-18-1 16,1 2-16,17-2 0,-17-17 15,-2 17-15,2-17 0,-18 18 16,-1 0-16,19-18 0,-1 0 16,1 0-16,-2 0 0,2 0 0,0 0 15,-1-18-15,18 0 16,0 1-1,0 0-15,18 17 0,-1-19 0,0 2 16,2-1-16,16 1 16,-18-2-16,2 2 0,-2 0 15,18-18-15,-18 16 0,2 19 0,-2-17 16,0-18-16,1 17 16,-18 0-16,0 1 0,18 0 15,-36-2-15,18 2 16,0-1-16,-18 1 0,18 0 15,-17 17-15,0-19 0,-2 19 16,2-17 0,-1 17-16,1 0 15</inkml:trace>
  <inkml:trace contextRef="#ctx0" brushRef="#br0" timeOffset="118986.43">9648 13750 0,'36'0'16,"-19"0"-16,1 0 16,0 0-16,0 0 0,16 0 15,-16-18-15,0 18 0,0 0 16,-1 0-16,0 0 15,-51 0 32,16 18-47,-35-18 0,18 17 16,-1-17-16,2 0 0,-56 36 16,56-36-1,-1 17-15,-1 1 16,19-1-1,17 0 1,17 2-16,0-19 0,2 17 16,-2-17-16,1 0 15,-1 18-15,0-18 0,2 17 16,-2-17-16,1 19 0,-1-19 0,2 0 0,-19 17 16,17 0-16,0 1 15,-17 0-15,0 0 0,0-1 16,-17 0-16,0 1 15,-2 0-15,2-18 0,-18 18 16,16-1-16,-15 0 0,-20 2 0,20-19 16,-2 17-16,-16 1 0,16-18 15,1 17-15,18-17 0,-2 0 0,2 0 16,-1 17-16,1-17 0,-2 0 16,2 0-1</inkml:trace>
  <inkml:trace contextRef="#ctx0" brushRef="#br0" timeOffset="122769.93">28169 3219 0,'0'-17'0,"18"17"16,-1 0 0,2 0-16,-2 17 0,0-17 15,1 0-15,-18 17 0,36 2 16,-19-2-16,-17 18 16,0-18-16,0 2 15,-35 33-15,-1-16 16,19-19-16,0 18 0,-2-35 15,-16 36-15,18-36 16,17 17-16</inkml:trace>
  <inkml:trace contextRef="#ctx0" brushRef="#br0" timeOffset="122987.14">28540 3184 0,'-36'35'16,"19"1"0,17-19-16,-18 1 0,1-1 0,17 0 15,0 2-15,-19-2 0,19 18 16,19 1-16,-19-19 16,17 1-16,1-1 0,-1 2 15,19-19-15,-19 0 16,19 17-16,-1-17 0,18 0 0</inkml:trace>
  <inkml:trace contextRef="#ctx0" brushRef="#br0" timeOffset="123851.11">31715 3255 0,'36'-19'0,"-19"2"15,0 0-15,1-19 16,-1 18-16,2-16 0,-2 15 16,0-16-16,1 18 15,-18-19-15,18 19 0,-18-1 0,18-18 16,-1 2-16,-17 16 16,-17 53-1,-19 1 1,18-1-16,-16 18 0,15-18 0,-121 177 31,121-178-31,-15 20 0,16-18 16,-35 52-16,36-71 0,-19 71 31,18-71-31,18 2 0,0-2 16,0 1-16</inkml:trace>
  <inkml:trace contextRef="#ctx0" brushRef="#br0" timeOffset="124066.82">31327 3483 0,'36'-17'15,"-19"17"1,0 0-16,1 0 0,18 0 15,52 0-15,-36-18 0,125 18 16,-106 0 0,17 0-16,-35 0 0,-18 0 15,-1 0-15,2 18 0,-18-18 16,18 0-16,-2 0 0</inkml:trace>
  <inkml:trace contextRef="#ctx0" brushRef="#br0" timeOffset="124512.94">31609 2726 0,'-212'193'15,"159"-122"-15,1-1 0,16 1 0,-17 0 16,18 17-16,0-18 0,17 1 0,0-19 16,1 1-16,17 1 0,0 16 15,0-35-15,17 1 0,1-1 16,18 1-16,-19-19 15,0 0-15,19-17 0,-1 0 0,1 18 16</inkml:trace>
  <inkml:trace contextRef="#ctx0" brushRef="#br0" timeOffset="124796.75">32791 2743 0,'0'0'0,"36"71"0,-19-37 0,-17 20 15,0-1-15,-17 18 0,-2-2 0,2 20 16,-18-18-16,-1-2 0,1 2 15,-18 0-15,-18-1 0,18-16 16,1-1-16,-19-1 0,1 1 0,-1-18 16,18 1-16,-18-1 0,19-17 0,-19 0 15</inkml:trace>
  <inkml:trace contextRef="#ctx0" brushRef="#br0" timeOffset="125345.61">28240 2884 0,'-36'18'16,"19"-1"-16,-1 0 0,-16 19 0,15-1 15,-16 18-15,-35 71 16,-1-18-16,54-53 0,-37 52 16,37-17-16,17-70 15,0 18-15,0-19 0,17 19 16,-17-19-16,36 35 0,16-33 16,-16-2-16,-18-17 15,16 0-15</inkml:trace>
  <inkml:trace contextRef="#ctx0" brushRef="#br0" timeOffset="125639.31">29104 2972 0,'88'264'0,"-88"-210"16,0 34-16,0-35 0,-17-1 16,-37 89-1,2-87-15,16-1 0,2-1 0,-73 37 16,-16-1-16,53-53 15,-1 1-15,-105 16 16,69-35-16</inkml:trace>
  <inkml:trace contextRef="#ctx0" brushRef="#br0" timeOffset="128103.25">16563 12162 0,'17'-35'15,"2"35"-15,-19 17 16,17 18 0,-17-16-16,-17-2 15,17 0-15,0 19 0,0-18 0,0-1 16,0 0-16,-19 2 0,19-2 0,0 1 16,0-1-16,0 0 0,0 2 15,0-2 1</inkml:trace>
  <inkml:trace contextRef="#ctx0" brushRef="#br0" timeOffset="128622.49">17199 12179 0,'-36'0'0,"18"0"0,-52 19 16,52-2 0,0-17-16,0 17 0,1-17 15,0 18-15,-19 0 16,18-18-16,18 18 0,0-1 16,0 0-1,18 2-15,18-2 16,-36 1-16,17-18 15,-17 17-15,17-17 0,-17 17 0,18-17 16,-18 19-16,18-2 0,-18 1 16,-36 18-1,36-19 1,-17-17-16,0 17 0,-19-17 0,18 18 0,1-18 16,0 17-16,-2-17 0,2 0 15,-1 0-15,1 19 0,-2-19 16,2-19-1</inkml:trace>
  <inkml:trace contextRef="#ctx0" brushRef="#br0" timeOffset="130597.24">17956 12003 0,'-17'141'15,"-1"-123"-15,18-1 0,0 2 16,-17-2-16,17 0 0,0 1 0,0 0 16,-19 0-16,19-1 0,0 0 0,0 2 15,0-2-15</inkml:trace>
  <inkml:trace contextRef="#ctx0" brushRef="#br0" timeOffset="130835.17">17797 12268 0,'0'-18'15,"19"18"-15,16 0 16,-1 0 0,-15 0-1,-2 0-15,1 0 0,-1 0 0,2 0 16,-2-18-16,0 18 0,1 0 16,18 0-16</inkml:trace>
  <inkml:trace contextRef="#ctx0" brushRef="#br0" timeOffset="136153.4">18768 12110 0,'71'-19'16,"-54"19"-16,0 0 15,-51 0 17,-37 36-17,35-36 1,1 17-16,18-17 0,0 18 16,-2-18-16,2 17 15,-1 2-15,18-2 16,0 0-1,18-17-15,18 36 16,-2-1 0,1-18-1,-16 19 1,-38-18 0,2-1-1,-1 0-15,-52 2 16,52-19-16,1 17 15,-2-17-15,2 0 16,0 0 0</inkml:trace>
  <inkml:trace contextRef="#ctx0" brushRef="#br0" timeOffset="136526.54">19244 12232 0,'-35'18'15,"17"0"-15,0 0 16,1-18-16,-19 17 15,36 0-15,-17-17 0,-1 19 16,1-2-16,0 1 16,-2-1-1,19 0-15,19 2 16,-2-19 0,18 17-1,-18-17-15,2 0 0,-2 0 16,0 0-16,19 0 15,-18 0-15,-1 0 0,0 0 0,2 0 16,-2 0-16,1-17 16</inkml:trace>
  <inkml:trace contextRef="#ctx0" brushRef="#br0" timeOffset="136736.66">19315 12268 0,'-18'18'16,"18"-1"-16,-17-17 15,17 17-15,-19 2 0,19-2 16,-17 1-16,17 16 0,-17-15 0,-1-2 16,18 1-16,-18-1 0,18 19 15,-18-19-15,18 1 0,0-1 16,-17 2-16,17-2 0</inkml:trace>
  <inkml:trace contextRef="#ctx0" brushRef="#br0" timeOffset="136980.1">19897 12250 0,'-36'36'15,"2"-2"1,34 2-16,-19-18 0,2-1 0,-1 0 16,1 19-16,-2-18 0,2-1 0,0 2 15,17-2-15,-18 18 16</inkml:trace>
  <inkml:trace contextRef="#ctx0" brushRef="#br0" timeOffset="137197.34">19597 12320 0,'0'36'31,"18"-18"-15,16 16 0,-15-15-16,-2-2 15,1 1-15,-1-18 0,0 17 0,2-17 16,-2 19-16,1-19 0,-1 0 16</inkml:trace>
  <inkml:trace contextRef="#ctx0" brushRef="#br0" timeOffset="137863.25">20303 12215 0,'88'17'0,"-71"1"16,0 0-16,-17 0 0,0-1 15,0 0-15,0 2 16,-17-2-16,-35 35 16,33-33-16,2-19 0,0 17 0,-1 1 15,0-18-15,0 17 0,1 2 16,0-19-16,-2 17 15,55-17 17,17 0-17,-35 0-15,-1 0 16,0 0-16,2 17 16,16-17-16,-18 0 0,0-17 0,2 17 0,16 0 15,-18 0-15,2 0 0,-2 0 16,0 0-16,1 0 0</inkml:trace>
  <inkml:trace contextRef="#ctx0" brushRef="#br0" timeOffset="138311.06">20920 12356 0,'-36'18'16,"19"-18"-16,-1 0 0,18 17 16,-88 19-1,71-36-15,17 17 0,-19-17 16,2 18-16,0-1 16,-1 2-1,18-2-15,0 0 16,18 1-1,-1-18-15,0 0 0,2 0 16,-2 0-16,1 0 0,35 0 16,-36 0-16,1 0 0,18 0 15,-2-18-15,-16 18 16,0 0-16</inkml:trace>
  <inkml:trace contextRef="#ctx0" brushRef="#br0" timeOffset="138525.84">21061 12339 0,'-36'35'16,"19"-18"-16,17 0 16,-17 37-16,-1-37 0,0 36 15,0-18-15,18-16 16,0-2-16,-17 36 0,17-35 15,-17-1-15,17 0 0,0 2 0,0-2 16,0 1-16</inkml:trace>
  <inkml:trace contextRef="#ctx0" brushRef="#br0" timeOffset="138858.21">21643 12303 0,'0'0'0,"0"36"32,-18 16-17,18-35-15,0 2 0,0-2 16,-17 1-16,17 18 0,0-2 16,-17-16-16,17-1 0,0 2 15,0-2-15,-19 0 0,19 1 16</inkml:trace>
  <inkml:trace contextRef="#ctx0" brushRef="#br0" timeOffset="139049.9">21449 12479 0,'18'-17'16,"-1"17"-1,36 0 1,-18 0-16,-16 0 0,33 0 16,-16 0-16,-19 0 15,18 0-15,-17 0 0</inkml:trace>
  <inkml:trace contextRef="#ctx0" brushRef="#br0" timeOffset="140062.37">22296 12339 0,'71'17'0,"-54"-17"16,0 0-16,1 18 15,0-1-15,0 0 16,-18 2-16,0-2 15,0 1-15,0-1 0,-18-17 16,0 36-16,0-36 16,1 17-16,0-17 0,-2 18 0,2-18 15,17 17-15,-18-17 0,1 19 16,0-2-16,-2-17 16,2 0-16,17 17 15,17 1 1,19-18-1,-19 0 1,37 0-16,-37 0 16,0 0-16,19 0 0,34 0 15,-34-18-15,-19 18 16,19-17-16</inkml:trace>
  <inkml:trace contextRef="#ctx0" brushRef="#br0" timeOffset="140386.6">22965 12356 0,'0'-17'16,"0"34"-16,-17-34 0,0 17 15,-18 35 1,16-18-16,2-17 0,0 17 16,-1 2-16,18-2 0,-18 1 0,18-1 15,0 2-15,0-2 16,0 0-16,36 18 15,-19-35-15,0 19 0,2-19 16,-2 0-16,1 0 0,-1-19 16,0 2-1,-17-1-15,0 1 0,0 0 16,0-2-16,0-16 0,0 18 0,0-2 16,-17 2-16,17 0 0,-35-18 15,18 35-15,-2-19 0,-15 19 16,-2 0-16,1-17 0,-18 17 0,18 17 15,-36-17-15,-17 19 16</inkml:trace>
  <inkml:trace contextRef="#ctx0" brushRef="#br0" timeOffset="141185.56">16421 12886 0,'90'52'16,"32"-34"-16,302 34 31,-301-34-31,54 0 0,-18 0 0,17-18 16,0 17-16,19 0 0,-19 2 16,18-19-16,-18 17 0,18 1 0,176-1 15,-194-17-15,19 19 0,-19-19 16,1 17-16,-1-17 0,0 17 15,0-17-15,2 0 0,-2 18 0,-35-18 16,0 0-16,35 0 0,-34 17 0,-1-17 16,-1 0-16,-16 19 15,0-19-15,-19 17 0,1-17 0,0 0 0,-18 17 16,0-17-16,-34 0 0,16 18 16,-18-18-16,-33 0 0,33 0 15,-16 18-15,-19-18 16,1 0-16,-1 0 15,2 0-15,-2 0 16,-53-18 15</inkml:trace>
  <inkml:trace contextRef="#ctx0" brushRef="#br0" timeOffset="142862.32">21731 15390 0,'158'-18'0,"-122"18"15,-1 0-15,-16 0 0,15 18 16,-16-18-16,0 0 0,17 0 0,-18 0 16,1 17-16,0-17 0,0 0 15,-1 0-15,0 19 16,-34-2 0,-18 18-1,17-17-15,-34 17 16,34-35-16,0 0 0,18 17 15,-18-17-15,18 18 0,-17-18 0,34 18 32,19-18-17,-18 0-15,-1 0 16,36 0 0,-18 0-16,-18 0 0,2 0 0,-2 0 15,1 0-15,-1 0 0,19 0 16</inkml:trace>
  <inkml:trace contextRef="#ctx0" brushRef="#br0" timeOffset="143266.38">22577 15460 0</inkml:trace>
  <inkml:trace contextRef="#ctx0" brushRef="#br0" timeOffset="143617.28">22896 15355 0,'-19'0'0,"-15"0"15,16 17 1,0 1-16,-17 18 16,35-19-16,0 0 15,0 1-15,0 0 16,17 17-1,1-35-15,0 0 0,0 0 16,16 0 0,-15-17-16,-19-1 15,17 0 1,-34-17-16,17 18 16,-19-2-16,19 2 0,0-1 15,-17 18 1,17-17-16,0-2 0</inkml:trace>
  <inkml:trace contextRef="#ctx0" brushRef="#br0" timeOffset="143974.48">23336 15284 0,'0'0'16,"-17"0"-16,-1 0 0,1 0 16,-2 0-1,2 18-15,17-1 16,-17 0-1,17 2-15,0-2 0,0 1 16,17-1-16,-17 2 16,0-2-16,0 0 15,0 1-15,0 0 16,-17 0-16,-1-18 16,18 17-16,-18-17 0,0 17 15,1-17-15,-19 18 0,1-18 0</inkml:trace>
  <inkml:trace contextRef="#ctx0" brushRef="#br0" timeOffset="144579.14">22489 15936 0,'107'18'0,"-55"-18"0,-16 0 15,-231-18-15,442 18 0,-194 0 0,18 0 16,-18-17-16,18 17 0,-19-17 0,72-1 16,-71 18-16,18-18 0,-19 0 15,1 1-15,1 17 0,-2-17 16,-16-2-16,16 2 0,-16-1 0,17 1 16,-18 17-16,18-36 0,-18 36 15,1-35-15,-2 18 0,20-2 0,-20-15 16,2 16-16,-1-18 0,1 19 15,16-54-15,-33 37 0,15-20 16,-34 18-16,18 2 0,-18-1 16,0-1-16,0 1 0,0-35 0,-18 16 15,1 1-15,-19 1 0,1-19 0,-1 18 16,-16 0-16,-1 1 0,0 16 16,-18-16-16,2-2 0,-2 18 15,-88-34-15,89 35 0,-1 18 16,-17-19-16,-1 18 0,1 1 0,0 17 15,-18 0-15,0 0 0,0 0 16,1 17-16,-2 1 0,-15 0 16,-20 17-16,1 0 0,17 18 0,-16-17 0,33 16 15,2 1-15,-2 1 0,19-2 16,18 1-16,-1 18 0,2-18 16,15 18-16,1-19 0,18 18 0,17 1 15,0-18-15,18 18 0,18-19 0,18 19 16,-2-1-16,20 1 0,-1-18 15,18 18-15,-1-19 0,18 1 16,0-17-16,0-1 0,18 0 0,0 1 0,0-19 16,0 0-16,0-17 0,-1 19 15,19-19-15,-19 0 0,2 0 0,-2 0 16,1 0-16,0-19 0,-18 19 0,18-17 16</inkml:trace>
  <inkml:trace contextRef="#ctx0" brushRef="#br0" timeOffset="147618.29">24060 15426 0,'35'0'16,"-18"17"-1,2-17-15,-2 17 0,0-17 0,54 36 16,-36-18-16,18-1 0,0 0 16,-1 1-16,2 0 0,16 0 15,1-1-15,0 19 0,193-1 16,-158-18-16,0 2 0,-1-19 15,2 17-15,15-17 0,2 17 16,0-17-16,-1 18 0,18-18 0,213 0 16,-232 17-1,232-34 1,-249 17-16,2-18 0,-2 18 0,-17-17 0,19 0 16,-19-2-16,0 2 0,0-1 15,0 1-15,0-19 0,-18 1 16,18 17-16,-17-17 0,0-18 0,-1 18 15,1-1-15,-18-16 0,-1 16 16,2-16-16,-1-1 0,-18-1 0,1 2 16,69-89-16,-88 88 15,54-35-15,-54 34 16,19-16-16,-1 18 0,1-2 16,-19 1-16,18 0 0,-16 1 0,15-2 0,-16-16 15,0 16-15,17 2 0,18-142 16,-35 123-1,-18 19-15,17-1 0,-17-1 0,17 2 16,-17-18-16,0 16 0,0 1 0,0 1 16,-17-107-1,17 123-15,0-17 0,-17 18 0,17 1 16,0-2-16,0 1 0,0-1 16,0 1-16,0-1 0,0 2 15,0-2-15,0 1 0,0-1 0,0 1 0,17-1 16,-17 2-16,0-1 0,0-1 15,17 1-15,-17-1 0,0 2 16,19-2-16,-19 18 0,0-16 0,17-2 16,-17 1-16,0 16 0,0-15 15,18-1-15,-18-1 0,0 19 0,0-54 16,0 35-16,0 19 0,0-18 0,0-1 16,0 19-16,0-18 15,0-1-15,0 19 0,0-19 0,0-16 16,0 34-16,0-18 0,0 19 15,0-88 1,-18 86-16,18 2 0,0-1 16,0-18-16,-17 19 0,17 0 15,0-1-15,0 0 0,-19 18 16,19-18-16,0 1 0,-17 0 16,0 17 15</inkml:trace>
  <inkml:trace contextRef="#ctx0" brushRef="#br0" timeOffset="147930.74">29087 11492 0,'-106'52'0,"70"-52"0,-17 36 16,36-18-1,-18-1-15,18 0 0,-19 2 0,18-2 16,-18 1-16,19-1 0,0 2 0,-37 15 16,37-16-1</inkml:trace>
  <inkml:trace contextRef="#ctx0" brushRef="#br0" timeOffset="148114.29">28945 11527 0,'36'17'16,"-18"-17"-16,-1 18 15,0 0-15,2-18 0,-2 18 16,18-18-16,-18 17 0,2 0 0,16 2 16,-18-2-16,2-17 0,15 18 15,-16-1-15,-1 2 0,19-19 16,-19 17-16,1-17 0,0 17 0</inkml:trace>
  <inkml:trace contextRef="#ctx0" brushRef="#br0" timeOffset="157524.15">23036 16660 0,'0'18'0,"36"-54"0,-19 18 0,89-34 16,-53 34 0,18-17-16,-18-1 0,-1 19 0,1-18 15,53-18-15,-53 35 16,-17 1-16,69-36 15,-87 53-15,-1 0 0,-17-18 0,19 18 16</inkml:trace>
  <inkml:trace contextRef="#ctx0" brushRef="#br0" timeOffset="157713.43">23424 16624 0,'177'-70'16,"-125"35"-16,38-1 0,-21 1 15,20-1-15,-1 2 0,0-1 0,0-1 16,0 19-16,0-19 0,0 18 16,-34 1-16,52 0 0,-71-2 15</inkml:trace>
  <inkml:trace contextRef="#ctx0" brushRef="#br0" timeOffset="159726.04">25029 16412 0,'230'-158'0,"-177"106"0,18-19 0,-1 18 16,18-35-16,0 0 0,-17 0 15,0 17-15,-18 0 0,-1-17 16,-16 0-16,-1 18 0,-18-20 0,2 2 0,-19 18 16,0-18-16,-19 17 0,2 0 15,-18 2-15,-106-143 16,70 159-16,0-1 0,1 2 16,-1-1-16,-17 18 0,0-18 15,0 17-15,0 1 0,-1 18 0,-122-36 16,104 18-16,2 16 15,0 2-15,-2 0 0,2-1 0,-2 18 16,-16-18-16,18 0 0,-19 1 0,0 17 16,-105-17-16,106-1 15,-18 0-15,-230 18 16,247 0-16,1 0 0,-1 0 0,-17 0 16,-106 36-16,125-19 15,-2 0-15,18 1 0,-35 18 16,0 17-16,17-18 0,1 18 0,-1-1 15,36 1-15,-17 1 0,-2 16 16,19 1-16,17-19 0,1 19 0,-18 17 16,34-18-16,2 1 0,-1 0 0,0 17 15,18-18-15,18 18 16,-19 0-16,18 90 0,36-108 16,-1 18-16,2 0 0,33-17 0,1 0 0,18 17 15,34 0-15,19-18 16,17 1-16,18 0 0,17-1 0,19-18 15,15 2-15,2-1 0,18 0 0,-1-1 16,0-16-16,18 16 0,1-16 16,192 35-16,-211-36 0,-34-18 15,-19 19-15,0-19 0,-17 1 0,-35 0 16,0 0-16,-19-1 0,19-17 16,-19 17-16,1-17 0,-18 18 0,18-18 15,-35 0-15,0 18 0</inkml:trace>
  <inkml:trace contextRef="#ctx0" brushRef="#br0" timeOffset="164280.32">26459 9639 0,'0'36'0,"0"-19"0,-18-17 0,0 18 0,0 0 15,-16 17-15,-125 53 16,88-52-16,-17-1 16,18-18-16,-20 19 0</inkml:trace>
  <inkml:trace contextRef="#ctx0" brushRef="#br0" timeOffset="165513.32">26969 8299 0,'-34'0'16,"-54"36"-1,-178 69-15,144-70 16,-20 18-16,1 1 0,18-2 0,-18 1 15,0 0-15,-230 53 16</inkml:trace>
  <inkml:trace contextRef="#ctx0" brushRef="#br0" timeOffset="167668.54">26617 7399 0,'-353'141'16,"282"-105"-16,1-18 0,0 16 16,0-15-16,-20 16 0,21-1 0,-2-15 15,18-2-15</inkml:trace>
  <inkml:trace contextRef="#ctx0" brushRef="#br0" timeOffset="168357.23">27181 6571 0,'-122'35'0,"68"-18"0,-158 71 16,142-52-16,-18-1 16,17 1-16,-88 16 0,89-16 15,-1-2-15,19 2 0,16-1 0,-17-16 16</inkml:trace>
  <inkml:trace contextRef="#ctx0" brushRef="#br0" timeOffset="169394.66">28011 5724 0,'-18'-36'0,"-35"-34"16,36 52-1,-71-16-15,34 15 0,-140-16 16,0 18 0,89 17-16,-2 0 0,2 17 15,-19 1-15,-35 18 0,1-2 0,-1 1 16,0 1-16,18 17 0,-18-1 16,1 2-16,16 16 0,1 1 0,1 0 15,16-1-15,0 18 0,19 0 0,-1 0 16,0 18-16,18 0 0,17 0 15,-17 18-15,-17 105 0,51-106 16,37-34-16,-19 122 16,36-105-16,0 0 0,0-1 0,17 2 15,2 34-15,16-18 0,-18-17 16,19 17-16,17 1 0,-18-19 0,18-17 0,-1 19 16,2 16-16,70 54 15,-72-89-15,18-17 0,-16-1 16,34 18-16,-18-17 0,-16-19 0,16 19 15,1-18-15,-19-18 0,19 18 16,-1-17-16,-16-1 0,16-18 0,-18 0 16,2 2-16,87-2 15,-70-17-15,-19 0 0,18 0 0,1-17 16,0 17-16,-1-19 0,1 2 0,17 0 16,-17-1-16,-1-18 0,1 19 0,-18 0 15,18-19-15,-19 18 16,1 1-16,1-19 0,-2 19 0,1-1 15,0-16-15,-1 15 0,-16-16 16,18-1-16,-20 19 0,1-18 0,1-1 16,-1 2-16,18-20 0,-18 20 0,1-20 15,-2 1-15,2 1 0,52-72 16,-53 71-16,18-18 0,-17 0 16,-1-17-16,18 18 0,-18-18 0,1 0 15,16 0-15,-16 0 0,-1 0 16,1 0-16,-2-19 0,2 19 0,-1 0 15,1 0-15,-19 0 0,18-1 16,-18 1-16,19 0 0,-36 0 0,18 0 16,-1 0-16,-17 17 0,-17-17 15,17-1-15,-18 19 0,1 0 0,-2-1 16,2-17-16,-18 35 0,18-18 0,-19 0 16,-17 18-16,18 1 0,-18-1 15,1-1-15,-2 2 0,-16 16 0,16 2 16,-16-2-16,-18 1 0,17 18 0,-17-19 15,0 18-15,0 18 0,0-17 16,0 17-16,17-19 0</inkml:trace>
</inkml:ink>
</file>

<file path=ppt/ink/ink129.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55:41.755"/>
    </inkml:context>
    <inkml:brush xml:id="br0">
      <inkml:brushProperty name="width" value="0.05292" units="cm"/>
      <inkml:brushProperty name="height" value="0.05292" units="cm"/>
      <inkml:brushProperty name="color" value="#0070C0"/>
    </inkml:brush>
  </inkml:definitions>
  <inkml:trace contextRef="#ctx0" brushRef="#br0">661 1468 0,'36'0'62,"52"0"-46,71 0-16,53 0 16,34 0-16,89 0 15,142 0-15,51 0 16,143 0-16,0 0 15,-1 0-15,88 0 16,0 0-16,-175 0 16,-2 0-1,-193 0-15,-105 0 0,-71 0 16,-88 0 0,-72 0-16</inkml:trace>
  <inkml:trace contextRef="#ctx0" brushRef="#br0" timeOffset="3613.16">4489 3427 0,'476'0'0,"-952"0"16,1340 0-16,-511 0 0,-18 0 16,1 0-16,-107 0 15,1 0-15,-54 0 16,-71 0-16,-17-18 16,-35 18-1,-17 0-15,-1 0 0,-18 0 16,19 0-16,-18 0 15,16 0 1,-15 0 0,33 0-16,1 0 15,-17 0-15,34 0 0,0 0 16,72 0-16,-18 0 16,34 0-1,54 0-15,-53 0 0,34-18 16,2-17-1,-36 35-15,17 0 0,177 0 32,52 0-17,-193 0-15,52 0 16,-34 0-16,35 0 16,-18 0-1,-18 0-15,18 0 0,-35 0 16,17 0-16,-18 0 15,1 0-15,-54 0 16,37 0-16,-90 0 16,37 0-16,-37 0 15,-34 0 1,-18 0-16,0-17 0</inkml:trace>
  <inkml:trace contextRef="#ctx0" brushRef="#br0" timeOffset="6521.81">6429 4608 0,'0'-17'156,"19"17"-140,33 0-16,36 0 15,89 0 1,-72 0-16,19 17 16,18-17-16,16 0 15,-18 0 1,20 0-16,16 0 15,-70 0-15,35 0 0,-17 0 16,16 0 0,125 0-16,-177 0 15,18 0 1,-36 0-16,1 0 16,0 0-16,53 0 15,-36 17 1,-54-17-16,2 0 15,18 0-15,-20 0 16,-16 0 0</inkml:trace>
  <inkml:trace contextRef="#ctx0" brushRef="#br0" timeOffset="12264.99">12709 4503 0,'35'-36'0,"-17"36"16,0-18-16,-1 18 15,0 0-15,19 0 0,16 18 16,-16 0 0,-36 0-16,18-18 0,-36 34 15,18-15-15,-36-2 16,-33 54-1,33-36-15,19-18 16,-1 2-16,0-2 16,0-17-16,18 17 15,0 1 1,0 0-16,18-18 16,0 0-16,0 0 0,-1 0 15,0 0-15,2 0 0,33 0 16,-35 0-16,2 0 15,-2-18-15,1 18 0,18 0 16,-19 0-16,0-18 0</inkml:trace>
  <inkml:trace contextRef="#ctx0" brushRef="#br0" timeOffset="12441.67">13273 4679 0,'19'-18'16,"-38"36"15</inkml:trace>
  <inkml:trace contextRef="#ctx0" brushRef="#br0" timeOffset="12851.92">13626 4537 0,'18'0'0,"-18"-17"16,-54 17-1,37 0 1,-35 0-16,16 17 16,19 2-16,-19-2 15,1 1 1,52 16 15,1-15-15,0-2-16,0-17 15,-1 18-15,19-1 0,-36 2 16,17-19 0,-17 17-16,0 18 15,-36-17 1,19 17-16,0-35 16,-54 35-16,54-17 15,-2 0 1</inkml:trace>
  <inkml:trace contextRef="#ctx0" brushRef="#br0" timeOffset="13099.98">14014 4661 0,'-70'54'31,"52"-37"-31,1 0 0,-2 1 16,-69 35 0,71-36-16,-18 19 0,17-18 15</inkml:trace>
  <inkml:trace contextRef="#ctx0" brushRef="#br0" timeOffset="13299.97">14120 4661 0,'-35'35'31,"70"-70"-31,-87 89 0,-38 16 15,38-35 1,16 18 0,19-35-16,-18-1 0,-18 19 15</inkml:trace>
  <inkml:trace contextRef="#ctx0" brushRef="#br0" timeOffset="14027.69">11880 4803 0,'70'-18'0,"-34"18"0,-18 0 15,16 0-15,-15 0 0,-2 0 16,1 0-16,-1 0 0,0 18 16</inkml:trace>
  <inkml:trace contextRef="#ctx0" brushRef="#br0" timeOffset="14183.63">11880 4996 0,'0'19'0,"17"-19"16,2 17-16,-2-17 16,0 0-16,1 0 0,0 0 15,0 0-15,-1 0 0,0 0 0,37-17 16</inkml:trace>
  <inkml:trace contextRef="#ctx0" brushRef="#br0" timeOffset="17471.07">12250 4273 0,'-34'-36'16,"15"19"-16,2 17 0,-1-17 15,-18 17-15,19-18 0,-18 18 16,-1 0-16,19 0 16,-54 0-16,54 0 0,-54 18 15,37-1-15,-56 0 16,38 2-16,-72 69 15,71-53-15,-35 53 16,0 1-16,17 34 16,54-87-16,-36 69 15,35 0-15,18-34 16,35 36-16,1-73 16,-1 20-16,18-2 0,88 37 15,18-18-15,53-2 16,-71-33-16,-35-19 15,352 54 1,-352-54-16,0-17 0,17 19 16,72-19-16,-19 0 15,-106 0-15,1 0 0,17-19 16,53 2-16,-87 17 0,122-53 16,-123 35-1,-1 1-15,72-54 16,-53 18-16,-1-18 15,-52 54-15,52-71 16,-52 35-16,-1-18 16,2 2-16,-19-2 15,0 35 1,0 1-16,0-35 0,0-1 16,-19-36-16,2 73 15,-18-54-15,-1 17 16,-35-17-16,-17 17 15,18 35-15,-53-16 16,-72-36 0,54 52-16,-123 2 15,123 15 1,-1 2-16,72 17 0,-1 0 16,0 0-16,-87 0 15,-53 0-15,122 0 16</inkml:trace>
  <inkml:trace contextRef="#ctx0" brushRef="#br0" timeOffset="18153.81">6358 3709 0,'90'-36'16,"-73"19"-16</inkml:trace>
  <inkml:trace contextRef="#ctx0" brushRef="#br0" timeOffset="18910.68">7753 3849 0,'17'-17'15,"35"0"1,-16 17 0,18-18-16</inkml:trace>
  <inkml:trace contextRef="#ctx0" brushRef="#br0" timeOffset="19391.7">7117 3832 0,'36'-17'46,"-19"-1"-46,18 18 16,1-18-16</inkml:trace>
  <inkml:trace contextRef="#ctx0" brushRef="#br0" timeOffset="19790.75">9322 3639 0,'71'-19'31,"-54"19"-31,1 0 0,18-17 16,-2 17-16,-16-18 15,18 18-15</inkml:trace>
  <inkml:trace contextRef="#ctx0" brushRef="#br0" timeOffset="23517.03">5724 6919 0,'17'36'47,"-17"-19"-47,0 0 0,-17 54 16,17-35 0,-18 52-16,-16-17 15,34-37 1,0-16-16,-36 52 15,18-16 1,18-37 0</inkml:trace>
  <inkml:trace contextRef="#ctx0" brushRef="#br0" timeOffset="24077.67">6324 7043 0,'-54'70'16,"54"-52"-16,-34 16 16,-2 2-1,-16 35-15,33-36 16,-16 1 0,18-19-16</inkml:trace>
  <inkml:trace contextRef="#ctx0" brushRef="#br0" timeOffset="24305.82">5953 7096 0,'36'17'15,"-36"1"-15,35-1 16,-18 0-16,2 2 15,15 16-15,-16-18 16,35 19-16,-36-19 16,19 1-16,-18-18 0,-1 18 15,0-18-15,2 0 16,-2 0-16</inkml:trace>
  <inkml:trace contextRef="#ctx0" brushRef="#br0" timeOffset="24819.43">6836 7007 0,'-19'0'15,"2"18"1,-1 0-16,18-1 15,0 0-15,-17 37 0,17-37 16,0 0-16,-17 37 0,34-37 16,-17 2-16,0-2 0,0 0 15,0 1-15,17 0 0,1 0 16,-18-1-16,17-17 0,2 17 16,-2-17-1,0 0-15,19-17 16,-18 0-16,-1-1 15,-17 0-15,0-17 16,0-1 0,0 1-16,-17 18 0,17-2 15,-18 2-15,0-18 16,0 35-16,18-17 16</inkml:trace>
  <inkml:trace contextRef="#ctx0" brushRef="#br0" timeOffset="25016.66">7153 7131 0,'17'0'16</inkml:trace>
  <inkml:trace contextRef="#ctx0" brushRef="#br0" timeOffset="26134.75">7505 7007 0,'71'18'15,"-71"0"-15,18-18 0,-18 17 16,0 0-16,0 2 16,0 16-16,-18-18 0,0 19 15,1-19 1,0 18-16,-2-16 15,2-19-15,17 17 16,-18 0 0,36 1-1,-1-18 1,2 0 0,-2 0-16,0 0 15,1 0-15,18 0 16,-19 0-16,0 0 15,19-18-15,-18 18 16</inkml:trace>
  <inkml:trace contextRef="#ctx0" brushRef="#br0" timeOffset="26538.59">8070 7096 0,'-36'0'16,"19"0"-16,0 17 15,-37 1 1,37-1-1,0-17 1,34 17 0,-17 2-16,17-19 15,-17 17-15,18-17 16,-18 18-16,18-18 0,-18 17 16,18 2-16,-1 15 15,-34-16 1,-1 0-16,0 0 15,0-18-15,1 17 16,0-17-16,-2 17 0,2-17 16,-1 0-16</inkml:trace>
  <inkml:trace contextRef="#ctx0" brushRef="#br0" timeOffset="29212.17">6977 7519 0,'69'34'0,"-33"2"16,-1-36-16,18 35 16,-35-35-16,18 19 0,52 15 15,-54-34-15,54 36 16,-34-36-16,104 35 16,-122-35-16,104 0 15,-104 0 1,52-17-16,-34 17 15,16-18-15,-35 18 0,1 0 16,-1-18-16,35 0 0,-35 18 16,1-17-16,17 0 0,-18-2 15,18 2-15,-1-18 16,-33 35-16,-2-19 16,1 2-16,35 0 0,-36-18 15,1 16-15,0-15 16,0 16-16,-18 0 15,17 0-15,-17 1 16,0-36-16,0 35 16,0 1-16,0 0 15,0-2-15,-17-16 16,-1-18-16,0 18 16,18 18-16,-52-36 15,16-1 1,-52-16-16,17 18 15,36 33 1,-18-16-16,17 18 0,1-2 0,-53-15 16,0-1-16,52 16 0,-52-15 15,0-2 1,-36 1-16,54 18 16,-36-19-1,53 36 1,-52-18-16,70 1 15,-54 17-15,37 0 16,-2 0 0,-34 0-1,52 0-15,-33 17 0,33-17 16,-17 35 0,35-35-16,-52 36 15,52-19 1,-52 37-16,35-20 15,-18 37 1,35-35 0,0-19-16,0 37 15,1 34 1,17-18 0,0-35-1,0-18-15,17 90 16,1-55-1,35 55 1,0-37-16,18-18 16,-19-16-1,37 35 1,-37-36 0,-16 1-16,-18-36 15</inkml:trace>
  <inkml:trace contextRef="#ctx0" brushRef="#br0" timeOffset="40374.93">6112 9107 0,'17'34'16,"-17"-16"-16,-17 52 15,17-34-15,0 16 16,-18-16-16,18-1 0,-17 18 16,17-35-16,-17 18 15,17-19-15,0 0 0,-19 19 0,19-18 16,-17-18-1,17 17-15</inkml:trace>
  <inkml:trace contextRef="#ctx0" brushRef="#br0" timeOffset="40623.62">6641 9195 0,'0'0'16,"-17"34"-1,-37 54 1,37-52-16,0-1 16,-1-16-16,0 33 15,0-35-15,-16 36 16,15-35-16,19 0 0,-17 17 15,-1-18-15</inkml:trace>
  <inkml:trace contextRef="#ctx0" brushRef="#br0" timeOffset="40858.93">6394 9317 0,'18'19'16,"-1"-19"-16,2 17 15,51 37 1,-18-20-16,-16-16 16,-1-1-1,18 2-15,-35-19 16,18 17-16</inkml:trace>
  <inkml:trace contextRef="#ctx0" brushRef="#br0" timeOffset="41138.12">7453 9071 0,'-36'36'31,"36"-19"-31,-17 54 0,17-1 16,-18-18 0,18 38-1,-17 15 1,17-34-1,0-54-15,-19 0 16</inkml:trace>
  <inkml:trace contextRef="#ctx0" brushRef="#br0" timeOffset="41371.65">7136 9705 0,'34'-17'16,"-16"17"-1,-1-17-15,2 17 16,15 0-16,-16 0 0,88-18 16,-71 18-16,53 0 15,-35-17-15,18 17 16,-18 0-1,-35 17-15,16-17 0</inkml:trace>
  <inkml:trace contextRef="#ctx0" brushRef="#br0" timeOffset="41821.78">7470 9917 0,'18'0'16,"-53"36"15,16-18-15,-15 16-1,34-15-15,-18-19 0,18 17 16,-17 1-16,17-1 16,0 2-16,17-2 15,1-17 1,35 17-16,-18-17 15,18 18-15,-18-18 16,1 0-16,16 0 16,-34 0-1,0 0-15,-1-18 16,0 18 0</inkml:trace>
  <inkml:trace contextRef="#ctx0" brushRef="#br0" timeOffset="42007.86">7682 9935 0,'-18'0'15,"18"18"-15,0 17 16,-18 1-16,18 16 16,0-16-16,0-19 0,-17 89 15,0-36 1,17-52-16,0 18 0,-18 17 15,0-18 1,18-18-16</inkml:trace>
  <inkml:trace contextRef="#ctx0" brushRef="#br0" timeOffset="42525.35">7100 8912 0,'-54'71'0,"20"-35"0,-20 86 15,196-351-15,-318 600 0,140-283 16,18 0-16,1 0 0,-19 89 16,36 70-1,19-89-15,-2-87 0,18 0 16,1-19-16,34 37 15,-35-54-15,1 1 0,35-2 16,17-34 0,-54 0-16</inkml:trace>
  <inkml:trace contextRef="#ctx0" brushRef="#br0" timeOffset="42880.79">7858 8877 0,'142'282'0,"-90"-124"16,1 178 0,-36-177-16,-34-106 15,17 70-15,-35 1 16,17-72-16,0-16 15,1-1-15,-18 18 0,17-36 16</inkml:trace>
  <inkml:trace contextRef="#ctx0" brushRef="#br0" timeOffset="45180.56">8264 4644 0,'0'52'31,"0"-33"-31,-18-2 0,18 0 15,0 19-15,-17-18 0,0 52 16,-2-52-16,2 16 0,-1 2 16,1-1-16,17-16 15,-19-2 1</inkml:trace>
  <inkml:trace contextRef="#ctx0" brushRef="#br0" timeOffset="45505.74">8193 4625 0,'-17'19'0,"-1"-19"16,18 17-16,-17-17 0,-2 0 0,19 18 15,-17-18-15,0 17 0,-1 2 16,0-2-16,36 0 47,0-34-47,-1 17 0,0 0 16,37 0-16,-18 0 0,-19 0 15,18 17-15,1-17 0,-19 0 16,18 0-16,1 18 0,-2-18 15,-15 18-15,-2-18 0,1 18 16</inkml:trace>
  <inkml:trace contextRef="#ctx0" brushRef="#br0" timeOffset="46764.51">8988 9177 0,'0'35'31,"0"-18"-31,0 37 0,0-1 16,-19-18-1,19 1-15,0 33 0,0-16 16,0-35-16,0 18 0,-17-2 15,34 20 1</inkml:trace>
  <inkml:trace contextRef="#ctx0" brushRef="#br0" timeOffset="46981.77">8793 9459 0,'53'17'0,"-35"-17"16,-1 0-16,19 19 0,-19-19 16,18 0-16,-16 0 0,15 17 0,37-17 15,-36 0-15,1 0 0,-2 0 16,2 0-16</inkml:trace>
  <inkml:trace contextRef="#ctx0" brushRef="#br0" timeOffset="47954.76">9974 9107 0,'0'-19'0,"19"2"15,16-1 1,1 36-1,-19-18-15,18 17 16,-35 2-16,0-2 16,0 0-16,0 19 0,-18-1 15,1-18-15,0 1 0,-2 18 16,2-19-16,-18 19 0,16-19 16,2 1-16,0-1 15,-1 2-15,1-2 16,34 0 15,1-17-31,-1 0 16,19 0-16,-1 0 15,-18 18-15,36-18 16,-17 0-16,16 0 16,2-18-16,-37 18 0,19 0 15</inkml:trace>
  <inkml:trace contextRef="#ctx0" brushRef="#br0" timeOffset="48167.03">10857 9159 0,'-36'36'31,"19"-19"-31,17 0 15,-18 1-15,1 18 0,-19-2 16,1 20-16,18-37 16,17 2-16,-36 15 0,36-16 0,-17-1 15</inkml:trace>
  <inkml:trace contextRef="#ctx0" brushRef="#br0" timeOffset="48360.2">10557 9265 0,'0'-18'0,"0"36"16,35-18-1,-17 18 1,17 16-16,1-15 16,-36-2-16,35 1 0,1-1 15,-2 2-15,1-19 16,1 17-16</inkml:trace>
  <inkml:trace contextRef="#ctx0" brushRef="#br0" timeOffset="48586.46">11333 8948 0,'0'35'16,"-17"-18"0,17 2-16,-18 15 15,0 20-15,0-2 16,1-16-16,17-19 0,-17 0 16,17 37-16,-19-20 15</inkml:trace>
  <inkml:trace contextRef="#ctx0" brushRef="#br0" timeOffset="48845.96">11721 9088 0,'-17'19'31,"-19"15"-16,-34 37-15,34-36 16,2 18-16,-56 35 0,-15 0 16,0 36-1,34-53-15,35-37 16,19-15-16,-18 16 16,16-18-16,19 2 0,-17-19 15</inkml:trace>
  <inkml:trace contextRef="#ctx0" brushRef="#br0" timeOffset="49320.74">11704 9724 0,'17'0'16,"-52"35"-1,17-18 1,0 2-16,1-2 16,0 0-16,-1-17 0,0 18 15,0 0-15,1 17 16,0-35-16,17 17 16,0 1-1,17 0-15,0 0 16,1-18-16,0 0 15,17 17 1,-18-17-16,19 0 16,-18 0-16,16 0 15,-15 0-15,-2 0 16,1-17-16,-1-1 16</inkml:trace>
  <inkml:trace contextRef="#ctx0" brushRef="#br0" timeOffset="49527.93">11880 9705 0,'-35'0'16,"35"19"-16,-17-2 16,-2 1-16,19-1 0,71-88 0,-177 231 15,89-125-15,17-18 0,-19 19 16,19 16-16,-17 2 15,17 16 1,0-52-16,0-1 0,0 2 16</inkml:trace>
  <inkml:trace contextRef="#ctx0" brushRef="#br0" timeOffset="49953.76">12780 9141 0,'-18'71'0,"18"-54"16,-18 37-16,18-20 0,0-15 15,-18 33-15,18 1 16,0-35-16,0-1 0,-17 2 16,17-2-16,0 0 0</inkml:trace>
  <inkml:trace contextRef="#ctx0" brushRef="#br0" timeOffset="50134.55">12533 9353 0,'17'-17'15,"18"17"-15,-16 0 0,-2 0 16,18 0-16,35 0 15,-34 0-15,52 0 0,-53 0 16,1 0-16</inkml:trace>
  <inkml:trace contextRef="#ctx0" brushRef="#br0" timeOffset="50694.57">13680 9036 0,'34'0'16,"-16"0"-16,0 0 0,0 17 15,-18 18 1,-18-35-16,18 36 15,-36-19-15,19 1 0,0 0 16,-2 0-16,2-1 16,34 0 15,2-17-31,-2 0 16,-17 18-16,17-18 0,1 0 15,0 18-15,0-18 0,-18 18 16,0-1-1,0 0-15,-18-17 0,18 19 16,-18-19-16,-17 35 16,18-35-16,-19 36 0,-35-19 15,36 0-15,18 1 16,-2-18 0</inkml:trace>
  <inkml:trace contextRef="#ctx0" brushRef="#br0" timeOffset="50899.83">14278 9107 0,'-34'34'15,"16"-16"-15,18 0 16,-18 0-16,0 16 0,1-16 15,0 0-15,-1 34 0,0-33 16,-17 16-16,35-18 16,-17 2-16</inkml:trace>
  <inkml:trace contextRef="#ctx0" brushRef="#br0" timeOffset="51094.74">13978 9247 0,'0'0'16,"36"18"-1,35 34 1,-54-52 0,19 36-16,-1-36 0,18 18 15,18 18-15,-36-36 16</inkml:trace>
  <inkml:trace contextRef="#ctx0" brushRef="#br0" timeOffset="51417.5">14949 8912 0,'17'88'16,"-17"-69"-16,0-2 15,-17 35-15,17-16 0,0-1 0,-17 35 16,17-52 0,-18 18-16,18-2 0,-18-15 0,18-2 15,0 1-15</inkml:trace>
  <inkml:trace contextRef="#ctx0" brushRef="#br0" timeOffset="51630.96">15354 9195 0,'0'0'15,"-34"34"-15,-2 2 16,-16 16-16,16-16 0,1-1 16,-1 1-16,-52 35 15,53-37-15,-35 20 16,34-20-16,1-15 0,-1 16 15,19-1-15,-1-15 16</inkml:trace>
  <inkml:trace contextRef="#ctx0" brushRef="#br0" timeOffset="51964.78">15390 9617 0,'-36'19'15,"36"-2"1,-17-17-16,0 18 0,-1-18 16,0 17-16,0 0 0,-16 2 15,16-2-15,0 1 16,0 18-16,1-36 0,17 17 15,-17 0-15,17 1 16,17-18-16,-17 18 16,17-18-16,-17 18 0,18-18 15,0 17-15,17-17 16,-18 0-16,1 0 16,0 0-1</inkml:trace>
  <inkml:trace contextRef="#ctx0" brushRef="#br0" timeOffset="52162.79">15373 9724 0,'-36'17'0,"19"1"15,17-1-15,-18 2 0,0 15 0,18-16 16,-35 35-16,35-18 15,-17 18-15,-1-17 0,0 35 16,0-54 0,18 0-16,0 1 15,0-1-15</inkml:trace>
  <inkml:trace contextRef="#ctx0" brushRef="#br0" timeOffset="52595.64">14896 8912 0,'-52'124'16,"33"-72"-16,-16 1 0,18 35 16,-19-17-16,-16 88 15,-19 87-15,71-192 16,0 70-16,18-36 16,-1-35-16,-17-36 15,17 18-15,19-16 0,-18-2 16,-1-17-16</inkml:trace>
  <inkml:trace contextRef="#ctx0" brushRef="#br0" timeOffset="52886.8">15901 8736 0,'19'247'16,"-19"-177"-16,-19 18 15,2 0-15,-1-17 0,1 17 0,-54 71 16,35-89-16,2 1 0,-72 53 15,53-53-15,0-37 0,-70 54 16</inkml:trace>
  <inkml:trace contextRef="#ctx0" brushRef="#br0" timeOffset="53658.9">11157 8841 0,'-17'71'16,"-2"-18"-16,-16 18 0,-1 88 16,19-89-16,-18 18 0,-1 88 15,19-88-15,-18 71 16,17 53-1,18-105-15,18-73 0,0 37 16,-18-54-16,34 19 16,-15-18-16,-2-18 0,18 0 0,1 0 15</inkml:trace>
  <inkml:trace contextRef="#ctx0" brushRef="#br0" timeOffset="53973.56">12197 8771 0,'71'212'0,"-18"-54"0,-53-52 15,17-17-15,-17 16 16,0 90-16,0-90 0,-17-17 16,-36 107-16,-18-36 15,54-89-15,-54 53 16</inkml:trace>
  <inkml:trace contextRef="#ctx0" brushRef="#br0" timeOffset="54517.42">16625 8929 0,'0'71'16,"0"-52"0,-17 15-16,17 1 0,-19 72 15,-16-19-15,35-35 0,-17-18 16,-2 18-16,19-18 15,-17 1-15,17-2 0,-17-16 0,17 0 16,0 0-16,0-1 0,-18 0 16</inkml:trace>
  <inkml:trace contextRef="#ctx0" brushRef="#br0" timeOffset="54699.74">16430 9424 0,'19'0'0,"-2"0"16,1-17-16,16 17 15,20 0-15,-37 0 16,19 0-16,-1-19 0,-17 19 16,17 0-16,0 0 0</inkml:trace>
  <inkml:trace contextRef="#ctx0" brushRef="#br0" timeOffset="55078.79">17842 8983 0,'-18'17'16,"0"-17"-16,-16 36 16,-2-19-1,-16 18-15,33-16 16,2-2-16,-18 0 0,16 1 16,-15 18-16,16-19 15,1 0-15,17 1 16,0 0-1,17 0-15,1-18 16,16 17-16,-15-17 0,-2 17 16,1-17-16,-1 0 0,2 0 15,-2 0-15,0 0 0,1 0 16,35 0-16,-36-17 0,1 17 16,0-17-16</inkml:trace>
  <inkml:trace contextRef="#ctx0" brushRef="#br0" timeOffset="55278.8">17842 9053 0,'-36'35'16,"36"-16"-16,-17-2 16,17 36-16,-17-18 15,17 0-15,-18 18 16,0 18-16,0-54 0,18 19 15,-17 16-15,17-16 16,0-19-16,0 1 16,141-512-16,-282 1006 0</inkml:trace>
  <inkml:trace contextRef="#ctx0" brushRef="#br0" timeOffset="55484.1">18548 9071 0,'0'0'0,"-71"70"16,54-34-16,-37 16 16,1 2-16,36-20 15,-37 20-15,-16-1 16</inkml:trace>
  <inkml:trace contextRef="#ctx0" brushRef="#br0" timeOffset="55675.66">18230 9177 0,'18'35'15,"16"-18"1,-15 19 0,52-1-16,-54-35 15,18 17-15,-18-17 0</inkml:trace>
  <inkml:trace contextRef="#ctx0" brushRef="#br0" timeOffset="55889.58">19006 8929 0,'0'36'16,"0"-18"-16,0 18 16,-17 16-16,-2-16 15,19-2-15,-34 54 0,16-52 16,18-1-16,-36 18 15,19 1-15,17-37 0,0 0 16,0 1-16</inkml:trace>
  <inkml:trace contextRef="#ctx0" brushRef="#br0" timeOffset="56122.56">19641 9124 0,'-35'17'16,"17"1"-16,-34 18 0,-2-2 16,1 20-16,-106 70 15,37-19 1,15-17-16,55-52 0,-37 33 16,54-33-16,-18 18 15,18-37-15,18 18 16,-2-35-16,2 18 0,17 0 15</inkml:trace>
  <inkml:trace contextRef="#ctx0" brushRef="#br0" timeOffset="56618.66">19553 9741 0,'-36'0'31,"19"18"-31,-18-1 0,18-17 16,-2 19-16,-33-2 16,33 0-16,-33 19 0,34-36 15,-17 35-15,18 0 16,-1-35-16,18 18 15,-18 0 1,36-1-16,0-17 16,-1 0-16,18 0 0,-17-17 15,34 17 1,-33-18-16,16 18 0,-18-18 0,36-17 16,1 0-16,-37-1 15,0 19-15,1 0 16,0-2-16,-18 2 0,18-1 15,-36 53 17,0 1-32,0-1 15,-52 71-15,35-35 16,18-36-16,-2 1 16,-16 16-16,-1 1 15,19 0 1</inkml:trace>
  <inkml:trace contextRef="#ctx0" brushRef="#br0" timeOffset="57054.62">18989 8577 0,'-124'176'16,"36"-34"-16,52-72 16,1 18-16,-18 18 0,-35 88 15,53-88-15,-54 230 16,89-266-1,0-18-15,89 195 16,-1-176 0,-70-53-1,52-18-15,-16 0 0</inkml:trace>
  <inkml:trace contextRef="#ctx0" brushRef="#br0" timeOffset="57366.75">20417 8736 0,'-35'300'0,"70"-600"16,-123 793-16,53-369 0,-54 123 16,1-18-1,53-141-15,-71 107 0,71-107 16,-106 159-16,53-106 16,34-70-16,-227 158 31,174-177-31</inkml:trace>
  <inkml:trace contextRef="#ctx0" brushRef="#br0" timeOffset="58105.54">6429 11100 0,'-17'0'15,"53"17"1,-19-17-16,0 18 0,19-18 15,16 0-15,72 0 16,-36 17-16,230-17 16,-194 17-16,176-17 0,-124 19 15,194-2-15,18 1 16,35 18-16,282-2 16,-210 2-1,34-1-15,89-18 16,-72 1-1,89 18-15,-352-36 0,334 34 16,-265 2-16,513 35 16,-601-54-16,0 18 0,-16-16 15,263 33-15,213 18 16,-477-34 0,-35-18-16,193 35 0,-212-36 15,231 18-15,-300-35 16,-18 0-16,-36 19 0</inkml:trace>
  <inkml:trace contextRef="#ctx0" brushRef="#br0" timeOffset="59020.59">12180 12087 0,'-18'18'16,"1"0"-16,-19-1 0,19 0 15,-1 2-15,-18 16 0,-16 18 16,-1-18-16,36-18 16,-2 19-16,2-19 0,-1 1 15,1 18-15,17-19 16,17 0-16,-17 1 0,18-18 16,-18 18-16,17-18 0,2 18 15,-2-18-15,18 17 0,-17-17 0,0 0 16,16 0-16,37-17 15,-35 17-15,-19-18 0,37 0 16,-37 18-16,-17-18 0,17 1 16</inkml:trace>
  <inkml:trace contextRef="#ctx0" brushRef="#br0" timeOffset="59187.37">12304 12176 0,'-36'17'15,"36"1"1,-18-1-16,18 0 0,-34 54 15,34-35-15,-19 17 16,2-1-16,-1-16 0,18 16 16,-36 55-16,36-72 0,-17 18 0,17-18 15,0 1-15,-17-2 0,17 2 16,0-1-16,0-18 0</inkml:trace>
  <inkml:trace contextRef="#ctx0" brushRef="#br0" timeOffset="59526.72">11245 14257 0,'53'0'0,"-35"0"0,-89 0 16,176 0-16,-86 0 0,16 0 16</inkml:trace>
  <inkml:trace contextRef="#ctx0" brushRef="#br0" timeOffset="59721.97">11086 14468 0,'18'19'16,"-1"-19"-1,19 0-15,-19 0 16,37 0-16,16 0 0,-35 0 16,1 0-16,-1 0 0,18-19 15,52 19 1</inkml:trace>
  <inkml:trace contextRef="#ctx0" brushRef="#br0" timeOffset="60187.81">12374 14063 0,'52'0'16,"-33"17"-16,-2 2 15,1 50 1,-53-16 0,-1 1-16,19-37 15,-1 0-15,-18 37 16,19-37-16,-19 19 16,19-19-16,17 1 0,-18-18 15,18 17-15,18-17 16,-1 0-1,2 0-15,-2 0 0,18 0 16,1 0 0,-19 0-16,0-17 0,19 17 15,-18 0-15,-1 0 0,19 0 16</inkml:trace>
  <inkml:trace contextRef="#ctx0" brushRef="#br0" timeOffset="60350.54">12726 14309 0,'0'-17'0</inkml:trace>
  <inkml:trace contextRef="#ctx0" brushRef="#br0" timeOffset="60673.48">13168 14168 0,'-36'0'31,"18"0"-31,1 0 0,0 19 0,-19-19 16,-16 34 0,33-16-1,19 0 1,0 0-16,19-18 0,-19 17 16,17 0-16,0 19 15,1-18-15,-18-1 16,0 0-16,-18 2 15,18-2-15,-17 18 0,0-16 16,-2-2-16,2 0 0,-18 1 0,16-1 16,2 2-16,-18 15 15,18-16-15</inkml:trace>
  <inkml:trace contextRef="#ctx0" brushRef="#br0" timeOffset="60864.23">13521 14204 0,'-71'123'0,"18"-87"16,17-2-16,-69 73 0,34-55 0,18-16 15,-70 52-15,106-52 16,-19-19-16,1 18 0</inkml:trace>
  <inkml:trace contextRef="#ctx0" brushRef="#br0" timeOffset="61017.49">13344 14680 0,'-71'105'0,"36"-69"0,141-177 16,-248 317-16,90-123 0,-1 1 15,-106 68-15,123-86 0,-52 18 16,71-20-16,-18-34 16</inkml:trace>
  <inkml:trace contextRef="#ctx0" brushRef="#br0" timeOffset="61910.68">7717 10693 0,'36'-17'16,"-19"17"-1,35 0-15,-16-17 0,18 17 16,34 0 0,-54 0-16,2 0 0,-18 0 15,16-18-15</inkml:trace>
  <inkml:trace contextRef="#ctx0" brushRef="#br0" timeOffset="62521.76">11828 10552 0,'34'0'31,"1"0"-31,-16 0 0,15 0 0,142 19 31,-52-19-31,140-19 16,-210 19 0,-1 0-16</inkml:trace>
  <inkml:trace contextRef="#ctx0" brushRef="#br0" timeOffset="62961.48">15408 10588 0,'53'17'0,"-18"-17"15,1 0-15,-19 0 0,106 0 16,18 18 0,-88-18-16,-18 0 15,36 0-15</inkml:trace>
  <inkml:trace contextRef="#ctx0" brushRef="#br0" timeOffset="63353.94">19270 11169 0,'71'0'0,"-18"0"16,-18 0-16</inkml:trace>
  <inkml:trace contextRef="#ctx0" brushRef="#br0" timeOffset="64719.63">21246 9759 0,'54'0'0,"-2"0"15,-35 0-15,2 0 0,-2 0 16,0 0-16,37 0 0,-37 0 16,0 0-16,2 17 15</inkml:trace>
  <inkml:trace contextRef="#ctx0" brushRef="#br0" timeOffset="64885.71">21246 9971 0,'0'17'0,"18"0"16,-1-17-16,19 19 15,-19-19-15,1 0 16,-1 0-16,19 0 0,-19-19 0,1 19 15,35 0-15,-17 0 16,-19-17-16,1 17 0</inkml:trace>
  <inkml:trace contextRef="#ctx0" brushRef="#br0" timeOffset="65487.48">22269 9812 0,'17'0'16,"-17"-17"-16,36 17 0,-89 17 0,124-53 0,-35 36 15,-2-35-15,-34 18 0,18 17 16,-1-19-16,2 2 0,-19 0 16,17-1-16,-17 1 0,17-2 0,-17 2 15,0 0-15,0-1 16,-17 18-1,-19 18 1,19-18-16,17 17 0,-18 0 16,18 2-16,-17-2 0,17 1 15,0-1-15,0 19 0,0-19 16,17 1-16,1-1 0,-18 2 16,17-19-16,19 17 0,-19-17 15,37 17-15,-20-17 0,2 0 16,-1 18-16,1-18 0,-1-18 15</inkml:trace>
  <inkml:trace contextRef="#ctx0" brushRef="#br0" timeOffset="66593.91">23028 9724 0,'-18'0'0,"18"-19"0,-17 19 16,-19 0-16,36-17 0,-17 17 0,-1 0 15,-35 17-15,36-17 16,-1 0-16,-18 19 15,2-19-15,34 17 0,-19-17 16,19 18 0,19-1-16,-2-17 15,0 0-15,1 0 16,194-52-16,-406 104 0,229-52 16,-18 0-1,1 19-15,-18-2 16,0 0-1,0 1-15,0 18 0,0-19 16,-18 18-16,18-17 0,0 0 16,0-1-16,-17 0 0,17 2 15,0-2-15,17 1 16,1-1-16,0-17 16,0-17-1,-1 17-15,0-18 16,2 18-16,-2-17 0,1-2 0,-1 2 0,0-18 15,37-1-15,-37 19 16,2-18-16,15 17 0,-34 0 16,18 1-16,0 0 0,-18-2 15,18 19-15,-1-17 16,-34 53 15,-1-36-31,18 17 16,-18 0-16,18 1 15,0 0 1,18 0-16,0-18 16,16-18-1,-16 18-15,0-18 16,0 18 0,-1 0-16,-17-18 15,17 36 1,2-18-16,-19 18 15,17-18 1,-17 18-16,18-18 16,18 0-16,-2 0 15,-16 0-15,-1 0 0,19 0 0,-1-18 16,1 18-16,-19-18 16,0 18-16,2-18 0,-2 18 0,1-17 15,-18 0-15,17 17 16,-17-19-16,0 2 15,-17 17 1,-1 0-16,1 0 16,-2 17-1,2 2 1,34-2 0,2 0-1,-2-17 1,1 0-16,-1 0 15,0 0 1,2 0-16,-2-17 16,1 17-16,18-17 15,-19 17-15,-17-19 0,17 19 16,1-17-16,0-1 0,0 1 0,-1 17 16,-17-19-16,35 2 15,-17 0-15,0 17 16,-18 17-1,0 0 1,0 2-16,0 16 16,0-18-16,0 2 15,0-2-15,17-17 0,-17 17 16,17-17-16,2 18 0,-2-18 16,1 0-1</inkml:trace>
  <inkml:trace contextRef="#ctx0" brushRef="#br0" timeOffset="70213.41">7434 8700 0,'0'-17'0,"19"-1"16,-19 1-1,17-19 1,1 19-1,-18-1-15,17 1 0,-17-2 16,19 2-16,-19 0 16,17-1-16,0 0 0,-17 0 0,18 1 15,0 0-15,0-1 0,16-35 16,2 17-16,-18 1 0,70-70 16,-54 86-1,2-15-15,-18-2 0,18 1 0,34-18 16,-35 18-16,0 18 0,1-19 15,52-18-15,-18 2 16,-16 16-16,-20 2 0,20 16 16,-20 0-16,20-17 0,-1 18 15,-1-2-15,1-16 0,53-1 16,18 2-16,-54 16 16,89 1-16,-88-2 0,17 2 15,-18 17-15,72-17 0,-1-1 16,-53 18-16,-17 0 15,-1-18-15,1 18 0,88 0 16,-71 0-16,-18 0 0,89 18 16,-18 0-16,-71-18 15,0 17-15,89 19 0,-88-19 16,53 18-16,-71-18 16,70 37-16,-17-18 15,-71-2-15,18-16 0,89 70 16,-108-52-16,54 17 15,-34-36-15,-20 18 16,37 18-16,-35-18 0,-1 1 16,35 17-16,-16 18 15,-37-54-15,19 35 16,-1 2-16,-35-18 16,17-19-16,0 0 0,19 37 0,-36-37 15,18 18-15,-1 1 16,2-19-16,-19 0 15,17 19-15,0-18 16,-17-1 0,18-17-16,-18 17 15,17 2 1,-17-2 31,19-34 265,-19-2-296,0 2 0</inkml:trace>
  <inkml:trace contextRef="#ctx0" brushRef="#br0" timeOffset="71617.75">26256 9565 0,'-18'88'16,"18"-70"-16,0-1 0,-17 19 15,-2-1-15,19-18 0,-17 54 16,-18-18-16,17-18 15,18-17-15</inkml:trace>
  <inkml:trace contextRef="#ctx0" brushRef="#br0" timeOffset="71859.28">26678 9812 0,'-52'35'0,"35"-17"16,-2 0-16,-15-1 0,-37 54 15,18-37-15,18-15 0,-18 16 16,-1 18-16,-34-1 0,54-16 16,-20-19-16,-16 54 15,35-54-15,18 1 0,-2 0 0,2 0 16,-18 16-16,16-34 15</inkml:trace>
  <inkml:trace contextRef="#ctx0" brushRef="#br0" timeOffset="72222.67">26468 10393 0,'-36'0'31,"18"19"-31,-16-2 16,-20 18 0,37-16-16,-2-19 15,19 17-15,-17 0 0,0 18 16,-1-16-16,18-2 15,0 0 1,18 1-16,-1 0 0,0-18 16,2 0-16,-2 0 0,1 0 15,18 0-15,-19 0 16,18 0-16,-18-18 0,2 18 16,-2-18-16,18 1 0,-17 0 15,0-19 1</inkml:trace>
  <inkml:trace contextRef="#ctx0" brushRef="#br0" timeOffset="72394.99">26661 10393 0,'17'-52'16,"-34"87"31,17-18-47,0 2 0,-17-2 16,-1 54-16,18-36 15,0-18-15,-17 19 0,17-1 0,-19 18 16,19-17-16,-17-19 0,17 18 15,88-406-15,-176 778 0,88-390 16,17-17 0</inkml:trace>
  <inkml:trace contextRef="#ctx0" brushRef="#br0" timeOffset="72654.64">27420 9759 0,'-18'53'15,"18"-18"1,0-17-16,-17 17 0,17 0 15,-19-17-15,2 53 0,17-54 16,-17 18-16,-1-16 0,18 15 0,-17-16 16,17-1-16</inkml:trace>
  <inkml:trace contextRef="#ctx0" brushRef="#br0" timeOffset="72839.46">27208 10059 0,'18'0'15,"34"-18"1,-33 18-16,-2 0 0,18 0 16,1 0-16,-19 0 15,18-17-15</inkml:trace>
  <inkml:trace contextRef="#ctx0" brushRef="#br0" timeOffset="73027.08">27896 9724 0,'36'-36'0,"-124"143"47,176-178-47,-106 88 0,-35 125 31,88-301-31,-87 388 0,33-211 15,-16 52-15,18-35 16,17-16-16,-19 15 16,19-16-16</inkml:trace>
  <inkml:trace contextRef="#ctx0" brushRef="#br0" timeOffset="73257.6">28302 9971 0,'18'0'0,"-54"34"16,18-15-16,1-2 0,-19 18 15,-69 53 1,34-17-16,36-35 16,-1-19-16,-52 54 0,54-37 15,-2-15-15,18 16 16,1-18-16,-2-17 0,2 36 15,0-36 1</inkml:trace>
  <inkml:trace contextRef="#ctx0" brushRef="#br0" timeOffset="73635.89">28125 10429 0,'-35'18'15,"-1"-1"1,19 2-16,-18 15 0,17-16 15,-17-1-15,18 19 16,-1-19-16,0 1 16,0 0-16,18 0 15,0-1-15,18-17 16,-18 17-16,36 2 16,-19-19-1,18 0-15,-17 0 0,0 0 16,-1-19-16,19 19 15,-19-17-15,1 17 16,-1-17-16</inkml:trace>
  <inkml:trace contextRef="#ctx0" brushRef="#br0" timeOffset="73778.66">28213 10552 0,'36'-35'47,"-89"159"-16,35-106-31,-18 70 15,19-71-15,-18 54 16,35-35-16,0-19 16,0 0-16</inkml:trace>
  <inkml:trace contextRef="#ctx0" brushRef="#br0" timeOffset="74144.2">28884 9883 0,'0'34'15,"0"2"-15,0-1 0,-18 18 16,18 1-1,0-37-15,-17 54 0,17-54 0,-19 0 16,19 1-16,0 0 16,0 0-16</inkml:trace>
  <inkml:trace contextRef="#ctx0" brushRef="#br0" timeOffset="74291.56">28742 10147 0,'71'-18'15,"-35"18"-15,-19 0 0</inkml:trace>
  <inkml:trace contextRef="#ctx0" brushRef="#br0" timeOffset="74481.17">29448 9847 0,'0'-18'0,"0"36"16,-18 35-1,1-18 1,0 1-16,-1-2 0,0 2 16,0-1-16,18 1 15,0-19-15,0 1 16,0-1-16</inkml:trace>
  <inkml:trace contextRef="#ctx0" brushRef="#br0" timeOffset="74685.72">29977 9988 0,'-35'36'31,"18"-19"-31,-19 1 0,-35 35 15,37-18-15,-2 1 0,-16-2 0,-36 54 16,-90 71 0,161-140-1,-18 15-15,-1 20 0,2-37 16,34 0-16</inkml:trace>
  <inkml:trace contextRef="#ctx0" brushRef="#br0" timeOffset="75119.21">29818 10447 0,'-52'17'15,"34"2"-15,0-19 0,-16 34 16,-2 1-16,1 1 15,35-19-15,-17 1 16,-2 18-16,38-19 16,15-17-1,-16 0 1,-1 0-16,2 0 0,-2-17 16,36-1-16,-1-18 15,-34 19-15,18-19 16,-2 19-16,-15-1 15,-2-16-15,-141-2 47,231 124-47,-126-52 0,2-19 16,0 18-16,-1 18 16,0-36-16,0 19 0,1-1 15,17 1-15,0-19 0,0 1 16,0-1-1,17-17-15</inkml:trace>
  <inkml:trace contextRef="#ctx0" brushRef="#br0" timeOffset="75363.75">30648 10005 0,'-18'19'16,"1"-2"-16,-90 230 47,90-230-32</inkml:trace>
  <inkml:trace contextRef="#ctx0" brushRef="#br0" timeOffset="75527.23">30472 10183 0,'34'-19'0,"20"19"16,-37-17 0</inkml:trace>
  <inkml:trace contextRef="#ctx0" brushRef="#br0" timeOffset="75710.57">31106 9883 0,'0'-18'31,"-124"212"0,90-158-15,16-2 0,-18 20-16,19-37 15</inkml:trace>
  <inkml:trace contextRef="#ctx0" brushRef="#br0" timeOffset="75930.72">31353 10059 0,'0'-18'15,"-35"72"-15,-35 15 16,-1 2-1,-17-1-15,-19 18 16,-15 2 0,51-38-16,35-35 15,19 2-15,-1-2 16</inkml:trace>
  <inkml:trace contextRef="#ctx0" brushRef="#br0" timeOffset="76298.64">31194 10412 0,'-34'17'16,"15"1"-16,2-18 15,-35 36-15,-19 16 16,18-16-1,35-19-15,0 0 32,-246-617-32,546 1200 15,-247-600-15,-18-17 0,2 17 16,-2 0 0,1 0-16,-1 0 15,-17 17 1,-17 19-16,-1-18 15,1 35-15,-512-548 0,1022 1042 16,-510-511 0,17-1-16,-476-687 0,969 1340 15,-476-688-15,37 34 16</inkml:trace>
  <inkml:trace contextRef="#ctx0" brushRef="#br0" timeOffset="76815.61">31900 10183 0,'70'-19'0,"-52"19"15,0 0-15,0 0 0,-1 0 0,0 0 16</inkml:trace>
  <inkml:trace contextRef="#ctx0" brushRef="#br0" timeOffset="76989.58">31777 10359 0,'0'0'0,"35"0"31,-18 0-15,36 0-16,-35 0 0,18 0 15,16 0-15,-16 0 0,-2 0 16,-15 0-16,16 0 15</inkml:trace>
  <inkml:trace contextRef="#ctx0" brushRef="#br0" timeOffset="77662.48">29518 12669 0,'-52'35'15,"16"1"1,2-1-16,16-17 16,0 0-16,0-1 0,-35 18 15,36 1 1,17-19-16,0 0 16,0 2-16,0 16 0,17-35 15,19 17-15,-19-17 16,1 19-16,18-19 15,-19 0-15,0 17 0,54-34 16,-35 17-16,-19-19 16,1 19-16,-18-17 15</inkml:trace>
  <inkml:trace contextRef="#ctx0" brushRef="#br0" timeOffset="77866.94">29677 12704 0,'-52'71'16,"16"-1"-16,19-16 15,-1-1-15,-18 35 16,-16 0-16,-18 36 16,34-55-16,1-15 15,35-37 1,-17 19-16</inkml:trace>
  <inkml:trace contextRef="#ctx0" brushRef="#br0" timeOffset="78110.71">30084 13057 0,'-230'159'16,"142"-106"-1,35-18-15,17 1 0,-104 69 16,33-17 0,2 0-1,69-52-15,1-1 16</inkml:trace>
  <inkml:trace contextRef="#ctx0" brushRef="#br0" timeOffset="78560.89">29484 13939 0,'-54'36'16,"2"-2"0,-1 2-1,17-1-15,831-1058 0,-1642 2117 32,828-1077-32,2 19 0,17-19 15,0 1-15,0 0 16,17 0-16,37 16 15,-37-34-15,2 0 16,-2 0-16,36 0 16,-18 0-16,18 0 15,-18-17-15,1-18 16,-19 17-16</inkml:trace>
  <inkml:trace contextRef="#ctx0" brushRef="#br0" timeOffset="78737.22">29677 13921 0,'-35'18'16,"-123"264"15,140-211-15,0 17-16,18-17 15,18-54 1</inkml:trace>
  <inkml:trace contextRef="#ctx0" brushRef="#br0" timeOffset="79158.42">30472 13092 0,'34'-17'0,"2"17"15,-1 0 1,-18 0-16,2 0 0,-2 0 16,1 0-16,-1 0 0,2 0 15</inkml:trace>
  <inkml:trace contextRef="#ctx0" brushRef="#br0" timeOffset="79324.24">30454 13269 0,'-18'0'15,"54"18"17,-19-18-17,0 0-15,37 0 0,-20 0 16,-156-35-16,263 52 0,-106-17 0,1 0 0,-2 0 16,-298 0-16,563-17 0</inkml:trace>
  <inkml:trace contextRef="#ctx0" brushRef="#br0" timeOffset="79613.32">32236 12564 0,'0'17'16,"0"1"-16,-19 16 0,2 37 16,-1-35-16,1 17 15,0-1-15,-2-16 0,2 16 0,-1 2 16,-18 34-16,19-52 16,-18 52-16,-1-18 15,2 1-15,16-54 0,0 1 16,0-1-16,18 2 0</inkml:trace>
  <inkml:trace contextRef="#ctx0" brushRef="#br0" timeOffset="79861.83">32624 13040 0,'0'35'0,"-19"-18"0,2 2 16,-18 15-16,-36 37 0,-105 88 15,106-106-15,16 0 16,-16-1-16,-1 2 0,-70 68 16,865-791-16,-1590 1445 0,797-723 15,-38 53-15,19-18 16,54-52-16</inkml:trace>
  <inkml:trace contextRef="#ctx0" brushRef="#br0" timeOffset="80081.56">32570 13587 0,'-105'88'16,"52"-54"-16,-1 2 0,-16 18 15,-1-2-15,19-16 0,-89 69 0,70-52 16,-141 89 0,89-54-16</inkml:trace>
  <inkml:trace contextRef="#ctx0" brushRef="#br0" timeOffset="80947.03">32517 12228 0,'0'-71'16,"-17"54"-16,34 105 0,-69-211 0,33 123 15,-15 0-15,-1 0 16,-1 0-16,-264 123 16,229-87-16,-17 16 0,18 1 15,-36 18-15,-52 53 16,16 16-16,-16 72 16,122-141-16,1 17 0,-1-18 15,1 72 1,35-72-16,18 54 0,52 70 15,-34-124-15,16-35 16,-16 18-16,16-17 0,55-1 16,69 0-1,0-35-15,-105-18 16,70-34-16,88-54 16,-158 52-16,105-86 15,-17-54 1,-35-36-16,-36 1 15,-71 36-15,-17-2 16,-71 36-16,2 89 16,-91-36-16,55 70 15,-247 2-15,104 34 16,-52 17-16,141 0 16</inkml:trace>
</inkml:ink>
</file>

<file path=ppt/ink/ink13.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00:13.884"/>
    </inkml:context>
    <inkml:brush xml:id="br0">
      <inkml:brushProperty name="width" value="0.05292" units="cm"/>
      <inkml:brushProperty name="height" value="0.05292" units="cm"/>
      <inkml:brushProperty name="color" value="#0070C0"/>
    </inkml:brush>
  </inkml:definitions>
  <inkml:trace contextRef="#ctx0" brushRef="#br0">5591 5754 0,'-17'-17'0,"17"53"31,0 16-15,0-16-16,0-19 0,17 18 0,-17 1 16,-17-19-16,17 19 0,0-1 0,0 0 15,0 54 1,0-54-16,0-18 0,-17 0 0,17 54 16,0-52-1,-19-2 1</inkml:trace>
  <inkml:trace contextRef="#ctx0" brushRef="#br0" timeOffset="472.14">5469 5754 0,'0'-70'0,"17"35"15,0 35-15,18-17 16,-16 17-16,-2 0 16,0 17-16,19-17 0,-18 17 0,-1-17 0,0 18 15,19 35 1,-18-53-16,-18 17 0,0 2 0,-18 50 15,18-50 1,-17-2-16,-19 37 0,36-37 16,-17 0-16,-19 19 15,36-18 1,-18-18-16,18 17 16</inkml:trace>
  <inkml:trace contextRef="#ctx0" brushRef="#br0" timeOffset="908.35">5927 6196 0,'0'-18'15,"0"36"-15,18-36 0,-18 1 16,0-2-16,0 2 15,-18 0-15,0 17 16,0 17 0,1 0-1,17 2 1,0 33 0,0-35-16,0 2 0,17-19 15,-17 17-15,18 1 16,0-18-16,0 0 0,-1 0 0,0 0 0,1 0 15,35-18 1</inkml:trace>
  <inkml:trace contextRef="#ctx0" brushRef="#br0" timeOffset="1363.25">6262 5896 0,'0'-35'16,"0"70"15,0 18-15,0-18-16,0-17 0,0 17 0,0 70 15,0-69 1,0-1-16,0 1 0,0-1 16,0 1-16,0 34 15,0-35-15,-17-18 0,17 1 16,0 0-16,0 0 0,0-1 0,0 0 15,0 2 1,0-72 15,0-35-15,0 70-16,17-18 0,-17 2 0,0 15 16,0 2-16,17-1 0,-17 1 15,36-36-15,-18 53 31,-1 17-15,-17 0-16,0 2 16,-17-2-16,-1 1 15,0 18 1,18-19-16,-18 0 0,1-17 0,17 18 16</inkml:trace>
  <inkml:trace contextRef="#ctx0" brushRef="#br0" timeOffset="1660.31">6545 6108 0,'-19'0'15,"19"17"1,0 0-1,19 2 1,-19-2-16,17 1 0,-17-1 16,0 0-16,17 2 15,-17-2-15,0 1 16,0-1-16,0 2 16,0-2-16,-17-17 0,17 17 0,-17 1 15,-2-18 1,19 18-1,-17-18-15</inkml:trace>
  <inkml:trace contextRef="#ctx0" brushRef="#br0" timeOffset="1840.28">6650 6196 0,'17'17'15,"-17"0"-15,0 2 16,0-2 0,0 1-16,0-1 15,0 2-15,18-2 16</inkml:trace>
  <inkml:trace contextRef="#ctx0" brushRef="#br0" timeOffset="2011.99">6703 5984 0,'0'-18'16</inkml:trace>
  <inkml:trace contextRef="#ctx0" brushRef="#br0" timeOffset="3171.34">10301 5790 0,'-18'-17'0,"1"34"15,17 1 1,-17-1-16,17 0 0,0 19 16,0-18-16,0-1 0,0 2 15,17 69 1,0-54-16,1-16 15,-18 0-15,18-18 0,-18 18 0,35-1 32,-18-17-32,2 0 0,-2 0 0,18-17 15,-18-1 1,-17 0-16,19 18 0,-19-18 16,0 1-16,0 0 0,-19-1 0,19 0 0,0 0 15,-17 1-15,0 0 0,17-2 16,-18 2-16,18-1 0,-17-18 15,-2 19-15,19 0 0,-17 17 16,17-18-16,17 1 16,2 17-1,-2 0-15,1 0 0,-1 17 16,0-17-16,19 18 0,-18-1 16,52 36-16,-52-35 15,-1-1-15,2 19 0,-2-19 16,-17 1-16,0 18 0,0-19 15,17 0-15,-17 1 0,0 0 0,-17-18 16,17 18-16,0-1 0,0 0 16,0-51 15,17 16-15,-17 0-16,36-52 15,-36 52-15,18 0 0,-1-16 16,-17 15-16,17 2 0,2-1 0,-2 1 15,1 17-15,-1-19 0,0 19 16,-17-17-16,19 17 0,-2 0 16,1 0-16</inkml:trace>
  <inkml:trace contextRef="#ctx0" brushRef="#br0" timeOffset="4031.35">13370 5437 0,'-35'17'0,"18"2"15,-2-2-15,-33 37 16,-18 68-16,51-68 16,-16-20-16,18 2 0,0-1 0,17 1 15,-19 16-15,2 1 16,17-17-16,0-18 16,0-1-16,17 18 15,2-35-15,15 18 16,-16-18-16,-1 0 15,2 0-15,15-18 0,-16 18 16</inkml:trace>
  <inkml:trace contextRef="#ctx0" brushRef="#br0" timeOffset="4327.03">13423 5913 0,'18'-17'0,"-18"-1"32,-35 53-1,35-16-16,17-38-15,-34 55 0,17-1 16,0-17 0,17 0-16,1-1 15,-1-17-15,2 0 16,15 0-16,-16 0 16,0 0-16,-18-17 15,35-1-15,-35-18 16,0 19-16,-17-19 15,-1 19 1,18-1-16,-18 18 16,0 0-16,1 0 15</inkml:trace>
  <inkml:trace contextRef="#ctx0" brushRef="#br0" timeOffset="4553.99">13811 5596 0,'18'36'16,"-18"-19"0,-18 36-16,18-35 15,0 52-15,-17 1 16,0-36-16,17-18 0,0 19 0,-19-19 15,19 37-15,0-37 16,0 0-16,0 1 0,0 0 16,0 0-16</inkml:trace>
  <inkml:trace contextRef="#ctx0" brushRef="#br0" timeOffset="4883.02">14075 5754 0,'-52'19'16,"16"-2"0,19 1-16,-18-1 15,17 0-15,-34 37 16,33-37-1,2 2-15,-1 15 16,18-16 0,0 0-1,18 0-15,-1-18 16,2 17-16,-2-17 16,0 0-16,1 0 0,0 0 15,34 0 1,-16 0-16</inkml:trace>
  <inkml:trace contextRef="#ctx0" brushRef="#br0" timeOffset="5246.08">14270 6020 0,'53'-54'0,"-35"54"0,-18-17 16,17 17-16,-17-17 0,17-2 16,-17 2-16,0-1 15,0 1 1,-17 17-1,-18 17-15,17 1 16,18-1-16,-18-17 0,1 36 16,17-1-1,0-17-15,17 0 0,-17-1 16,36-17-16,-18 17 0,-1-17 16,0 0-16,19 18 15,-1-18-15</inkml:trace>
  <inkml:trace contextRef="#ctx0" brushRef="#br0" timeOffset="6312.28">5609 6584 0,'53'-18'16,"-36"18"-16,2-17 0,16 17 15,-1 0-15,37-19 0,-18 19 16,53-17-16,-53 17 15,0-17-15,-1 17 0,-16 0 0,35-18 16,-36 18-16,-17 0 0,34 0 16,-34 0-1</inkml:trace>
  <inkml:trace contextRef="#ctx0" brushRef="#br0" timeOffset="6585.29">5627 6708 0,'52'0'0,"-33"0"0,-2 0 16,142 0-1,-106 0-15,17-19 0,-17 19 16,18 0-16,53 0 15,-36 0-15,-36 0 0,-16 0 16,17-17-16,18 17 0,-37 0 16,20 17-16,-20-17 15,-16 0-15,0 0 0,0 0 0,16 19 16,-15-19-16</inkml:trace>
  <inkml:trace contextRef="#ctx0" brushRef="#br0" timeOffset="7323.34">13458 6284 0,'36'-18'31,"-1"18"-31,35 0 0,1-17 16,-18 17-16,141-19 15,-141 19-15,18 0 0,-18-17 16,-1 17-16,-16 0 0,52 0 16,-71-17-16,1 17 0,18 0 15,-19 0-15,0 0 0</inkml:trace>
  <inkml:trace contextRef="#ctx0" brushRef="#br0" timeOffset="7537.5">13687 6442 0,'19'0'0,"16"0"0,-89 0 0,125 0 16,-35 0-16,16-17 0,-16 17 15,17 0-15,-1 0 0,2 0 16,-20-17-16,20 17 0,-18 0 0,33 0 15,-33 0-15,-19 0 0,19 0 16,-18 0-16,-1-18 0</inkml:trace>
  <inkml:trace contextRef="#ctx0" brushRef="#br0" timeOffset="15641.24">4093 7484 0,'-71'34'0,"54"-16"15,17 0-15,-19 0 0,2-1 0,-1 0 0,18 2 16,-17-2-16,-2 18 16,19-16-16,-17 33 0,17-35 0,-17 2 15,17-2-15,0 0 0,0 1 16,0 0-16,17-18 16,-17 18-16,17-1 0,2-17 15,-2 17-15,1-17 0,-1 0 16,2 0-16,-2 0 0,0-17 15,1 17-15</inkml:trace>
  <inkml:trace contextRef="#ctx0" brushRef="#br0" timeOffset="15956.31">4322 7748 0,'-19'-18'16,"2"36"15,17 18-16,0-19 1,17 0-16,2-17 16,-2 18-16,1-18 15,-1 0-15,2 0 0,-2 0 16,0 0-16,1-18 0,-1 18 0,2-17 16,-19 0-1,0-2 1,-19-16-16,2 35 15,17-17-15,-18 17 0,18-17 16,-17 17-16,0-19 0,-2 19 16,2 19-1,-1-19-15,1 0 16</inkml:trace>
  <inkml:trace contextRef="#ctx0" brushRef="#br0" timeOffset="16376.19">4603 7660 0,'0'36'46,"0"-19"-30,0 0 0,0 1-16,19-1 15,-2-17 1,1 0 0,-1 0-16,0-17 15,-17-1-15,19 18 16,-19-17-16,17 0 15,1 34 32,-18 0-31,-18 18 0,36-35-16,-18 19 0,0-2 15,17 0 1</inkml:trace>
  <inkml:trace contextRef="#ctx0" brushRef="#br0" timeOffset="16763.45">4939 7677 0,'0'36'31,"-18"-19"-31,18 1 16,0-1-16,0 2 15,0-2 16,18-53 1,0 36-17,-1 0-15,0 0 16,2 19 0,-19-2-1,17-17 1,1 17-1</inkml:trace>
  <inkml:trace contextRef="#ctx0" brushRef="#br0" timeOffset="17020.4">5327 7430 0,'0'-17'16,"-17"52"15,17-17-31,0 17 0,0 0 16,-19-17-16,19 34 16,0-33-16,0 16 0,-17-18 15,17 2-15,0-2 0,0 0 0,0 1 16,0-1-16,0 2 15</inkml:trace>
  <inkml:trace contextRef="#ctx0" brushRef="#br0" timeOffset="17231">5133 7696 0,'17'-19'32,"2"19"-32,-2-17 0,0 17 15,1 0-15,18-18 16,-19 18-16,0 0 16,2 0-16,-2-17 0,18 17 15</inkml:trace>
  <inkml:trace contextRef="#ctx0" brushRef="#br0" timeOffset="17641.39">5609 7730 0,'0'-17'16,"0"0"-1,0-2-15,-18 2 16,1 53 15,17-19-15,0 18-1,17-18 1,-17 2-16,18-19 0,-18 17 16,18-17-16,-18 17 15,18-17-15,-1 0 16,0 0-16</inkml:trace>
  <inkml:trace contextRef="#ctx0" brushRef="#br0" timeOffset="17946.43">5821 7696 0,'17'17'16,"-17"0"-1,0 1 1,0-1-16,0 2 16,0-2-16,0 0 31,19-34 0,-2 17-31,-17-17 16,17-2-16,1-16 31,0 18-31,-18 0 31,18 17-31</inkml:trace>
  <inkml:trace contextRef="#ctx0" brushRef="#br0" timeOffset="20521.23">7162 7748 0,'35'0'16,"-18"0"-16,0 0 15,37 0-15,-18 0 0,16 0 16,18 0 0,-34 0-16,-18 0 0,16 0 0,-15 0 15,16 0-15,1-18 0,-19 18 16,0 0-16,18-17 0,-16 17 15,-2 0-15,18-17 0</inkml:trace>
  <inkml:trace contextRef="#ctx0" brushRef="#br0" timeOffset="20789.28">7655 7501 0,'18'0'0,"-1"0"16,19 0-16,-19 17 0,19 1 16,-18 0-16,-1 0 15,0-1-15,19 0 0,-18 2 16,-1 16-16,19 1 0,-36-19 0,17 0 0,1 18 16,-18-16-16,0-2 0,0 18 15,0-17-15,0 0 0,0-1 16,-18 18-16,-18 1 0,19-2 15,0-15-15,-1-2 0,0 1 16,0-1-16,1-17 0,0 19 0</inkml:trace>
  <inkml:trace contextRef="#ctx0" brushRef="#br0" timeOffset="27595.1">9383 7484 0,'0'-18'16,"-17"18"15,-18 18-15,18-1-1,-2-17-15,19 35 31,0-17-31,19 0 16,-2-1 0,1-17-16,-1 17 15,0-17-15,2 19 16,-2-19-16,1 17 16,-1 1-16,2-18 0,-19 17 15,0 2-15,-19 15 31,2-16-31,-1-18 0,1 17 16,-2-17-16,2 19 0,0-19 16,-1 0-16,1 17 0,-2-17 15,2 0 1</inkml:trace>
  <inkml:trace contextRef="#ctx0" brushRef="#br0" timeOffset="27944.16">9649 7730 0,'0'-17'16,"0"0"-1,0-2-15,-18 2 16,0 34 15,0 2-31,1-2 16,17 0-1,0 1-15,0-1 16,17-17-16,-17 19 0,18-2 16,0-17-1,-18 17-15,18-17 0</inkml:trace>
  <inkml:trace contextRef="#ctx0" brushRef="#br0" timeOffset="28236.97">9771 7730 0,'19'-17'0,"-2"34"31,1-17-31,-18 35 16,0-16 0,17-2-16,-17 0 15,0 1 1,19-53 15,-2 18-15,-17-2-16,17 2 15,19-1 1,-36 1 0,18 34-1</inkml:trace>
  <inkml:trace contextRef="#ctx0" brushRef="#br0" timeOffset="28767.74">10142 7696 0,'0'34'15,"0"-16"-15,19-1 0,-19 2 16,0-2-16,0 0 15,17-17-15,-17 18 0,17-18 16,1 0 0,-18-18-16,17 18 15,2-17-15,15-19 32,-16 19-32,-18-1 0,18 1 15,0 34 16</inkml:trace>
  <inkml:trace contextRef="#ctx0" brushRef="#br0" timeOffset="29030.44">10459 7748 0,'19'-35'0,"-2"-1"16,-34 55 31,-2-2-47,19 18 15,0-18 1,0 2 0,19-19-16,-19 17 15,17-17-15,1 0 16,-1 17-1,2-17-15</inkml:trace>
  <inkml:trace contextRef="#ctx0" brushRef="#br0" timeOffset="29501.07">10778 7660 0,'17'36'15,"-17"-19"-15,0 0 16,18-17-16,-18 18 16,17-36-1,19-16 1,-36 15 0,17 2-16,-17-1 15</inkml:trace>
  <inkml:trace contextRef="#ctx0" brushRef="#br0" timeOffset="30610.8">10037 9670 0,'-18'36'31,"18"-1"-15,0-18-16,0 19 0,18-1 15,-18-18-15,17 2 0,-17-2 16,17-17-16,2 18 0,-2-1 16,1-17-16,18 0 15,-36-17-15,17 17 16,0-18-16,-17 1 0,0-2 15,0 2-15,0 0 16,0-18-16,0 16 0,0-15 16,0 16-16,-17 18 0,17-18 15,0 0-15,-17 1 0,-2 17 16,2 0-16,-1 17 16,1 1-1,-2 0-15</inkml:trace>
  <inkml:trace contextRef="#ctx0" brushRef="#br0" timeOffset="30816.03">10142 9900 0,'0'17'0,"0"2"15,0 15 1,-17 54-1,-1-70-15,18 0 16,0 0-16,-17-1 0,17 0 16,0 2-16,-19-2 0,19 1 0,0-1 15,-17 0-15</inkml:trace>
  <inkml:trace contextRef="#ctx0" brushRef="#br0" timeOffset="31024.28">10071 10146 0,'-34'36'15,"16"-18"-15,0-1 16,0 0-16,1 2 15,17-2-15</inkml:trace>
  <inkml:trace contextRef="#ctx0" brushRef="#br0" timeOffset="31210.92">10107 10182 0,'54'18'0,"-37"-18"16,-17 17-16,35 0 16,-18 2-16,2-19 0,-19 17 15,17-17-15,-17 18 0,17-1 0,1 2 16</inkml:trace>
  <inkml:trace contextRef="#ctx0" brushRef="#br0" timeOffset="31690.97">10090 10676 0,'0'0'0,"-19"17"16,19 2-16,-17-19 0,17 17 15,0 0-15,-17 19 0,17-18 16,-18 35-16,18-36 0,0 1 16,0-1-16,0 0 0,18 2 0,-1-2 15,0 1 1,2-18-16,16 0 16,-35-18-16,17 18 0,-17-17 15,19 17-15,-19-19 0,0 2 0,0-18 16,0 18-16,-19-2 0,19 2 15,-17 0-15,17-1 0,-18 0 16,1 18-16,-2 0 16,2 0-16,0 0 15,-1 36-15,0-19 0</inkml:trace>
  <inkml:trace contextRef="#ctx0" brushRef="#br0" timeOffset="31939.1">10054 11082 0,'-17'52'32,"17"-34"-32,-18 0 0,18 0 15,-53 87 1,36-52-16,17-18 15,-18-16-15,18-2 0,-18 0 0,18 1 16,0 0-16,-18 0 16,18-1-16,-17 0 15</inkml:trace>
  <inkml:trace contextRef="#ctx0" brushRef="#br0" timeOffset="32212.44">9931 11205 0,'-53'36'16,"36"-19"0</inkml:trace>
  <inkml:trace contextRef="#ctx0" brushRef="#br0" timeOffset="32364.73">10071 11241 0,'19'0'16,"16"35"0,-18-35-16,-17 17 15,19-17-15</inkml:trace>
  <inkml:trace contextRef="#ctx0" brushRef="#br0" timeOffset="32577.96">9931 11522 0,'-18'18'0,"0"0"0,1 0 16,17-1-16,-17-17 0,17 17 0,0 2 15,-19-19-15,2 17 16</inkml:trace>
  <inkml:trace contextRef="#ctx0" brushRef="#br0" timeOffset="32724.06">9878 11629 0,'35'17'16,"-17"-17"-1,0 18-15,-1-18 0,0 17 16,1-17-16,0 0 0,0 19 16,-1-19-16,0 0 0</inkml:trace>
  <inkml:trace contextRef="#ctx0" brushRef="#br0" timeOffset="33300.01">9790 12157 0,'-19'-17'0,"-15"70"32,34-36-32,-35 71 15,35-69-15,-19 16 16,19 18-16,0-18 0,0-18 0,0 2 15,19 15-15,-19-16 0,17 0 16,1-18-16,16 35 16,-15-35-16,-2-17 0,1 17 15,-1-18-15,2 18 0,-19-18 16,17-17-16,-17-1 16,0 1-16,0-1 0,0 19 0,0-18 15,0 18-15,-17-36 16,-2 35-16,2-18 0,-1 36 15,-18 0 1,19 18-16,17 0 16,-17 0-16,-1-1 0</inkml:trace>
  <inkml:trace contextRef="#ctx0" brushRef="#br0" timeOffset="33557.66">9842 12616 0,'0'36'0,"-17"17"16,17-36-1,0 1-15,-18 18 0,18 16 16,-17-16-16,17-2 0,0-16 15,-19 35-15,19-18 16,-17-17-16,17 0 0,0-1 0,0 0 16,0 2-16</inkml:trace>
  <inkml:trace contextRef="#ctx0" brushRef="#br0" timeOffset="33799.22">9771 12845 0,'-17'0'0,"0"0"0,51 0 0,-86 0 16,35 19-16,-2-19 15,2 0-15,0 17 16,-1 0-16,0-17 16</inkml:trace>
  <inkml:trace contextRef="#ctx0" brushRef="#br0" timeOffset="33953.57">9807 12845 0,'18'0'0,"18"0"16,-19 19-16,18-19 31,-17 0-31,0 17 0</inkml:trace>
  <inkml:trace contextRef="#ctx0" brushRef="#br0" timeOffset="34234.18">9666 13164 0,'-71'69'0,"54"-69"0,17 19 16,-17-2-16,-2 0 0,2 1 0,17 0 16,-18 0-16,1-1 15</inkml:trace>
  <inkml:trace contextRef="#ctx0" brushRef="#br0" timeOffset="34388.1">9683 13269 0,'36'0'16,"-72"0"-16,90 0 0,-37 17 16,36 1-1,-35 0-15,-1-18 0,19 18 16,-19-18-1,-17 17-15</inkml:trace>
  <inkml:trace contextRef="#ctx0" brushRef="#br0" timeOffset="34988.12">9631 13940 0,'-18'0'16,"0"17"-16,-16 18 16,15-17-16,2 34 0,-1-16 15,1-1-15,17-18 0,0 19 0,-17-1 16,17-16-16,0-2 16,17 0-16,-17 18 0,17-35 0,1 19 0,-18-2 15,17-17-15,2 0 0,-2 0 16,0 0-16,19-17 0,-18 17 0,-1-19 15,0 2-15,-17-1 0,19 1 16,-2 0-16,-17-2 0,0-16 16,0 18-16,0-19 0,0 19 0,-17-37 15,17 37-15,-19 0 0,19-1 16,-17 0-16,0 18 16,-19 0-16,18 0 0,1 0 15,0 18-15,-2-18 0</inkml:trace>
  <inkml:trace contextRef="#ctx0" brushRef="#br0" timeOffset="35280.07">9525 14521 0,'0'36'0,"0"-19"0,0 1 16,-18-1-16,18 19 0,0-19 15,-17 18-15,0 36 0,17-53 16,-19 53-16,2-54 15,17 1-15,-18 16 0,18-15 0,-17-2 16,17 1-16</inkml:trace>
  <inkml:trace contextRef="#ctx0" brushRef="#br0" timeOffset="35507.01">9490 14645 0,'-17'-17'15,"-2"34"-15,2-17 0,-1 0 16,1 0-16,-2 17 0,2-17 16,0 0-16,-1 18 0,1-1 15,-2-17-15,2 19 16,0-2-16</inkml:trace>
  <inkml:trace contextRef="#ctx0" brushRef="#br0" timeOffset="35680.03">9473 14716 0,'17'0'0,"0"0"15,-51 0-15,103 17 0,-69 0 16,19-17-16,-2 0 0,0 18 15,1-18-15,0 0 16,-18 18-16,18-18 0,-1 18 16</inkml:trace>
  <inkml:trace contextRef="#ctx0" brushRef="#br0" timeOffset="35915.66">9490 15016 0,'-36'17'0,"19"0"16,-18 19-1,16-18-15,2-1 0,0 0 0,-18 19 16,16-18-16,2-1 0,0 0 15,-1 2-15,0-2 16</inkml:trace>
  <inkml:trace contextRef="#ctx0" brushRef="#br0" timeOffset="36056.46">9314 15156 0,'17'-18'16,"1"18"-16,-53 18 0,87-36 0,-35 18 15,2 0 1,-2 0-16,1 0 0,-1 18 0,2-18 0,-2 0 15,18 18-15,18 0 16,-36-1-16,1-17 16,0 17-16,0-17 0,-1 19 0,0-19 15</inkml:trace>
  <inkml:trace contextRef="#ctx0" brushRef="#br0" timeOffset="37768.46">9243 8065 0,'71'-17'15,"-36"17"-15,-1-18 0,20 18 0,16 0 16,-16-17-16,16 17 16,-18 0-16,19 0 0,-18-19 0,1 19 15,51 0-15,-70-17 0,1 17 16,17 0-16,-36 0 0,18-17 15,-16 17-15,-2 0 0</inkml:trace>
  <inkml:trace contextRef="#ctx0" brushRef="#br0" timeOffset="37999.66">9419 8172 0,'-17'17'15,"69"-17"1,-16 0 0,-1 0-16,1 0 0,34 0 0,-18-17 15,19 17-15,0 0 0,-18-19 16,88 2-16,-70 17 0,34-18 16,-70 18-16,1 0 0,-1 0 15,1-17-15,-19 17 0,0 0 16</inkml:trace>
  <inkml:trace contextRef="#ctx0" brushRef="#br0" timeOffset="42464.29">5415 9512 0,'18'17'16,"-1"2"0,-17-2-16,0 0 15,19 1-15,-19-1 0,0 2 16,0-2-16,17-17 0,-17 17 15,0 1-15,0 0 16,0 0-16,17-18 16,-17 17-1,35-34 1,-16-1 0,-2 0-16,36-17 15,-35 18-15,16-2 16,-15 2-16,-2-1 0,18 1 0,-18 0 15,2-2-15,16 2 0,-18-1 16,2 1-16,-2 17 0,-17-19 0,17 2 16,1 17-16,0-17 15,0 17-15,-18-18 16,17 18-16,0-17 31,1 17 0,-18-19 16,-18 55 110</inkml:trace>
  <inkml:trace contextRef="#ctx0" brushRef="#br0" timeOffset="57088.39">9473 4326 0,'-19'18'94,"2"16"-79,17-15-15,0-2 0,-18 1 0,18 18 16,-17-19-16,17 0 15,0 1-15,0-1 0,-19 2 0,19-2 16,-17 36 0,17-35-16,0 16 15,0-15 1,0-2 15,17-17-31,2 0 0,-19 18 0,17-18 16,1 0-16,18 0 0,-19 0 0,18 0 15,-18 0-15,19 0 0,-1 0 16,1 0-16,-19 0 0,19 0 0,-1 0 16,-1 0-16,2 0 0,-18 0 15,18 0-15,-19 0 0,18 0 16,-17 0-16,0 0 0,-1 0 0,0-18 16,1 18-16,0 0 15,0-17-15,-1-2 16,0 2-1,-17 0 1,0-37 0,0 37-16,0 0 0,0-2 0,0 2 15,0-1-15,0 1 0,0-36 16,0 18-16,0 16 16,0 2-16,0 0 0,0-1 15,0 1-15,0-2 16,-17-15-1,17 16 1,0 0-16,-35 36 63</inkml:trace>
  <inkml:trace contextRef="#ctx0" brushRef="#br0" timeOffset="57699.82">9383 4361 0,'0'-35'0,"0"18"31,0-2-16,0 2-15,0 0 16,19 17 0</inkml:trace>
  <inkml:trace contextRef="#ctx0" brushRef="#br0" timeOffset="58039.24">9437 4238 0,'0'18'0,"0"-1"15,17-17-15,2 17 16,-2 2-16,0-19 0,1 17 16,-1-17-16,2 18 0,-2-18 0,0 0 15,1 17-15,18-17 0,-19 0 16,19 0-16,-19 0 0,18 0 0,-18 0 15,19 0-15,-18-17 0,18 17 16,-19-18-16,0 18 0,1-17 0,0 17 16,0-19-16,-1 19 0,-17-17 15,17 0-15,-17-1 0,0 0 16,0 0-16,-17 1 0,17 0 16,-17-2-16,-19 2 15,1 17-15,18-18 0,-2 18 0,2-17 16,-1 17-16,1 0 0,-19 0 0,19 0 15,-1 17-15,-18-17 0,2 18 16,-2-1-16,18-17 0</inkml:trace>
  <inkml:trace contextRef="#ctx0" brushRef="#br0" timeOffset="58516.6">9666 4468 0,'53'-19'0</inkml:trace>
  <inkml:trace contextRef="#ctx0" brushRef="#br0" timeOffset="58678.78">9631 4608 0,'18'18'16,"-18"0"-16,53-18 16</inkml:trace>
  <inkml:trace contextRef="#ctx0" brushRef="#br0" timeOffset="60096.71">11359 4290 0,'0'19'0,"0"-2"16,-17 1-16,17-1 0,0 0 0,-17 37 16,17-37-16,-19 2 15,19 15-15,-17-16 0,17 18 16,0-19-16,-18 0 0,18 1 15,18 0-15,-18 0 16,36-18 0,-19 17-16,0-17 0,1 0 15,0 0-15,0 0 16,-1 0-16,0 17 0,1-17 0,0 0 16,0 0-16,-1 0 0,0 0 15,2 0-15,-2 0 0,18 0 16,-16 0-1,-2 0-15,0-17 16,1 17-16,-18-17 0,17 17 16,2-18-16,-2 0 0,-17 0 15,17 18-15,-17-17 0,0 0 16,18-2-16,-18-16 16,18 1-16,-18-2 0,0 18 15,18 1-15,-18-2 0,0 2 16,0 0-16,0-1 0,0 1 0,0-2 15,0 2-15,0 0 0,0-1 32,17 0-17,-52 36 32,-1 0-31,19-18-16,0 0 0,-2 0 15,2 0-15,-1 0 16,-16 0-16,15 0 0,2 0 16,-1 17-16,1-17 0,-2 0 0,2 0 15,0 0 1,-1 0-16,0 0 16</inkml:trace>
  <inkml:trace contextRef="#ctx0" brushRef="#br0" timeOffset="60520.84">11501 4309 0,'-88'-19'0,"70"19"16,0-34-1,0 16-15,18-35 16,0 36 0,0-2-16,18 2 15,0-1-15,0 1 0,16 0 16,-16 17-16,0 0 0,0-19 15,-1 19-15,0 0 0,19 0 16,-1 0-16,-16 0 0,-2 0 16,0 19-16,1-19 0,-1 17 15,2 0-15,-2 1 0,-17-1 16,0 2-16,-17-2 16,17 0-16,-19 1 15,2 0-15,-1 0 0,-16-1 16,15-17-16,2 17 0,-1 2 15,1-19-15</inkml:trace>
  <inkml:trace contextRef="#ctx0" brushRef="#br0" timeOffset="66515.25">9383 4573 0,'-69'0'0,"50"0"0,2 0 16,0 0-16,-37 0 15,37 0-15,-19 0 0,19 0 16,-1 0-16,1 0 0,0 0 0,-2 0 16,2 0-16,-1 0 15,1 17-15,-2-17 0,2 0 16,-18 0-16</inkml:trace>
  <inkml:trace contextRef="#ctx0" brushRef="#br0" timeOffset="66726.19">8961 4485 0,'-18'17'0,"0"-17"15,0 18-15,1-18 16,0 17-16,17 2 0,-18-2 16,18 0-16,0 1 15,0 0-15,0 0 16,18-18-16,-1 17 0,0-17 16,1 0-16</inkml:trace>
  <inkml:trace contextRef="#ctx0" brushRef="#br0" timeOffset="67363.73">7373 4485 0,'0'-17'31,"-18"51"-31,18-16 16,0-1-16,0 2 0,0-2 15,0 0-15,0 37 16,0-20-16,0-15 0,0-2 0,0 1 15,0 16-15,0-15 16,0-2-16,0 1 0,0-1 16,18-52 15,0-1-15,0 36-16,-18-17 15,17 17-15,18-17 0,-17 17 16,0 0-16,-1 0 0,0 0 15,2 17-15,-19 0 16,17-17-16,-34 19 0,17-2 16,0 1-16,-19-1 0,2 2 15,0-2-15,-1 0 0,0 1 16,0-18-16,18 18 0,-17-18 16,0 0-16,-1 18 15</inkml:trace>
  <inkml:trace contextRef="#ctx0" brushRef="#br0" timeOffset="67574.92">7550 4537 0,'0'-17'0,"17"53"31,1 16-15,-18-34-16,0 0 15,0 16-15,0-15 0,0-2 0,17 35 16,-17-33-16,0-2 16,0 1-16,19-1 0,-19 2 0,0-2 15,0 0-15,17-17 16</inkml:trace>
  <inkml:trace contextRef="#ctx0" brushRef="#br0" timeOffset="68081.45">7831 4749 0,'0'-17'31,"0"51"0,18-15-15,0-2-1,0-17 1,-1 0-16,0 0 16,2 0-16,-19-17 0,17 17 0,1-19 15,-1 19-15,-17-17 16,19 17-16,-19-17 0,17-1 16,-17 1-16,17 17 15,-17 17 16,18-17-15,-1 18 0,2-18-16,-2 0 15,0 0-15,-17-18 0,18 18 0,0-17 16,0 17-16,-18-19 16,17 2-16,-34 53 62,34-19-46,0-17-16,-17 18 15,19-18-15,-2 0 0,1 17 0,-1-17 16,54 0-16</inkml:trace>
  <inkml:trace contextRef="#ctx0" brushRef="#br0" timeOffset="68660.84">12083 4468 0,'88'0'31,"-53"0"-31,-18 0 0,19 0 0,-1 0 16,1 0-16,16 0 15,-16 0-15,-19 0 0,1 0 0,0 0 16,0-19-16</inkml:trace>
  <inkml:trace contextRef="#ctx0" brushRef="#br0" timeOffset="68891.02">12541 4326 0,'0'-17'0,"0"-2"16,18 19-1,0 0-15,35 19 16,-36 16 0,1-35-16,-18 17 0,17 0 15,-17 2-15,0 16 0,0-18 16,0 2-16,0-2 0,0 18 16,0-18-16,-17-17 15,17 36-15,0-19 0,0 1 16</inkml:trace>
  <inkml:trace contextRef="#ctx0" brushRef="#br0" timeOffset="69421.05">13458 4026 0,'-17'35'16,"17"-16"-16,0-2 0,-18 0 15,18 1-15,0-1 0,0 2 0,0 15 16,-17 2-16,17-18 0,0-1 15,17 0-15,-17 2 0,0-2 16,18 1-16,-1-1 16,19-34-1,-19 17-15,1 0 16,35 17 15,-36-17-15,-17 17-16,18-17 0,-18 19 15,18-2-15,-18 1 16,18-1 0</inkml:trace>
  <inkml:trace contextRef="#ctx0" brushRef="#br0" timeOffset="69721.99">13794 4309 0,'0'35'31,"0"-1"-15,0-15 15,17-38 0,1 2-15,-18 0-16,17-1 0,2 18 16,-2-17-16,0-2 15,1 19-15,0 0 16,0 0-16,-18 19 16,17-19-16</inkml:trace>
  <inkml:trace contextRef="#ctx0" brushRef="#br0" timeOffset="69989.89">14129 4378 0,'0'-17'15,"0"0"-15,0-1 16,-18 18-1,-18 18 1,36-1-16,-17 0 16,17 2-16,-17-19 15,34 17 1,-17 1-16,17-18 16,2 17-16,16-17 15,-18 0-15</inkml:trace>
  <inkml:trace contextRef="#ctx0" brushRef="#br0" timeOffset="70505.99">14341 4290 0,'0'-17'16,"-18"17"15,0 0 1,0 0-17,18 17 1,-17 2-1,17-2 1,-17 1-16,17-1 16,0 0-16,0 2 15,0-2 1,17-17 0,0 18-16,1-18 15,0 0-15,0 0 0,-1-18 16</inkml:trace>
  <inkml:trace contextRef="#ctx0" brushRef="#br0" timeOffset="70809.13">14553 4290 0,'0'0'15,"17"19"17,-17-2-17,0 1 17,17-18-17,1 0 1,-1 0-16,2 0 15,-2 0 1,18 0 0,-17-18-16,0 18 15</inkml:trace>
  <inkml:trace contextRef="#ctx0" brushRef="#br0" timeOffset="74819.98">8467 5154 0,'35'19'16,"-18"-19"-16,1 0 0,0 0 15,17 0-15,1 17 0,-1-17 0,89 18 16,-54-18-16,18 0 15,18 0-15,18 0 0,-19 0 0,19 0 16,-1 0-16,1 0 0,17 0 16,35-18-16,0 18 0,-35-17 15,18-2-15,17 19 0,177-17 16,-229 0-16,16-1 0,2 18 0,-18-17 16,140-2-16,-140 2 15,0 17-15,-19-17 0,0-1 0,2 18 16,-2-18-16,-17 0 0,19 1 15,-19 17-15,0-17 0,-17-1 0,-1 18 16,-18-18-16,19 18 0,-18-18 0,71 1 16,-72 17-16,2-17 15,-20 17-15,20-19 0,-18 19 0,-2-17 16,2 17-16,-1-18 0,0 18 0,1 0 16,-2-17-16,-15 17 15,16-19-15,-18 19 0,19 0 0,-19-17 16,18 17-16,-16 0 0,-2-17 0,0 17 15,1 0-15,18-18 0,-19 18 16,0-17-16,1 17 0,35-19 16,-36 2-16,19 0 0,-18 17 0,18-18 15,-2 0-15,-16 18 16,-1-18-16,2 18 0,33-17 16,-34 0-16,0 17 0,-1-19 0,0 2 15,2 17-15,16-18 16,-18 18-16,19-17 0,-19 0 0,1-2 15,-1 19-15,2-17 0,-2 17 0,0-18 16,1 18-16,-1-17 0,2 17 16,-19-19-16,17 19 0,0-17 15,1 0-15,0 17 0,0 0 16,-18-18-16,17 18 0,-17-17 16,17-2-16,2 2 15,-19 0-15,0-1 16,17 18-1,-17-18-15,0 0 16,0 1 0,0 0-1,-17-2 1,17 2 0,-19-1-16,2 1 15,0 0-15,-1-2 16,0 2-16,0-1 15,1 1-15,-19-2 0,19 2 16,-1 0-16,-52-37 0,35 37 16,-18 0-16,18-1 0,-72-35 15,54 36-15,-87-19 16,51 18-16,-70-18 0,71 19 16,-17 17-16,-90-35 15,-34 18-15,123 17 16,1 0-16,-124-19 0,105 19 15,-123 0-15,123 0 16,19 0-16,-19-17 0,18 34 0,-18-17 0,2 0 16,-2 0-16,0 0 0,-106 19 15,108-19-15,-2 0 16,1 17-16,-106-17 0,122 18 16,2-18-16,-1 0 0,-106 17 15,106-17-15,-88 17 16,106-17-16,-18 19 0,35-19 0,2 0 15,-73 0-15,72 17 16,-1-17-16,18 0 0,1 18 0,-19-18 16,35 0-16,-17 0 0,-35 17 15,53-17-15,-53 19 16,52-19-16,-87 17 16,35 0-16,35-17 0,0 18 15,-1-18-15,-15 18 0,16 0 16,-1-1-16,1 0 0,1-17 15,16 18-15,-16 0 0,-1 17 0,-53 1 16,53-1-16,17 1 16,-104 52-16,69-18 15,1-18-15,34-16 16,-35 16 0,54-16-16,-1-18 0,-18 35 15,2-1-15,16 19 16,1-53-16,17 53 0,0-36 15,0-1-15,17 2 16,1-1-16,16 36 0,2-18 0,35 0 16,-18-18-16,87 1 15,-69-1-15</inkml:trace>
  <inkml:trace contextRef="#ctx0" brushRef="#br0" timeOffset="76140.71">10795 9582 0,'123'-34'15,"-87"34"-15,-1 0 0,-17 0 16,52 17-16,-34 0 0,-2 1 15,-15-1-15,16 54 16,-35-35-16,0 86 0,-18-51 16,-18 0-16,-16 87 0,16-87 15,2 17-15,-2-17 0,1 17 0,-1 1 16,1-18-16,-1 17 0,2-18 16,-1 53-16,16-70 15,19 1-15,-17 34 0,34-18 16,19 1-16,-18-36 15,-1-18-15,36 19 16,18-19-16,-36-17 16,1 0-16,52-17 0,-35 17 0,16-36 15,-33 19-15,-18-1 16,18 1-16,-19-2 16,18-15-16,-17 16 15,-36 70 16,18-16-31,-18-1 0,18 18 16,-17 1-16,17 68 0,0-51 16,-17 17-16,34 89 15,-17-1-15,17-70 0,1 88 16,0-106-16,0 18 16,-1-18-16,-17 18 0,17 88 15,1-106-15,-18 106 0,0-106 16,0 88-16,0 2 15,-18-90-15,18-18 0,-17 18 16,0-17-16,-1 17 0,-18 53 16,2-35-16,-2 0 15,18-54-15,-35 19 16,36-35-16,17-19 0,-35 18 16,35-16-16,-36-2 15,19-17 1,-1-17-16,0 17 15</inkml:trace>
  <inkml:trace contextRef="#ctx0" brushRef="#br0" timeOffset="78989.14">4674 8101 0,'177'35'0,"-125"-35"16,19 17-16,17 2 0,0-19 0,107 34 15,-90-34-15,2 18 16,-2-18-16,90 0 0,-107 0 16,0 0-16,70 0 0,-87-18 15,52 1-15,-53 0 16,-16 17-16,34-36 15,-71 18-15,19 18 0,-1-17 0,1-19 16,-2 19-16,-15-37 16,-2 37-16,1-18 0,-18-18 15,-18 0-15,18 18 16,-17-1-16,17-16 16,-53-19-16,17-17 15,1 52-15,-36-52 0,18 54 16,1-2-16,-89-52 15,70 70-15,-88-52 0,53 34 16,-193-35-16,192 54 16,-15-1-16,-108 1 15,106 0-15,19 17 0,-19-19 16,0 19-16,-105 0 0,-1 19 16,108-2-16,15 0 0,-86 37 15,-2 16 1,19 18-16,105-36 0,1 2 15,-1 16-15,19-16 16,-1 16-16,-18 36 0,18-1 16,18-34-16,18-1 15,17-52-15,0 18 0,0-19 16,17 19-16,18-19 16,18 1-16,-36-1 15,19-17-15,-1 0 0</inkml:trace>
  <inkml:trace contextRef="#ctx0" brushRef="#br0" timeOffset="84148.73">2858 8330 0,'-36'0'0,"1"0"16,17 0-16,0 18 0,1-18 0,-18 17 16,17 0-16,0 2 0,1-2 15,0 1-15,-2-1 0,2 54 16,17-35-16,0-2 0,0 2 16,0 16-16,17 2 0,19 16 0,-19 1 15,19 0-15,-1-1 0,0 1 16,1 17-16,-2-17 0,2-1 0,-1 18 15,-16 0-15,15-17 0,-16 17 16,-1 88-16,-17-88 16,-17-17-16,17 17 0,-18-18 0,1 18 15,-36 36-15,-35 0 0,52-72 16,1-16-16,0-1 0,-18 1 16,-18-1-16,1 1 15,52-36-15,1 0 0,-19-19 16,19-16-1,17 18-15,0-19 0,17-35 16,36 1-16,-18 35 0,1 0 16,52-1-16,-71 36 15,19 0-15,-1 0 0,36 18 16,-18 18-16,-18-2 0,1 2 16,16 87-16,-16-52 15,-19 17-15,0-18 0,-17 37 0,18-19 16,0 141-16,-18-106 0,18 18 15,-18 1-15,0-1 0,17 18 16,-17-18-16,36 140 0,-19-121 16,54 122-16,-36-141 0,18-17 15,0-1-15,87 123 16,-69-122-16,124 88 0,-107-124 16,141 88-16,-124-88 0,19-17 15,106 36-15,16-2 16,-34-34-16,-124-54 15,18 19-15,-17-19 0</inkml:trace>
  <inkml:trace contextRef="#ctx0" brushRef="#br0" timeOffset="89118.67">2893 7677 0,'-35'-17'0,"16"17"15,-15 0-15,-20 0 0,20 0 16,16 0-16,-52 0 0,34 0 16,18 0-16,-16 0 15,-2 17-15,18-17 0,-18 0 0,2 19 16,-2-19-16,18 17 16,1-17-16,0 0 0,-1 0 15,0 17-15</inkml:trace>
  <inkml:trace contextRef="#ctx0" brushRef="#br0" timeOffset="89341.3">2275 7484 0,'-53'17'16,"36"0"-16,17 1 0,0 0 15,-18 0-15,18 16 0,-17-15 0,17-2 0,0 37 16,17-37-16,-17 0 16,18 1-16,-18-1 0,17-17 0,2 19 15,15-2-15,2-17 0,-18 0 16,-1 17-16,0-17 0,1-17 16</inkml:trace>
  <inkml:trace contextRef="#ctx0" brushRef="#br0" timeOffset="90008.19">582 7765 0,'0'0'16,"0"36"0,0-19-16,0 1 15,0 18-15,0-19 0,17 18 0,-17-17 16,0 0-16,0 16 0,0-15 15,0 16-15,0-18 0,19 19 0,-19-19 16,0 18-16,17-16 16,-17-2-16,0 0 0,35 1 15,-18-18-15,2 0 16,-2 0-16,1 0 0,35 0 16,-36-18-16,19 18 15,-18-17-15,-1 17 0,0-17 16,19-2-16,-36 2 15</inkml:trace>
  <inkml:trace contextRef="#ctx0" brushRef="#br0" timeOffset="90427.13">670 8065 0,'-17'0'16,"-1"0"-16,53-17 31,-18-1-31,2 18 0,-2-17 15,1 17-15,18-19 0,-19 19 16,0-17-16,1 17 16,-18-17-16,0-1 0,-18 0 15,1 18 1,0 0-16,-2-18 16,2 1-1,-1 17-15,18-17 0,-53 210 16,177-422-1,-107 211-15,54 1 16,-54 0-16,19-2 0,-18 19 16,35-17-16,-53-1 15,52 18-15,-35 0 16,2 35 0,-19 18-1,0-35-15,0 0 0,0 34 16,-19-16-16,19 35 15,0-54-15,-17 37 16,17-37-16,0 0 16</inkml:trace>
  <inkml:trace contextRef="#ctx0" brushRef="#br0" timeOffset="90562.69">1058 8118 0,'0'-34'15,"0"15"1,17 19-16,2 0 15,-2-17 1,18 17-16,-16-18 0,-2 18 16,36-36-16,-35 36 15,16-34-15</inkml:trace>
  <inkml:trace contextRef="#ctx0" brushRef="#br0" timeOffset="90931.82">1394 7784 0,'17'-88'31,"-17"69"-16,0 72 1,0-18 0,0 1-16,0 17 15,0-18-15,0-18 0,0 19 0,0-18 16,0 16-16,0-15 0,0-2 16,0 1-16,0-1 0,0 2 0,-17-38 46,17 2-46,0-18 0,-19 16 16,19-15-16,0-2 0,0-34 16,0 34-16,19 2 0,-19 15 15,0-16-15,17 18 0,-17 0 0,18 17 16,-18-19-16,17 19 0,19 0 31,-19 19-31,-17-2 0,0 0 0,0 1 16,0-1-16,-17 19 15,0 17-15,17-35 16,-36 16-16,18-16 16,18 0-16,-17 0 0,-2 16 15</inkml:trace>
  <inkml:trace contextRef="#ctx0" brushRef="#br0" timeOffset="93686.37">635 12722 0,'18'54'16,"-1"-37"-1,-17 18-15,17 1 0,2-2 0,-2 54 16,-17-52-16,18-18 15,-1 16-15,-17 37 0,19-52 16,-19 15-16,0-16 0,17-1 0,-17 2 16,17 33-1</inkml:trace>
  <inkml:trace contextRef="#ctx0" brushRef="#br0" timeOffset="94055.34">582 12740 0,'0'-35'0,"0"16"0,0 73 0,17-125 16,-17 54-16,19 17 16,-2-18-16,1 18 0,-1 0 15,0 0-15,2 0 0,-2 18 16,18 16 0,-35-15-16,19 16 0,-19-18 0,17 2 15,-17 15-15,0-16 16,-17 18-16,17-19 0,0 18 0,0-17 15,-19 0-15,19-1 16,0 0-16,0 1 0,-17-18 16,17 18-16,0 0 0</inkml:trace>
  <inkml:trace contextRef="#ctx0" brushRef="#br0" timeOffset="94599.18">953 12810 0,'-18'35'0,"0"-16"16,18 33-1,0-34-15,0 0 0,18-1 16,-18 0-16,0 1 15,18 0-15,-1 0 16,-17-1-16,17-17 16,2 0-1,-19-17 1,0-1-16,0 0 16,0 0-16,0 1 15,0 0-15,0-1 0,0 0 16,17 18-1,-17-18-15,18 18 16,-1 18-16,0-18 16,-17 18-16,19-18 0,-19 18 15,17-1-15,-17 0 0,18-17 16,-18 36-16,17-18 16,-17-1-1,0-52 16,0 17-15,0-17 0,0 18-16,0-1 15,0 0-15,19 0 16,-19 1-16,17-19 16</inkml:trace>
  <inkml:trace contextRef="#ctx0" brushRef="#br0" timeOffset="94798.74">1270 12510 0,'0'-17'0,"0"52"32,17-17-32,-17 0 15,18 16-15,0 20 0,0 16 16,-18-16-16,17-20 15,-17 1-15,0-16 0,17 15 16,-17-16-16,0 0 0,19 34 16</inkml:trace>
  <inkml:trace contextRef="#ctx0" brushRef="#br0" timeOffset="95046.95">1358 12898 0,'17'-34'16,"2"15"0,-19 2-16,17 17 15,1-18-15,-1 1 0,2 0 16,-2 17 0,0 0-16,1 0 0,-1 17 15,2 18 1,-19-18-1,0 2-15,17 15 0,-17-16 16,0 0-16,0 0 16</inkml:trace>
  <inkml:trace contextRef="#ctx0" brushRef="#br0" timeOffset="95168.35">1587 12616 0</inkml:trace>
  <inkml:trace contextRef="#ctx0" brushRef="#br0" timeOffset="95437.14">1675 12740 0,'0'36'0,"0"-19"0,0-70 0,0 123 16,0-52-16,19-1 16,-19 2-1,17-19-15,1 0 16,-1-19-16,0 19 31,2 0-31,-2 0 31,1 19-15,-1-19 0</inkml:trace>
  <inkml:trace contextRef="#ctx0" brushRef="#br0" timeOffset="95574.91">1958 12581 0,'-17'-17'31</inkml:trace>
  <inkml:trace contextRef="#ctx0" brushRef="#br0" timeOffset="95927.76">1993 12634 0,'18'52'15,"-18"-33"-15,-18-90 0,54 159 16,-36-70-16,17 18 0,-17-2 16,17 1-16,-17-16 0,0 15 0,19-16 15,-19 18-15,0-19 0,0 0 16,17 1-16,-17 0 0,0-54 47,18 19-47,-18 0 15,0-19-15,0 18 0,17 1 16,-17-19-16,17 1 0,2 18 0,-2 0 16,1-2-1,-1 38 1,-34 15-1,17-16-15,-18-1 0,1 2 16,-2-2-16,2 0 16,17 1-16</inkml:trace>
  <inkml:trace contextRef="#ctx0" brushRef="#br0" timeOffset="96067.74">2275 12757 0,'0'-17'16,"0"34"-16,-17-52 0,17 18 31</inkml:trace>
  <inkml:trace contextRef="#ctx0" brushRef="#br0" timeOffset="101835.54">14641 4168 0,'0'52'31,"0"-16"-31,0-2 16,0-15-16,0 16 0,0-18 16,-19 0-16,19 2 0,0-2 31,19 1-31,-2-36 16,0 18-1,1 0-15,0-17 16,0 17-16,-1 0 15,36 0 1,-53 17-16,18-17 16,-1 0-16,0 18 15,2-18-15,-2 0 16,1 0-16</inkml:trace>
  <inkml:trace contextRef="#ctx0" brushRef="#br0" timeOffset="104636.67">5450 9548 0,'19'17'94,"-19"0"-79,0 1-15,17 18 16,-17-19-16,0 0 16,0 1-16,0 0 15,17 0 1,-17-1-16,0 0 15,0 2 1,18-19 0,-1-19-16,2 19 0,-2-17 15,18 17-15,1-17 0,-2-1 0,20 0 16,-20 0-16,20-16 0,-1 15 0,0 2 16,-1-18-16,55-1 15,-55 19-15,1-18 0,1 16 16,-20 2-16,20 0 0,-37-1 0,18 18 15</inkml:trace>
  <inkml:trace contextRef="#ctx0" brushRef="#br0" timeOffset="106960.72">12611 11134 0,'19'0'16,"-19"36"0,0-18-1,0-1-15,0 36 16,0-35-16,0-1 0,0 0 16,17 2-16,1-2 15,-1-17-15,2 0 0,15 0 16,20-17-16,16-2 0,0-15 0,19-1 15,-1 16-15,0-15 0,-17-2 16,17 1-16,0 0 0,0-1 16,-18 2-16,1-2 0,-18 18 0,1 1 15,-20-2-15,20 2 0,-2-18 16,-34 35-16</inkml:trace>
  <inkml:trace contextRef="#ctx0" brushRef="#br0" timeOffset="108958.13">12770 12564 0,'0'-18'16,"0"53"15,0 18-15,0-35-16,0 16 0,0-15 0,0-2 15,0 1-15,0-1 0,0 2 16,19-2-16,-19 0 0,17-17 15,0 0-15,1 0 0,18 0 0,-2 0 16,20-17-16,-1 0 16,18-2-16,69-52 0,-51 54 15,-1-18-15,0-18 0,0 18 0,0-1 16,0 2-16</inkml:trace>
  <inkml:trace contextRef="#ctx0" brushRef="#br0" timeOffset="111224.96">12682 14469 0,'0'-19'16,"-17"55"-16,17-18 16,0-1-16,17 0 0,-17 2 15,19-2-15,-2-17 16,0 18-16,1-1 0,18-17 0,-2 0 15,20 0-15,68 0 0,-51-17 16,17-1-16,1 1 0,-1-19 16,18 19-16,-18-18 0,18-1 0,-18 1 15,18-1-15,-18 2 0,70-37 16,-68 35-16,-21 1 0,2-1 16,-18 19-16,0 0 0</inkml:trace>
  <inkml:trace contextRef="#ctx0" brushRef="#br0" timeOffset="112589.28">14375 10146 0,'54'36'16,"-37"-18"-16,-17-1 0,17 36 0,-17 18 15,-17 17-15,17 0 0,-17 19 16,17-19-16,-18 17 0,1 0 0,-2 107 15,19-105-15,0-19 16,0 0-16,0-35 0,19-1 0,-2 2 16,1-1-16,-1-18 0,0 1 0,2-19 15,-2 0-15,1 1 0,18-1 16,-19-17-16,0 19 0,37-2 16,-37 0-16,18 19 0,1-1 0,-19 18 15,0 18-15,19 0 0,-18 17 16,-18 17-16,17 0 0,0 266 15,-17-247-15,-17 35 0,17-54 16,0 19-16,-17-19 16,-1 2-16,1-2 0,17 1 0,-36-17 15,19-1-15,-1 0 0,-18-17 0,19-19 16,-19 18-16,1-34 0,1-1 16</inkml:trace>
  <inkml:trace contextRef="#ctx0" brushRef="#br0" timeOffset="113696.02">15946 10024 0,'0'-18'0,"-19"0"16,2 36-16,0 0 16,-1-1-16,-18 0 0,19 19 0,-18-1 15,17 1-15,-34 33 16,33-33-16,2-18 0,17 18 0,-18-19 16,18 0-16,0 1 0,0 18 15,-17-19-15,34 0 0,-17 1 16,0 0-16,18-18 0,-18 18 15,17-18-15,2 0 0,-2 0 16,0 0-16,1 0 0,0 0 16,0-18-16,-1 18 0,0-18 15,2 18-15,-19-18 0,17 18 16,1-17-16,-18 0 0,17 17 16,0-18-16,2 18 31,16 18-16,-18-18-15,-17 17 0,19-17 16,-2 17-16,0-17 16,1 0-16,0 0 0,0 0 15,-1 0 1,0-17 0,-17 0-16,-17-19 15,0 18 1,-1 1-1,0 17-15,18-17 0,-18 17 16,1 0-16,0 0 16</inkml:trace>
  <inkml:trace contextRef="#ctx0" brushRef="#br0" timeOffset="113903.69">16263 10076 0,'0'-18'0,"18"36"31,-18 0-15,0 0-16,-18 35 16,18-1-16,-17 1 15,-2 35 1,2-34-16,17-37 0,0 0 15,0 1-15,0 18 16</inkml:trace>
  <inkml:trace contextRef="#ctx0" brushRef="#br0" timeOffset="114182.89">16475 10217 0,'0'0'0,"-36"0"0,2 0 16,15 17-1,2-17-15,-1 19 16,18-2-16,-17-17 16,17 18-16,0-1 0,0 2 15,35-2 16,-18 0-31,2-17 16,15 0-16,2 18 16,-18-18-16</inkml:trace>
  <inkml:trace contextRef="#ctx0" brushRef="#br0" timeOffset="114437.57">16757 10358 0,'0'-53'31,"-52"89"-15,33-36-1,19 17-15,-17 1 0,17 0 16,0 0-16,0-1 0,17-17 15,-17 17-15,19-17 0,-2 0 16,18 0-16,18 0 16,-36 0-16,19-17 0,-1 17 0</inkml:trace>
  <inkml:trace contextRef="#ctx0" brushRef="#br0" timeOffset="115989.16">16545 4309 0,'229'-19'0,"-193"19"0,-1 0 16,1 0-16,-19 0 0,71 19 16,-52-19-16,-19 17 15,37 18-15,-37-18 16,-17 2-16,17 16 0,1 1 0,-18 16 16,18 1-16,0 52 0,-18-51 15,0 16-15,0-16 16,0 16-16,17 0 0,-34 19 0,17-1 15,0 0-15,0-17 0,0 17 16,0 0-16,0 0 0,0 0 0,0 18 0,0-18 16,-18 0-16,18 0 0,0 0 15,0 0-15,-18 19 0,18 69 16,-18-69-16,18-19 0,0 0 0,-17 0 16,17 17-16,0-17 0,0 1 15,-17 17-15,17-18 0,-19 0 16,19 18-16,-17-18 0,17 18 0,-18 0 15,1 105-15,-2-104 16,2-2-16,0 0 0,17 2 0,-18-2 16,1 2-16,-2-2 0,2 1 0,0 0 15,-19 88-15,18-106 16,1 1-16,17-1 0,-17 17 0,-2-17 16,2 0-16,17 0 0,-18 90 15,1-108-15,17 18 0,0 0 16,-17-17-16,17 17 0,0-17 15,-19 17-15,19 70 0,0-87 16,-17 17-16,17 0 0,0-17 0,0 17 16,-18-18-16,18 1 0,0 0 15,0-1-15,0 1 0,0 0 0,0-1 16,0 1-16,0 0 0,0-1 0,18 70 16,-18-69-16,17 53 15,-17-53-15,0-18 16,19 35-16,-19-36 0,17 19 0,-17-18 0,0 18 15,17 53-15,1-72 16,-18 18-16,17-16 0,-17 16 0,0-18 16,0 2-16,19-1 0,-19 18 15,0-19-15,0 1 0,17 0 16,-17-1-16,0 2 0,0-1 0,0-18 16,0 1-16,0 16 0,0-16 0,0-2 15,0 2-15,0-1 0,0 1 16,0-1-16,0 1 0,0-2 0,0 2 15,0-1-15,0-18 0,17 19 0,-17-1 16,0-18-16,0 19 16,0-18-16,0-1 0,0 2 0,-17 15 15,17-16-15,0-1 16,0 2-16,0-2 16,-17 0-16,-2-17 15,19 18-15,-17-18 16,-1 18-16,1 0 0,-19-18 15,1 34-15,-18-15 0,0-2 0,-17 18 16,17 1-16,-18-1 0,-17 1 0,18-2 16,-18 1-16,17 1 0,-17-1 15,0-17-15,-1 17 0,1 1 0,-71 16 16,71-16-16,17-1 0,1-18 16,18 19-16,-2-19 0,18 1 15,-16 0-15,16 0 0</inkml:trace>
  <inkml:trace contextRef="#ctx0" brushRef="#br0" timeOffset="118865.06">15787 10782 0,'123'35'0,"-87"-35"0,16 17 0,1 2 16,1-2-16,16 1 0,-18-1 15,2 0-15,16 2 0,1-2 0,-18 1 16,17-18-16,71 17 0,-88 2 15,1-19-15,-20 0 0,20 0 16,-20-19-16,20 19 0,-20 0 16,2-17-16,35-1 0,-36 18 15,1-17-15,-19-2 0,18 2 16,-17 0-16,34-37 0,-33 37 16,-2-18-16,35-35 0,-33 34 15,-19 1-15,17-1 0,1 1 16,-18-1-16,0 2 0,0-2 0,0 1 15,0-18-15,-18 1 0,1-2 0,-2 1 16,2-18-16,-18 19 0,-53-72 16,35 90-16,0-20 0,1 18 15,-19-16-15,0 16 0,-17 2 16,18 16-16,-1 0 0,18 0 16,-18 1-16,-34 17 0,34 0 15,18 0-15,-18 17 0,0 1 0,1 18 16,0-2-16,0 2 0,-1 16 15,0 2-15,18-1 0,0 18 0,-18-19 16,19 18-16,-1 1 0,18 0 0,-18-1 16,18 1-16,-18 53 15,35-19-15,18-51 0,0-20 16,0 2-16,18-1 0,-1 1 0,0-1 16,54 18-16,-35-53 15,-19 17-15,18-17 0</inkml:trace>
  <inkml:trace contextRef="#ctx0" brushRef="#br0" timeOffset="121155.85">16334 11012 0,'-19'17'47,"19"0"-47,-17 1 15,17 0-15,-52 105 16,33-70-16,-15 18 0,-2-19 15,-104 248 1,86-229-16,18 17 0,-33 18 16,16 0-16,-1-1 0,-16 2 15,18-19-15,-19 17 0,18-16 0,-18 17 16,18-1-16,-18 2 0,2-19 0,-38 105 16,36-86-16,1-19 15,18 0-15,-38 17 0,21-17 0,-2 1 16,-87 105-16,68-106 15,21 0-15,-20 1 0,1-1 16,17 0-16,0-35 0,1 18 0,18-19 16,-19 1-16,18 1 0,1-20 0,-2 20 15,1-20-15,18-16 0,-1 18 16,-16-2-16,34-15 0,0-19 16,1 17-16,0-17 15,-2 18-15,2-18 16</inkml:trace>
  <inkml:trace contextRef="#ctx0" brushRef="#br0" timeOffset="121756.7">13423 14628 0,'-17'34'15,"17"-16"-15,0-1 16,-19 19-16,19-19 0,-17 19 15,17-18-15,-17 52 16,17-52-16,0-1 16,-18 0-16,18 2 0,18-2 0,-18 1 15,0-1-15,17 2 16,19-2 0,-19-17-16,1 0 0,18 0 0,-19 0 15,0 0-15,1 0 0,18 0 16,-19 0-16,0 0 0</inkml:trace>
  <inkml:trace contextRef="#ctx0" brushRef="#br0" timeOffset="122711.82">11183 16126 0,'-17'18'16,"-2"0"-16,19 0 0,0-1 0,0 0 16,-17 19-16,17-18 0,0-1 15,0 19-15,17-19 0,-17 18 0,0-18 16,19 2-16,-19 16 0,17-18 0,-17 2 16,18-2-16,-1 0 15,0 1-15,2-18 16,-2 0-16,1 0 15,-1-18-15,-17 1 0,19 17 0,-19-17 16,17-2-16,-17 2 0,17-1 16,-17-18-16,0 19 0,18-35 15,-18 33-15,18-15 16,-18 16 0,0 0-16,18 54 31,-18-2-16,17-15 1,-17-2-16,0 1 0,0-1 0,17 0 16,-17 2-16,18-2 15,-18 1-15,0-1 0,18-17 0,-18 19 16</inkml:trace>
  <inkml:trace contextRef="#ctx0" brushRef="#br0" timeOffset="123075.6">11589 16285 0,'0'36'31,"0"-19"-16,0 1-15,0-1 16,17 0 0,2-17-1,-2-17 1,0 0 0,1 17-1,-1 0 1,2 0-1,-19 17-15,17-17 16,-17 17-16,17 19 16,1-36-1,-18 18 1</inkml:trace>
  <inkml:trace contextRef="#ctx0" brushRef="#br0" timeOffset="123564.07">11889 16073 0,'0'36'31,"17"-19"-31,-17 1 16,0 0-16,0 0 16,0-1-1,17 0-15,-17 1 16,19-18 31,-2 0-32,1 0 1,-1 0-16,-17 18 16,19-18-1,-2 18-15,0-18 0,1 17 16,-18 0-16,0 2 16,0 16-1,0-18-15,-18 0 0,18 2 16,-17-19-16,17 17 0,-17-17 15,17 18-15,-19-18 0,2 17 16,-1-17 0,1-17-16</inkml:trace>
  <inkml:trace contextRef="#ctx0" brushRef="#br0" timeOffset="123756.63">12101 16197 0,'17'0'16,"0"35"-1,-17-17 1,18-18-16,-18 18 0,0-1 16,0 0-16,0 2 0,0-2 15,0 1-15,0-1 16,0 0-16</inkml:trace>
  <inkml:trace contextRef="#ctx0" brushRef="#br0" timeOffset="123901.13">12118 16073 0,'-17'-17'0</inkml:trace>
  <inkml:trace contextRef="#ctx0" brushRef="#br0" timeOffset="124566.69">12453 16073 0,'-35'36'0,"18"-36"0,17 17 15,0 1-15,0 0 0,-19 0 16,19-1-16,0 18 16,0-17-16,0 0 0,0-1 0,19 0 15,-2 2 1,18-38-1,-17 2 1,-18 0 0,18-1-16,-18 0 0,17 0 15,-17 1-15,0 0 16,17 34 31,1-17-47,-18 35 15,18-17-15,-18 0 0,0-1 16,18-17 0,-18 17-16,17-17 0,0 0 15</inkml:trace>
  <inkml:trace contextRef="#ctx0" brushRef="#br0" timeOffset="124963.26">12718 16109 0,'-17'0'16,"34"0"-16,-34 17 16,34 1-16,-17 0 15,17 0 1,-17-1-16,18 0 0,-1 37 15,-17-20 1,0-15 0,0 16-16,-17-18 15,-1 0 1,1-34 15,17 0-15,0-1-1,17 18-15,1-17 16,-18-2-16,17 19 16,2 0-16,-2-17 0,0 17 15,1-17-15,0 17 0,0 0 16,-1 0-16,-17-18 0</inkml:trace>
  <inkml:trace contextRef="#ctx0" brushRef="#br0" timeOffset="125242.32">13035 16197 0,'0'0'0,"18"-17"16,-36-1-1,1 18 32,-2 35-47,19-18 16,0 1-1,0 18 1,19-19 0,16 0-1,-18-17-15,19 0 16,-19 0-16,1 0 16,-1 0-16,2-17 0,-2 17 0,0-17 15,1 17-15,0 0 0</inkml:trace>
  <inkml:trace contextRef="#ctx0" brushRef="#br0" timeOffset="125716.76">13423 16056 0,'-36'0'0,"19"17"16,0 2-16,17 15 15,-18-16-15,18 35 16,0-36 0,0 1-16,18-18 0,-18 18 15,17 0-15,19-36 31,-1 0-15,-35 0-16,17 1 0,-17-18 16,19 17-16,-2-17 0,-17-1 15,17-35-15,-17 37 0,18 16 0,-18 1 16,0-36 0,0 35-16,0 53 31,-18 18-16,18-35-15,0 16 0,0 2 16,-17-18-16,17 18 0,0-2 0,0 2 0,0-1 16,0 0-16,0-17 0,0 17 15,0-18-15,0 19 0,0-18 0,0-1 16,0 0-16,-17 2 0,17 16 16</inkml:trace>
  <inkml:trace contextRef="#ctx0" brushRef="#br0" timeOffset="127049.09">11571 17220 0,'35'17'16,"-16"-17"-16,-2 0 0,124-17 15,-70 17-15,-2 0 0,21-18 16,-2 18-16,0-17 0,0 17 15,17-17-15,-16 17 0,-1-19 16,0 2-16,0 17 0,-17-18 0,0 18 16,-1-17-16,1-2 0,-19 19 0,19-17 15,-18 0-15,0-1 0,-1 0 16,2 0-16,34-16 0,-52-2 16,16 18-16,-34 1 0,17-19 15,18 1-15,-18 18 0,1-19 16,-19 19-16,1-1 15,-1 1-15,2-2 0,15-51 16,-16 52-16,-1-16 0,-17 16 16,19-18-16,-2 19 15,-17-19-15,17 19 0,-17-18 0,18-1 16,-18 1-16,18 18 0,-18-19 0,18-17 16,-1 18-16,-17 18 0,0-1 15,17-18-15,-17 19 0,0-19 16,0-16-16,0 33 15,0 2-15,0 0 0,0-1 16,0 1-16,0-19 0,-17 19 0,17-19 16,0 18-16,-17-16 0,17-2 15,-18 18-15,18-16 0,-18-2 16,0 18-16,18 1 0,-17-19 0,17 19 0,-17-1 16,17 0-16,-19 0 15,19 1-15,-17 17 0,17-17 0,-18-1 16,1 0-16,0 0 0,-2 1 15,2 17-15,17-17 16,-18 17-16,1 0 0,-2-19 0,2 19 16,-18 0-16,17 0 0,0 0 0,1 0 15,-18 0-15,17-17 0,-17 17 16,-1 0-16,1 0 0,-18 0 16,-52 0-16,51 0 0,20-18 15,-37 18-15,0 0 0,18 0 0,-18 18 16,1-18-16,-1 0 0,2 0 15,-55 0-15,53 0 0,-17 17 16,17-17-16,1 0 0,-1 0 0,0 0 16,19 19-16,-18-19 0,16 0 15,1 0-15,18 0 0,-18 17 0,18-17 16,-1 0-16,2 0 0,-2 0 16,1 17-16,-18-17 0,18 0 15,-1 0-15,19 18 0,-19-18 16,1 0-16,18 18 0,-37-18 15,20 0-15,15 18 0,-16-18 0,18 0 16,-2 17-16,-15-17 0,16 0 16,-18 17-16,2 1 0,-2-18 15,18 18-15,-16-18 0,16 0 16,0 18-16,-17-1 0,18-17 16,-19 17-16,18 2 0,-18-19 0,19 17 15,-18 1-15,18-1 0,-2 2 16,-15-2-16,16 0 0,0-17 0,-17 18 15,18-1-15,-2 2 0,2-2 16,-1 0-16,1 1 0,0 18 0,-2-19 16,2 0-16,17 19 0,-18-18 0,1 16 15,17 2-15,-19-18 0,2 18 0,17-2 16,0 2-16,-17-1 0,17 18 16,0-18-16,-18 1 0,18 16 0,0 1 15,0 1-15,0-2 0,18 1 16,-18 0-16,0-1 0,17 2 15,0-1-15,2-18 0,33 106 16,-16-106-16,-19 1 0,18-2 16,1 2-16,-1-1 0,1 1 15,17-19-15,35 37 0,-17-37 16,51 0-16,2-17 16,-53 0-16,0 0 15,51-17-15,-51 0 0,-18 17 16,18-19-16,-19 19 0,1-17 0,1 17 15,-20-18-15,20 18 0,-1-17 16,-18 17-16,18-17 0,-18 17 0,1-19 16,-2 19-16,2-17 0</inkml:trace>
  <inkml:trace contextRef="#ctx0" brushRef="#br0" timeOffset="146538.89">20302 5632 0,'0'-71'0,"19"54"16,-19 51 15,0 1-15,0 1-16,0-1 0,0 1 0,-19 17 16,19-18-16,-35 70 15,35-69-15,-36 52 16,36-53-16,0-17 15,-17 17-15,17-18 0,0 2 16</inkml:trace>
  <inkml:trace contextRef="#ctx0" brushRef="#br0" timeOffset="146854.62">20709 5754 0,'-36'0'0,"18"0"0,-18 0 16,19 19-16,-18-2 0,-1-17 16,-16 18-16,16-1 0,2 0 15,-2 2-15,1-2 0,-1 1 0,19-1 16,-1-17-16,1 19 0,17-2 15,-19 0-15,19 1 0,19 0 16,-2 0-16,1-18 16,-1 0-16,2 17 0,-2-17 15,18 0-15,-18 0 0,2 0 0,15 0 16,2 0-16,-1-17 0,-18 17 0,19 0 16,-1 0-16,1-18 0,-1 18 15</inkml:trace>
  <inkml:trace contextRef="#ctx0" brushRef="#br0" timeOffset="147078.94">21078 5702 0,'0'0'16,"-17"35"-1,17-18 1,0 2-16,0-2 0,0 18 15,-18-18-15,18 2 0,0 16 0,0-18 16,-17 19-16,17-19 0,0 1 0,0 0 16,0 0-16,0-1 0,0 0 0,0 1 15</inkml:trace>
  <inkml:trace contextRef="#ctx0" brushRef="#br0" timeOffset="147276.57">21026 5754 0,'71'-52'15,"-54"52"-15,0-18 0,1 18 0,0 0 16,0-18-16,16 18 0,-16 0 15,0 18-15,0-18 0</inkml:trace>
  <inkml:trace contextRef="#ctx0" brushRef="#br0" timeOffset="147644.14">20973 5861 0,'0'17'0,"-18"-17"0,36-17 16,-1 52-1,36-35 17,-18 0-32,-16 0 0,33 0 15,54-35 1,-54 16-16,-16 19 0,-1-17 0,18 0 16,-18-1-16,-16 18 0,15-17 0,-16-2 15,0 19-15,0-17 0,16 0 16,-16-1-16,-36 36 47,1-1-47,17 0 0,-17-17 15,17 19-15,-18-2 0,0 18 0,18-18 16,0 2-16,-18-2 0,18 1 16,0-1-16,0 2 0,0-2 15,0 0-15,0 1 0,18-18 0,-18 18 0,18-18 16,0 18-16,-1-18 0,0 17 15,1-17-15,18 0 0</inkml:trace>
  <inkml:trace contextRef="#ctx0" brushRef="#br0" timeOffset="148225.16">22437 5561 0,'-18'17'31,"18"1"-31,0-1 16,0 2-16,0-2 0,0 18 0,0 1 0,0-19 16,0 19-16,-17 33 15,17-50-15,0 16 0,0 1 16,0-19-16,0 0 0,-19 1 15,19 0-15,0 0 16,0-72 0,0 37-1,19 0-15,-19-2 16,17 2-16,1-1 0,-1 1 0,0-2 16,2 19-16,-2-17 0,1 17 0,-1 0 15,2 0-15,-2 0 0,0 0 16,-17 17-16,0 2 15,0-2-15,-17 1 16,17-1-16,-17 2 0,-2-19 0,2 17 16,-1 0-16,1 1 0,-2-18 15,19 18-15,-17-18 0,0 18 0,-1-18 16</inkml:trace>
  <inkml:trace contextRef="#ctx0" brushRef="#br0" timeOffset="148586.48">22754 5808 0,'17'-18'0,"-34"53"32,17 1-17,0-1-15,0-18 16,0 2-16,36-2 15,-1-17 1,18-17 15,-18-2-15,-18 19-16,2-35 16,-2 35-16,-17-17 15,17 34 1,-17 1-1,18-1 1,-18 2-16,0-2 31,18 0-31,0-17 16,-1 0-16</inkml:trace>
  <inkml:trace contextRef="#ctx0" brushRef="#br0" timeOffset="148929.68">23230 5842 0,'0'0'0,"-17"54"31,17-37-15,0 2-16,0-2 15,-18 0-15,18 1 0,0 0 16,0 0-16,18-36 47,-1-18-32,2 19 1,-2 17-16,0-17 16,-17-2-16,18 19 0</inkml:trace>
  <inkml:trace contextRef="#ctx0" brushRef="#br0" timeOffset="149474.65">23442 5808 0,'17'0'16,"-34"17"-16,17-34 0,17 34 15,-17 0-15,19-17 16,-19 36-16,0-18 0,0-1 16,17 19-16,-17-19 0,-17 1 15,17 0-15,0 17 0,0-18 16,-19 1-16,2 0 0,17 0 16,-17-1-16,-1 0 15,53-51 16,1-2-15,-19 36-16,1-18 16,-1 1-16,19-18 0,-19 17 15,1 0-15,-1 1 16,2 17-16,-2-17 16,-17-2-16,17 19 0,1 19 46,0-2-30,-18 0 0,35-17-1,-18 0 1,1-17 0,18 17-1,-19-17 1,0 17-16,2 0 15,16-19 17,-18 19-1,2 0-31</inkml:trace>
  <inkml:trace contextRef="#ctx0" brushRef="#br0" timeOffset="152684.69">28822 5278 0,'0'36'31,"0"-18"-15,0-1-16,-17 0 0,17 54 16,-18-35-1,18 35-15,-18-37 0,18-16 16,-18 18-16,18-19 0,0 18 15,0-17-15,-17 53 16,17-54 0,0 1-1</inkml:trace>
  <inkml:trace contextRef="#ctx0" brushRef="#br0" timeOffset="152946.9">28875 5296 0,'0'-18'16,"35"36"-1,-35 0 1,17-18-16,2 35 15,-2-18-15,1 1 16,-18 0 0,17-18-16,2 18 0,-2-18 0,0 0 15,1 0 1</inkml:trace>
  <inkml:trace contextRef="#ctx0" brushRef="#br0" timeOffset="153138.79">29245 5332 0,'0'-18'15,"0"0"1,-35 36 0,0 17-1,35-18-15,-18 1 0,0 0 16,1 17-16,-19-18 0,19 2 16,-1 16-16,1-18 0,0 2 0,-2-2 15,19 0-15,-17 1 0,17-1 16,-18 2-16,18-2 0</inkml:trace>
  <inkml:trace contextRef="#ctx0" brushRef="#br0" timeOffset="153371.07">29245 5349 0,'18'35'31,"-18"-17"-31,0 0 0,0-1 16,0 19-16,0-19 0,-18 18 15,18-16-15,0 15 0,0-16 0,0 18 16,0-19-16,0 0 0,0 1 0,0 0 16,0 0-16,0-1 0,0 0 15,0 2 1</inkml:trace>
  <inkml:trace contextRef="#ctx0" brushRef="#br0" timeOffset="153822.76">29527 5544 0,'0'-19'16,"-17"38"0,-19 15-1,19-16-15,-1-18 0,1 53 16,17-36-1,-17 19-15,17-18 16,0-1-16,17 0 0,-17 2 16,17-19-16,1 0 15,-1 0-15,2 0 0</inkml:trace>
  <inkml:trace contextRef="#ctx0" brushRef="#br0" timeOffset="154126.81">30110 5296 0,'0'0'0,"-19"18"16,19 0-1,0 16-15,-34 73 16,16-72-16,18-18 0,-17 19 16,17-19-16,0 18 0,-19-16 15,19-2-15,0 0 0,0 1 0,0 0 16,0 0-16</inkml:trace>
  <inkml:trace contextRef="#ctx0" brushRef="#br0" timeOffset="154423.66">30039 5190 0,'88'-88'0,"-70"88"16,-1 0-16,2 0 0,15 18 0,-16-1 15,0 0-15,17 19 0,-18-1 16,1-16-16,-18 15 0,0 2 16,0-1-16,0 0 0,-18 1 0,-16 69 15,16-69-15,0-1 0,-17 18 16,18-36-16,-2 19 0,2-18 0,-1-1 15,1 0-15,-2 2 0,2-2 0,0 1 16</inkml:trace>
  <inkml:trace contextRef="#ctx0" brushRef="#br0" timeOffset="154996.71">30850 5208 0,'-17'36'16,"-18"16"0,35-16-16,-19-19 15,19 18-15,0 1 0,-17-2 0,17-15 16,0-2-16,0 1 0,17 18 16,-17-19-16,19 0 0,-19 1 15,0-1-15,17-17 0,1 0 16,-18 19-16,17-38 15,2 19-15,-2 0 0,-17-17 0,17-1 16,1 1-16,-1 0 16,2-2-16,-19 2 15,17-1 1,0 1-16,1-2 31,-36 55 16,18-1-31,0-16-16,-17-2 15,17 0 1,0 1 0,0-1-1</inkml:trace>
  <inkml:trace contextRef="#ctx0" brushRef="#br0" timeOffset="155440.49">31045 4802 0,'-36'71'0,"18"-18"16,-52 70 0,52-70-16,-16 18 0,-2-19 0,18 19 15,-35 17-15,18 18 16,18-71-16,-2 1 0,19-1 15,-17-18-15,17 19 0,-17-19 0,17 1 16,0 0-16,0 0 16,0-1-16,0 0 15,17-17-15</inkml:trace>
  <inkml:trace contextRef="#ctx0" brushRef="#br0" timeOffset="155810.63">30869 5278 0,'0'-17'0,"17"17"16,-17-17 0,17 34-16,1-17 0,-1 0 0,-17 17 15,19-17-15,-2 18 0,-17 0 16,17 0-16,-17-1 0,0 0 0,0 1 16,0 0-16,0 17 0,-17-18 0,17 2 15,-17-2-15,-2 1 0,2 18 16,-1-19-16,1 0 0,0-17 0,-2 18 15,2-1-15,-1 2 16,1-19-16,-2 17 0,2-17 16</inkml:trace>
  <inkml:trace contextRef="#ctx0" brushRef="#br0" timeOffset="156322.44">31150 5454 0,'17'19'31,"-34"16"-15,17-18-1,0 2-15,0-2 16,0 0-16,17 1 15,2-18-15,-2 0 16,18 0 0,-35-18-16,19 18 15,-19-17-15,17 17 16,-17-17-16,17 17 0,-17-19 0,18 2 16,-18-1-1,18 18-15,-18-17 16,18 17-16,-1 17 15,-17 1 1,17-1 0,-17 2-16,0-2 15,0 0-15,0 1 32,18-18-17,0-18 1,0 18-1,-18-17-15,17 17 16,-17-17 0,17 17-16,2-19 15,-2 19 1</inkml:trace>
  <inkml:trace contextRef="#ctx0" brushRef="#br0" timeOffset="156813.87">31750 5437 0,'0'-17'0,"0"34"15,-17 0 17,17 2-32,-18-2 15,18 1 1,0-1-16,0 2 0,0-2 15,-18-17-15,18 17 0,0 1 16,0-1-16,-18 2 0,18-2 16,-17-17-1,17 17-15,-17 1 16,51-18 31,-16-18-32,0 1-15,0 17 0,-1-17 0,0-2 16,19 2-16,-18-1 0,-1 18 16,0-17-16,2 0 15,-2 17-15,1 0 16,-1 17 31,2-17-16,-73 0 0</inkml:trace>
  <inkml:trace contextRef="#ctx0" brushRef="#br0" timeOffset="159385.81">20761 6425 0,'141'-17'16,"-70"17"-16,-1 0 0,36-18 16,0 18-16,17 0 0,1 0 0,-1 0 15,1-18-15,0 18 16,17-18-16,-18 18 0,18-17 0,106 0 16,-123 17-16,-36-19 0,0 19 15,-18-17-15,-16 17 0,-20 0 0,2 0 16,-18-18-1</inkml:trace>
  <inkml:trace contextRef="#ctx0" brushRef="#br0" timeOffset="159609.6">21378 6566 0,'71'0'0,"-142"0"0,212 0 0,-70 0 0,17-17 16,19 17-16,-2-19 0,0 19 16,19-17-16,140 0 15,-157 17-15,16-18 0,1 18 0,-19-18 0,19 0 16,-19 18-16,2 0 0,-19-17 16,-17 17-16,17 0 0,-18 0 15,1 0-15</inkml:trace>
  <inkml:trace contextRef="#ctx0" brushRef="#br0" timeOffset="160118.98">29563 6478 0,'18'-18'0,"-1"18"0,19 0 0,-1 0 16,35 0-16,1 0 0,0 0 16,229 0-1,-178 0-15,-15 0 0,-2-18 0,19 18 16,-18 0-16,-1 0 0,2 0 0,139 0 16,-192 0-1,-20 0-15,-16 18 0</inkml:trace>
  <inkml:trace contextRef="#ctx0" brushRef="#br0" timeOffset="160248.6">30233 6672 0,'-35'17'0,"70"-17"0,-17 0 16,17 0-16,160 0 15,-126 0-15,20 0 16,-18 0-16</inkml:trace>
  <inkml:trace contextRef="#ctx0" brushRef="#br0" timeOffset="161887.53">26317 7818 0,'-35'-17'0,"0"34"32,-18 37-17,36-20-15,-2-16 0,2 71 16,-1-72-16,18 18 16,0 18-16,18-35 15,-18-1-15,17 2 0,19 15 16,-19-16-16,37-18 15,-37-18-15,0 18 16,1-17-16,0 17 0,0-17 16,-18-2-16,17 2 0,-17-18 0,17 18 15,-17-2-15,0-16 0,19 18 0,-19-2 16,0-15-16,0 16 0,-19 18 16,19-18-16,0 0 0,-17 1 15,0 17 1,-1 17-16,0 1 15,0-18-15</inkml:trace>
  <inkml:trace contextRef="#ctx0" brushRef="#br0" timeOffset="162054.95">26247 8382 0,'-18'36'0,"0"-18"0,54-72 0,-72 125 15,19-52-15,17-2 0,-17 18 16,-2-18-16,2 36 16,-1-35-16,18 0 0,-17 0 0,17-1 0</inkml:trace>
  <inkml:trace contextRef="#ctx0" brushRef="#br0" timeOffset="162360.91">26141 8436 0,'-18'0'15,"-35"17"1,36-17-16,-1 19 16,1-19-16,17 17 0,-19 0 0,2-17 15,17 18-15,17-18 16,37 0 15,-37 0-31,0-18 0,2 18 0,-2 0 16,1 0-16,-1 0 0,2 0 15,33 0-15,-34 18 0,0-18 16,-1 0-16,18 0 0,1 17 16,-2-17-16,-15 0 0,-2 19 15,1-19-15</inkml:trace>
  <inkml:trace contextRef="#ctx0" brushRef="#br0" timeOffset="162539.43">26229 8665 0,'-35'17'0,"18"2"15,-19 16 1,18-18-16,1 0 0,-2 2 15,2-2-15,17 1 0,-17-1 16,-1-17-16,18 19 0</inkml:trace>
  <inkml:trace contextRef="#ctx0" brushRef="#br0" timeOffset="162684.96">26158 8824 0,'19'0'0,"-2"17"15,0-17-15,1 19 0,18-2 16,-2-17-16,-16 17 0,18-17 16,-2 18-16,37 0 15</inkml:trace>
  <inkml:trace contextRef="#ctx0" brushRef="#br0" timeOffset="163337.5">26158 9653 0,'-17'0'16,"-18"17"-16,35 1 0,-19 0 15,19 17-15,-17-18 0,17 19 16,-17 35-16,17-36 16,0 1-16,17-2 0,-17 2 0,17-18 15,2 16-15,-2 2 0,18-18 0,-16-1 16,33 0-16,-16-17 16,-2 0-16,-16 0 0,0-17 15,0 0-15,-1-1 0,-17 0 16,17-52-16,-17 52 15,0-53-15,0 36 0,-17 18 16,17-36-16,-17 35 16,-1-18-16,0 36 15,18-17-15,-35 34 0,18-17 16,-1 19-16</inkml:trace>
  <inkml:trace contextRef="#ctx0" brushRef="#br0" timeOffset="163547.45">26247 10076 0,'0'106'0,"0"-88"16,0-1-16,0-158 0,-18 318 0,18-160 0,0 18 16,-18 54-16,1-54 15,17 18-15,-17-18 0,17 1 0,-19-1 16,19-18-16,-17 19 0,17-1 0,0-18 15,-18 19-15,18-19 0,0 1 16,0 0-16,-17-18 0,17 18 0</inkml:trace>
  <inkml:trace contextRef="#ctx0" brushRef="#br0" timeOffset="163733.89">26177 10394 0,'-71'0'15,"52"0"-15,2 18 16,124-36-16,-249 36 0,125-18 16</inkml:trace>
  <inkml:trace contextRef="#ctx0" brushRef="#br0" timeOffset="163866.87">26087 10394 0,'54'-18'16,"-37"36"-1,-88-18-15,161 0 0,-73 0 16,0 18-16,1-18 0,0 0 0,0 0 16,-1 17-16,0-17 15,1 0-15,-18 17 0</inkml:trace>
  <inkml:trace contextRef="#ctx0" brushRef="#br0" timeOffset="164019.79">26177 10658 0,'-19'35'16,"2"-16"-16,53-73 0,-90 125 0,54-54 0,-17 1 15,-2 0-15,2 0 0,0-1 16,-18 19-16,16-1 0,-15-1 15,16 2-15,-18-18 0,19-1 0</inkml:trace>
  <inkml:trace contextRef="#ctx0" brushRef="#br0" timeOffset="164190.79">25999 10958 0,'107'54'16,"-72"-54"-16,18 17 16,0 0-16,-35-17 15,16 18-15,2-18 0</inkml:trace>
  <inkml:trace contextRef="#ctx0" brushRef="#br0" timeOffset="164766.63">26106 11752 0,'0'-18'0,"-53"53"16,53-16-16,-18-2 16,18 0-16,-17 1 0,17 18 15,0-19-15,-19 18 0,19-17 0,19 0 16,-19-1-16,0 0 0,17 2 15,1-2-15,-1 1 0,0-18 16,2 0-16,-2 0 0,1 0 16,-1-18-16,2 1 0,-19-2 15,0 2-15,0 0 0,0-1 16,0 0-16,0-17 0,0 18 16,-19-19-16,19 18 0,0 1 15,-17 17-15,17-17 0,-18 17 16,-18 17-1,36 0-15</inkml:trace>
  <inkml:trace contextRef="#ctx0" brushRef="#br0" timeOffset="164934.6">26141 12176 0,'0'52'0,"-18"-34"15,18 34-15,0-33 0,18-160 16,-53 317-16,35-159 0,-19 19 15,19-1-15,0 1 0,-17-2 0,17 2 0,-17-1 16,17 0-16,0-17 0,-18 0 16,18 16-16,-17-15 0,17-2 15,0 1-15</inkml:trace>
  <inkml:trace contextRef="#ctx0" brushRef="#br0" timeOffset="165126.71">25929 12510 0,'-71'36'15,"54"-36"-15,105-36 0,-194 90 16</inkml:trace>
  <inkml:trace contextRef="#ctx0" brushRef="#br0" timeOffset="165213.79">26123 12528 0,'35'18'16</inkml:trace>
  <inkml:trace contextRef="#ctx0" brushRef="#br0" timeOffset="165974.04">22525 9160 0,'-18'52'0,"18"-35"15,18 2-15,-18-2 0,17-17 0,19 17 16,-1 1-16,18 0 16,18-18-16,-1 0 0,36 0 0,0 0 15,17 0-15,1-18 0,-1 18 0,54-18 16,-72 1-16,71 0 0,2-2 0,-20 2 16,1-18-16,0 18 0</inkml:trace>
  <inkml:trace contextRef="#ctx0" brushRef="#br0" timeOffset="166774.34">23407 10976 0,'52'17'0,"-33"-17"0,33 0 15,19-17-15,87-37 16,37 2-16,-90 16 0,-17 2 16,19-2-16,-19 18 0,88-35 15,-105 36-15,-1 17 16,36-18-16,-70 18 0,16 18 15,-34-18-15,17 17 0,1 2 0</inkml:trace>
  <inkml:trace contextRef="#ctx0" brushRef="#br0" timeOffset="167711.88">29457 12176 0,'-52'34'0,"33"-34"0,2 18 0,-1-18 15,18 36-15,18-36 16,18 17-1,-2-17-15,1-17 0,36 17 16,-18-18-16,123-18 16,-105 2-16,17 15 0,1-16 0,-20 1 0,21-2 15,156-70 1,-175 70-16,0 2 0,-1-2 16</inkml:trace>
</inkml:ink>
</file>

<file path=ppt/ink/ink130.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57:26.454"/>
    </inkml:context>
    <inkml:brush xml:id="br0">
      <inkml:brushProperty name="width" value="0.05292" units="cm"/>
      <inkml:brushProperty name="height" value="0.05292" units="cm"/>
      <inkml:brushProperty name="color" value="#0070C0"/>
    </inkml:brush>
  </inkml:definitions>
  <inkml:trace contextRef="#ctx0" brushRef="#br0">10040 3898 0,'0'-17'0,"0"70"31,-17-36-16,17 1-15,0 18 0,-17-2 16,-1 20-16,18-20 16,-18-16-16,18 0 0,0 0 15,-18-1-15,18 19 0,0-19 16,0 1-16</inkml:trace>
  <inkml:trace contextRef="#ctx0" brushRef="#br0" timeOffset="1380.93">12070 3898 0,'34'-17'16,"-16"17"-1,0 0-15,0 0 0,16 0 16,-15 0-16,-2 0 16,1 17-16,-1-17 0,0 0 0,2 36 15,-2-19-15,-17 1 16,0-1-16,0 2 0,-17-2 0,-2 0 15,-15 37 1,16-37-16,1 0 0,-19 1 0,19 0 16,-19 17-16,18-18 0,1-17 15,0 19-15,-1-2 16,0 1-16,0-18 16,18 17-16,0 0 31,18-17-31,0 19 15,0-19-15,-1 0 0,0 0 16,1 0-16,0 0 16,0 0-16,-1 0 0,0 0 0,2 0 15,-2 0-15,1 0 0,16 0 16,-15 0 0,-2 0-16</inkml:trace>
  <inkml:trace contextRef="#ctx0" brushRef="#br0" timeOffset="2619">15032 3793 0,'18'-36'0,"0"36"15,0 0-15,-1 0 16,0 0-16,2 0 16,-2 0-16,1 0 0,-18 18 0,17-18 15,2 0-15,-19 18 0,0-1 16,0 0-16,-19 1 16,2 0-16,-1-18 0,1 18 15,17-1-15,-19-17 0,2 17 16,0-17-16,-1 19 0,0-19 15,36 17 17,0-17-32,-1 18 15,19-18-15,-19 0 0,1 17 16,-1-17-16,-17 19 16,19-19-16,-2 0 0,0 17 0,1 0 15,-18 1-15,0-1 16,0 2-16,-18-19 15,18 17-15,-17 0 0,-19 1 0,1 18 16,-1-36-16,19 17 16,-36 19-16,35-36 15,1 17-15,0-17 0,-1 18 0,0-1 16</inkml:trace>
  <inkml:trace contextRef="#ctx0" brushRef="#br0" timeOffset="3799.91">17431 3705 0,'-52'34'32,"33"-16"-32,2-18 15,-18 36-15,18-19 0,-2-17 16,2 17-16,-18 19 16,17-36-16,0 18 0,1-1 0,0 0 15,-1-17-15,18 19 16,-18-19-16,0 17 15,36 1 1,-18-1-16,18-17 16,17 0-1,0 19-15,18-19 0,-36 0 16,54 0-16,-35 0 16,-1 0-16,18 0 0,-18-19 15,-17 19-15,17 0 0,-18 0 16,19 0-16,-18-17 0,-1 17 15,0 0-15</inkml:trace>
  <inkml:trace contextRef="#ctx0" brushRef="#br0" timeOffset="3991.14">17431 3757 0,'-17'53'0,"17"-18"0,-18-17 0,18 17 16,-17 18-16,-2 1 0,19-2 15,-34 72-15,16-71 16,1-1-16,-2 19 0,2 17 0</inkml:trace>
  <inkml:trace contextRef="#ctx0" brushRef="#br0" timeOffset="9226.4">9423 5150 0,'0'-17'15,"0"-1"-15,-35 53 16,-1 1 0,19-1-1,0 1-15,-1-19 0,18 0 16,-17 37-16,-2-20 16,19 2-16,0-18 0,0-1 15,0 2-15,19-2 16,-19 0-16,17-17 0,1 18 15,-1-18-15,0 17 0,2-17 0,-2-17 16,1 17-16,-1 0 0,2 0 16,-2-18-16,0 18 0,1-17 15,18 0-15,-36-2 0,17-16 16,0 18-16,-17-2 16,18-15-16,-18 16 0,0-18 15,0 19-15,0 0 16,-18-19-16,18 18 0,-17 18 15,17-17-15,0 0 0,-17 17 16,-2-19-16,2 2 0,-18 17 31,18 17-15</inkml:trace>
  <inkml:trace contextRef="#ctx0" brushRef="#br0" timeOffset="9426.59">9794 5291 0</inkml:trace>
  <inkml:trace contextRef="#ctx0" brushRef="#br0" timeOffset="9810.92">10059 5098 0,'0'35'15,"0"-18"-15,0 2 16,-19-2-16,19 18 0,-17-17 16,17 17-16,-17-18 0,17 19 0,-18-18 15,18-1-15,-18 0 16,18 2-16,0-2 0,-18 1 0,18-1 0,0 2 15,0-2-15,0 0 0,-17-17 16</inkml:trace>
  <inkml:trace contextRef="#ctx0" brushRef="#br0" timeOffset="11162.72">11734 5062 0,'0'-17'0,"-35"53"32,18-2-17,17-16-15,0 18 0,-19-19 16,19 18-16,-17 1 0,17-19 15,0 0-15,0 1 0,0 0 16,0 17-16,17-18 0,-17 2 16,0-2-16,19-17 0,-19 18 0,17-18 15,-17 17-15,17-17 16,1 0-16,0 0 0,0 0 16,-1 0-16,0-17 15,2-1-15,-2 1 16,1-2-16,-18 2 15,0 0-15,0-1 0,17 0 16,-17 0-16,0 1 0,0 0 16,0-19-16,-17 36 0,17-18 0,0 1 15,-18 17-15,1-17 16,17-2-16,-19 19 16,2-17-16,0 17 15,-1-18 1</inkml:trace>
  <inkml:trace contextRef="#ctx0" brushRef="#br0" timeOffset="11401.95">12087 5274 0</inkml:trace>
  <inkml:trace contextRef="#ctx0" brushRef="#br0" timeOffset="11771.59">12404 5115 0,'0'18'0,"0"-36"0,0 53 0,0-16 16,-17-19-16,17 34 0,-17-16 0,17 35 15,-19-36 1,19 1-16,-17 18 0,17-19 0,0 0 0,-18 2 16,18-2-16,0 1 0,-17-1 15,17 19 1</inkml:trace>
  <inkml:trace contextRef="#ctx0" brushRef="#br0" timeOffset="14069.05">17308 5186 0,'18'0'16,"-36"35"-1,18 1 1,-17-19-16,17 0 15,0 1-15,0 0 0,0 0 16,0-1-16,0 19 0,17-19 16,1 1-16,-18-1 15,17-17-15,-17 19 0,17-19 0,2 0 16,-2 17-16,1-17 0,-1 0 16,2-17-16,-2 17 0,18 0 15,1-19-15,-19 19 16,-17-17-16,17-1 0,1 18 15,-18-17-15,18-2 0,0 2 16,-18 0-16,0-1 0,0 0 0,0 0 16,-18 1-1,18 0-15,0-1 0,-18 18 0,18-18 0,-18 0 16,1 1-16,0 0 0,-1 17 16,18-19-16,-18 19 15,0-17-15,1 17 16,0 0-16,-2 0 15,2 0-15,-1 0 16,18 17-16</inkml:trace>
  <inkml:trace contextRef="#ctx0" brushRef="#br0" timeOffset="14268.54">17855 5291 0,'17'0'0</inkml:trace>
  <inkml:trace contextRef="#ctx0" brushRef="#br0" timeOffset="14539.61">18260 5062 0,'-17'71'31,"17"-54"-15,-17 2-16,17 15 0,-19 2 0,-16 52 16,35-53-1,-17-18-15,17 19 0,-17-18 0,17 18 16,-19-19-16,19 18 0</inkml:trace>
  <inkml:trace contextRef="#ctx0" brushRef="#br0" timeOffset="16542.83">14503 5221 0,'19'0'15,"-38"36"1,2-36-1,-1 34-15,1 20 16,17-37-16,0 19 16,0-19-16,0 1 0,0-1 15,0 2-15,0-2 0,17 0 16,1 1-16,-18-1 16,17-17-16,2 19 0,-2-19 0,0 0 15,1 0-15,-1 0 16,2 0-16,15-19 15,-16 2-15,-18-1 0,18 18 16,-18-17-16,18 0 0,-18-2 16,0 2-16,0-18 0,0 16 15,0 2-15,0 0 0,-18-1 0,18 0 16,0 0-16,-18 18 0,18-17 16,-18 17-16,1-17 15,0 17-15,-2 0 16,2 17-16</inkml:trace>
  <inkml:trace contextRef="#ctx0" brushRef="#br0" timeOffset="16715.78">14927 5379 0</inkml:trace>
  <inkml:trace contextRef="#ctx0" brushRef="#br0" timeOffset="17227.56">15244 5150 0,'54'0'16,"-37"-17"-16,36 17 16,-35 0-16,-1 17 15,0-17-15,2 19 16,-19-2-16,0 0 16,0 1-16,0 0 15,0 17-15,0-18 16,0 1-16,0 0 0,-19 0 15,19-1-15,0 0 16,0 2-16,0-2 0,0 1 16,0-1-1,0 2-15</inkml:trace>
  <inkml:trace contextRef="#ctx0" brushRef="#br0" timeOffset="17417.14">15262 5362 0,'0'0'0,"36"0"16,-19 0 0,0 0-16,19 0 0,-18-17 15,-1 17-15,19 17 0,16-34 31,-35 17-31,19 0 0</inkml:trace>
  <inkml:trace contextRef="#ctx0" brushRef="#br0" timeOffset="18568.84">11028 3598 0,'0'88'0,"0"-35"15,0 18-15,0 17 0,-17 107 16,0-90-16,-1 0 0,-18 37 16,19-18-16,-19-19 0,19 2 15,-54 193-15,36-212 0,-18 158 16,36-175-1,-1-19-15,18 1 0,-18 1 16,0-1-16,18-36 0</inkml:trace>
  <inkml:trace contextRef="#ctx0" brushRef="#br0" timeOffset="19184.4">13656 3722 0,'0'123'0,"-70"195"16,35-195-16,-106 406 16,106-387-1,-1-54-15,19 17 0,-18 2 16,-1 86-16,19-105 0,-19 72 15,18-72-15,1-36 0,0 1 16</inkml:trace>
  <inkml:trace contextRef="#ctx0" brushRef="#br0" timeOffset="19857.56">16303 3739 0,'0'71'15,"-19"-36"-15,19 35 0,-17 20 16,0-2-16,-1 17 0,-18 178 15,2-142-15,16-18 0,-18 123 16,19-139-16,0-2 0,-1 1 16,0-17-16,0 16 0,18-17 0,-17-17 15,17 17-15,-17-35 16,-2 35-16</inkml:trace>
  <inkml:trace contextRef="#ctx0" brushRef="#br0" timeOffset="20475.66">19178 3510 0,'-71'265'0,"54"-177"0,-37 35 0,20 18 16,-2-17-16,1 18 15,-53 122-15,52-123 0,-35 106 16,19-53-16,16-106 16,19 18-16,0-18 0,-19 53 15,1-17-15</inkml:trace>
  <inkml:trace contextRef="#ctx0" brushRef="#br0" timeOffset="21156.8">8983 3369 0,'0'-18'0,"-19"72"31,2-20-31,0 90 16,-37 52-16,-16 90 16,-89 262-1,124-404-15,-1 0 0,2-36 16,-2 17-16,-34 71 0,34-87 16,2-19-16,15 0 0,-33 54 15,33-89-15,2 1 16,0-19-16,-1-17 0</inkml:trace>
  <inkml:trace contextRef="#ctx0" brushRef="#br0" timeOffset="22432.01">9088 3387 0,'195'0'0,"-72"18"16,-53-18-16,1 0 0,0 0 15,17 17-15,88-17 0,-70 17 16,-18-17-16,18 18 0,0 0 0,-18-18 16,18 18-16,106-1 15,-107 0-15,2 2 0,-2-19 16,107 17-16,-107 1 0,107-1 15,-106-17-15,0 17 0,0-17 16,88 19-16,0-2 16,-124-17-16,1 0 0,0 0 15,87 0-15,-16 0 16,-2 0-16,-87 0 0,18 0 16,-18 0-16,-18 0 15,18-17-15,-18 17 0,18 0 0,0-19 16,-1 19-16,2 0 0,16-17 15,18 17-15,-34-17 16,-1 17-16,-1 0 0,19-18 16,17 18-16,-18-17 15,-16 17-15,16 0 0,-16-19 16,34 19-16,-54 0 16,2 0-16,52 0 15,-36 0-15,-16 0 0,18 0 16,-2 0-16,54 0 0,-54 0 15,36 19-15,-34-19 0,34 0 16,-52 0-16,16 0 0,-16 0 16,17 0-16,35 17 15,0-17-15,-53 0 0,54 18 16,-54-18-16,-1 0 16,20 0-16,70 17 15,-19-17-15,-52 0 16,18 17-16,-19-17 0,37 19 15,17-19-15,-53 0 16,-18 0-16,53 17 16,-35-17-16,0 0 0,-1 0 0,2 0 15,-20 0-15,20 18 16,-18-18-16,86 0 0,-34 17 16,-52-17-16,16 0 15,-16 0-15,35 0 0,0 0 16,-19 0-16,18 0 15,-34 0-15,-1 19 16,1-19-16,-1 0 0,35 0 0,18 0 16,-52 0-1,-1 0-15,1 0 0,35 0 16,-2-19-16,-50 19 16,51 0-16,-35 0 15,0 0-15,18 0 0,-17 0 16,-1 0-16,1 0 0,-2-17 15,37 17-15,-18 0 0,-1 0 16,-33 0 0,33 0-16,1 0 0,-35 0 15,-1 17-15,2-17 0,-2 0 16,0 0-16,1 0 0,18 0 16,-19-17-16,0 17 0,1 0 15,18 0-15,-19 0 16,0 0-16,2 0 15,16 0-15,-18 0 16</inkml:trace>
  <inkml:trace contextRef="#ctx0" brushRef="#br0" timeOffset="24104.71">9264 4710 0,'178'0'16,"-126"0"-16,36 0 16,36 0-16,-90 0 0,108 0 15,-72 0-15,1 0 16,0 0-16,123 0 15,-71 17-15,-16-17 16,-73 0-16,20 0 0,139 0 16,-86 0-1,-2 0 1,0 0-16,-17 0 16,-52 0-16,18-17 0,68 17 15,-68 0-15,-20 0 16,20 0-16,-18 0 0,69-19 15,-52 19-15,53 0 16,18 0-16,-72 0 16,1 0-16,52 0 0,-69 0 15,52 0-15,54 0 16,-108 0-16,20 0 0,-1 0 16,-18 0-16,89-17 15,-2 17-15,56 0 16,-90 0-16,0 0 15,-35 0 1,-18 0-16,53 0 0,-35 0 16,0 0-16,53 0 0,-53 0 15,52 0-15,-51 0 16,-2 0-16,106 0 16,-51 0-16,-55 0 15,72 17-15,-36-17 16,-52 0-16,52 0 15,-17 0-15,17 19 0,17-19 16,2 0-16,-2 0 16,-52 0-16,35 0 15,-34 0-15,51 0 16,-17 0-16,0 0 16,19 0-16,-19 17 15,-54-17-15,20 0 16,-1 0-16,70 0 15,-35 0-15,-35 0 0,0 0 16,-18 0-16,36 18 0,123-18 16,-71 17-1,-52-17-15,53 19 16,-54-19-16,-18 17 0,72-17 16,-53 17-16,70-17 15,-1 18-15,-69-18 0,53 0 16,17 0-1,-18 18-15,1-18 16,-53 0-16,53 0 0,-90 0 16,72 0-1,-70 0-15,17 0 0,-18 0 0,35-18 16</inkml:trace>
  <inkml:trace contextRef="#ctx0" brushRef="#br0" timeOffset="26372.6">8312 5574 0,'-17'88'0,"-2"-52"16,19-19-16,0 1 0,-17 16 15,0 2-15,17 18 16,-18-2-16,18-16 15,0-19-15,0 18 16,0-17-16,0 0 16,35-1-16,-18 0 15,2-17-15,-2 0 0,1 19 16,18-19-16,-19 0 0,18 0 0,35 17 16,54-17-1,-18 0-15,-36 0 16,1 0-16,70 0 0,1 0 15,-72 0-15,89 0 16,-88 0-16,-2 0 16,2 0-16,70 0 0,-70 0 15,-1 0-15,1-17 0,70 17 16,-70 0-16,0 0 0,-1-19 16,1 19-16,52 0 0,1-17 15,-54 17-15,-18 0 0,72 0 16,-53 0-16,-18-17 15,17 17-15,54 0 16,-54 0-16,-16 0 0,-2-18 0,1 18 16,0 0-16,-1 0 0,55 0 15,-36 0-15,51 0 0,20-18 16,-89 18 0,18 0-16,51 0 0,-86 0 15,87 0-15,-16 0 16,-55 0-16,89 0 0,-88 0 15,18 0-15,-18 0 0,-1 18 16,19-18-16,53 0 0,35 0 16,-89 0-16,-18 0 15,19 0-15,-18 0 0,53 18 16,0-18-16,-52 0 16,-2 0-16,36 0 15,0 0-15,-35 0 16,35 17-16,-35-17 0,35 0 15,-52 0-15,70 0 16,-18 0-16,-52 0 16,52 17-16,-36-17 0,-16 0 15,17 0-15,16 0 0,2 0 16,-18 19-16,-17-19 16,-1 0-16,0 0 0,1 0 0,52 0 15,-18 17 1,18-17-16,-52 0 15,35 18-15,17-18 0,-17 0 16,-37 17-16,37-17 16,-36 0-16,54 19 15,-72-19-15,54 0 0,-36 17 16,1-17-16,16 0 16,18 0-16,-34 0 15,-1 17-15,18-17 0,18 0 16,0 0-1,-1 18-15,-35-18 0,0 0 16,35 0-16,-51 0 16,16 17-16,1-17 0,-19 0 0,35 0 15,1 0 1,-17 0-16,-1 0 0,-18 0 16,37 0-16,-20 0 15,20 19-15,-37-19 16,19 0-16,17 0 0,-1 0 15,-16 0-15,-18 0 16,16 0-16,37 0 0,-18 0 16,-18 0-16,1 0 0,-19 0 15,37 0-15,-2 0 16,1 0-16,-36 0 16,37 0-16,-37 0 15,2 0-15,33-19 0,-16 19 16,-19 0-16,0 0 0,37 0 31,-37 0-31,0 0 0,19 0 16,-18 0-16,-1 0 15,19 0-15,-19 0 16,1 0-16,18 0 16,-19 0-16,0 0 15,18 0-15,1 0 16,-19 0-16,1 0 15,0 0-15,0 0 0,-1 0 16,0 0-16,19 0 16,-18-17-1,-1 17-15,0 0 0,2-18 16,-2 1 0,1 17-1,-1-17-15,2-2 16,-2 2-1,18-1-15,-17 1 16,0-19-16,-1 19 16,0-19-16,1 18 15,-18 1-15,18 17 0,-18-17 16,0-1 0,0 0-16</inkml:trace>
  <inkml:trace contextRef="#ctx0" brushRef="#br0" timeOffset="28107.13">2015 8485 0,'36'0'16,"-1"-18"-1,-18 0 1,0 0-16,19-16 0,-1 15 15,-16 2-15,-2-1 0,0-18 16,19 2-16,-36 16 16,18-18-16,-18 19 0,0 0 15,0-19-15,0 18 16,-18 18 0,0 18-1,0-18-15,18 18 0,-17 0 16,17-1-16,0 0 15,-17 2-15,17-2 0,0 1 16,0-1-16,17 19 0,-17-19 16,0 1-16,17-18 0,1 17 15,0 2-15,0-19 0,16 17 16,-16-17-16</inkml:trace>
  <inkml:trace contextRef="#ctx0" brushRef="#br0" timeOffset="28916.27">2774 8238 0,'-36'0'0,"18"0"15,1 17-15,0-17 16,-1 0-16,0 18 0,-17-1 16,35 0-16,-17-17 0,17 19 15,-19-2 1,38 1 0,-2-18-1,0 0 1,1 0-16,0 0 15,-18-18-15,18 18 16,-1 35 0,-17-16-1,0-2-15,0 0 16,0 1-16,0 0 0,0 0 16,0-1-16,0 0 15,0 1-15,0 18 0,0-19 16,17 0-16,1-17 31,0 0-15,0-17-16,-1 17 0,-17-17 15,17-1-15,2 0 0,-2-17 16,1 0-16,-1 17 16,-17 0-16,19 1 15,-19 0-15,17-2 16,-17 38 15,0 15-15,0-16-16,0 0 15,0 0-15,17-1 0,-17 18 16,18-35 0,-18 18-16,17-18 15,2 0-15,-2 0 16,0-18-16,1 0 15,18-16 1,-36 16 0,17 0-1,0 36 32,2-18-31,-2 0-16,1 18 0</inkml:trace>
  <inkml:trace contextRef="#ctx0" brushRef="#br0" timeOffset="29672.79">3479 8343 0,'-35'18'32,"35"-1"-17,-18 2-15,18-2 16,18 0 0,0-17-1,-1 0 1,0 0 15,-17 18-15,19 0-16,-2 0 15,1-18 1,18 0 0,-19-18-16,0 18 15,18-36-15,-16 36 0,15-53 16,-16 36-16,-18-1 0,18 1 15,0-19-15,-1 1 16,0 18-16,-17-2 16,18 2-16,-18 53 15,-18-19 1,18 1-16,0 16 0,0-15 16,-17 33-16,17-33 0,0-2 15,17 18-15,-17-17 0,36 17 16,-36-18-16,18 1 0,16 0 15,-15-18-15</inkml:trace>
  <inkml:trace contextRef="#ctx0" brushRef="#br0" timeOffset="30487.86">4591 8185 0,'0'-18'16,"-19"53"15,19-18 0,0 2-31,0-2 0,19 1 16,-19-1-1,17-17-15,1 17 16,-1-17 0,0 0-16,2 19 15,-2-2 1,1 1-1,-1-1 1,2-17 0,-19 19-16,17-38 15,0 19-15,1 0 0,-18-17 16,18 17-16,-18-18 0,18 1 16,-18-2-1,17 2 1,-17 34 15,17 2-31,-17-2 16,18 1-1,0-18 1,0 0-16,-1-18 16,0 18-16,-17-17 15,19-19 1,-19 19-16,17 17 15,-17-18-15,0 1 0,0-2 16,18 2 0,-1 34 15,-17 2-31</inkml:trace>
  <inkml:trace contextRef="#ctx0" brushRef="#br0" timeOffset="31052.82">5208 8361 0,'35'-18'16,"-35"1"-16,0-2 16,17 2-1,-17 0-15,-17 17 16,0 0-1,-1 17 1,0 0-16,0 2 16,1 16-16,17-18 15,0 2 1,35 15-16,-17-34 16,17 18-16,1-18 15,-1 0 1,-1-18-16,37 1 15,-52 0-15,-2-2 0,0 19 16,1-17-16,-1-1 16,2 1-16,-19-2 15,17 19-15,-34 36 47,-2-18-47,19-1 16,0 2-16,0-2 15,0 0-15,19 1 16,-2-18 0,0 0-1,1 0-15,0 0 16,0 0 0,-1 18-16,-17 0 15,0-1 16</inkml:trace>
  <inkml:trace contextRef="#ctx0" brushRef="#br0" timeOffset="31192.59">5684 8131 0</inkml:trace>
  <inkml:trace contextRef="#ctx0" brushRef="#br0" timeOffset="31879.72">5860 8219 0,'-17'0'0,"34"0"0,-51 0 16,15 0-16,2 19 15,-1-19-15,1 0 16,17 17-16,-19 1 16,38-1-1,-19 0 1,17-17-16,-17 19 0,18-19 15,-1 17-15,-17 1 0,19-1 16,-2 2-16,-17-2 16,0 0-16,0 1 15,0 0-15,0 0 16,-17-18-16,17 17 0,-19 0 31,72-34 32,-35 17-48,0 0-15,-18-17 0,18 17 0,16-18 16,-16 18 0,-18-18-16,18 18 0,0-18 15,-1 1-15,0-19 16,2 1-16,-2-1 15,1 2 1,-1 16-16,-17 1 0,0-2 16,17 2-16,-34 53 47,17-19-47,0 1 0,-17-1 15,17 0 1,0 2-16,0-2 15,0 1 1,17-1-16,-17 2 16,17-19-16,-17 17 15,19 0-15,-2-17 0,1 0 16,-1 18-16,19-18 16,-19 0-16</inkml:trace>
  <inkml:trace contextRef="#ctx0" brushRef="#br0" timeOffset="32459.45">6602 8149 0,'-19'0'0,"19"36"16,0-19-1,0 0-15,0 2 0,0 16 31,0-18-31,0 0 16,0 2-16,36-38 31,-36 2-31,17 17 16,1-17-16,0 17 0,0 0 16,16 0-1,-15 0-15,-19 17 0,17-17 16,-17 17-1,18 2-15,-18-2 16,17-17 0,0 0 15,2-17-31,-2 17 0,37-19 31,-37 2-31,0 17 16,19 0-16,-18 0 15,-1 0-15,18 0 16,1 0-16,-19 17 16,0-17-16,2 0 0</inkml:trace>
  <inkml:trace contextRef="#ctx0" brushRef="#br0" timeOffset="32808.58">7271 8343 0,'19'-17'0,"-19"-2"0,-19 55 15,55-89-15,-36 36 16,0-1-16,17 18 0,-17-17 16,-34 52 15,34-1-15,0-15-1,0-2-15,17 1 16,-17-1-16,35 2 15,-17-19-15,17 17 16,-18-17-16</inkml:trace>
  <inkml:trace contextRef="#ctx0" brushRef="#br0" timeOffset="33256.87">7712 8273 0,'-17'-18'31,"0"18"-31,-2 0 16,2 0 0,17 18-16,-18-18 15,18 17-15,-17 0 16,17 2 0,0-2-1,17-17-15,-17 18 16,18-18-1,-1 0 1,2 0-16,-2 0 16,0 0-1,1 0 1,0 0-16,-18 17 16,18-17-16,-1 19 15,0-19 1,19 17-1,-18-17 1,-1 0-16,19 0 16,-19 0-1,18-17-15,1 17 16,-1-19-16,18 19 16,-36-17-16,1 17 0</inkml:trace>
  <inkml:trace contextRef="#ctx0" brushRef="#br0" timeOffset="34877.62">1839 10090 0,'0'52'31,"-17"-33"-31,17-2 0,0 0 0,-19 1 16,19-1-16,0 19 15,0-19-15,-17 19 0,17-18 0,0-1 16,17 0-16,-17 1 15,0 0-15,19-18 0,-19 18 16,17-18-16,18 0 16,-35-18-16,18 18 15,0-18-15,-1 18 0,0-35 16,19 0-16,-18-1 16,-18 19-16,17 0 15,0-2-15,-17 2 16,19 17-16,-19 17 31,0 2-31,0-2 16,0 0-16,0 19 15,17-18 1,-17-1-16,0 0 0,18 1 16</inkml:trace>
  <inkml:trace contextRef="#ctx0" brushRef="#br0" timeOffset="35356.64">2262 10195 0,'-35'54'0,"35"-37"16,-17 0-16,17 1 16,0 0-16,0 0 0,-19-18 15,19 17-15,0 0 16,19 1 15,-2-36-15,0 18-1,1 0-15,-18 18 16,18-18-16,0 0 16,-1 18-16,0-18 15,1 0-15,0 18 16,0-18-16</inkml:trace>
  <inkml:trace contextRef="#ctx0" brushRef="#br0" timeOffset="35828.04">2510 10425 0,'17'-18'0,"18"0"31,1 0-15,-19 18-16,-17-17 15,17 17-15,-17-17 16,18-1 0,-18 0-1,-35 36 17,35 0-32,-17-1 15,17 0 1,0 1-16,-19-18 0,38 36 15,-2-19-15,0-17 16,1 17-16,0-17 0,0 0 16</inkml:trace>
  <inkml:trace contextRef="#ctx0" brushRef="#br0" timeOffset="36113.58">3003 10371 0,'-17'0'0,"-2"0"16,55 0-16,-89 18 0,53 0 47,0 0-32,17-18-15,-17 17 16,0 0-16,19 2 0,-19-2 15,0 18 1,0-16 0,0-2-16,-19 0 15,2-17 1,-1 18-16</inkml:trace>
  <inkml:trace contextRef="#ctx0" brushRef="#br0" timeOffset="37018.97">1468 10371 0,'-88'-17'15,"71"0"-15,-2 17 0,-15-18 16,16 18-16,0-18 0,-34-17 16,-2 18-16,20-19 0,-37-35 15,35 36-15,1-1 16,18 2-16,-19-2 0,1-16 0,-18-36 15,36 34-15,-19-51 0,18 52 16,-16-71 0,-2 18-16,18-18 0,1 72 15,17-1-15,0-71 16,17 72-16,-17-19 0,18 18 16,-1-18-16,2 1 0,15-1 0,2 0 15,-1 19-15,36-72 0,-18 54 16,-1-1-16,55-52 15,-55 53-15,89-37 0,-34 19 16,69-17-16,-18-19 16,54 1-1,18-1-15,-1 19 16,-18-2-16,-87 72 16,140-71-16,1 18 15,-1 0-15,1 0 16,-123 53-16,156-36 15,-156 35-15,16 2 0,142-37 16,36 18-16,-177 18 16,17 16-16,-17-15 0,175-37 15,-156 54-15,-20-19 0,160-16 16,-54-2-16,-158 20 16,34 15-16,-16-16 15,318-53-15,-337 70 16,-17 0-16,0 1 0,53-18 15,-34-1-15,-72 19 16,1 0-16,-19 17 0,36-36 16,-35 36-16,-18-18 15,17 18-15,-17-17 0,0-2 16,-17 2 0,-1 0-1</inkml:trace>
  <inkml:trace contextRef="#ctx0" brushRef="#br0" timeOffset="37340.31">8047 5627 0,'141'140'16,"-53"20"15,-88-125-31,19 0 0,-19 1 0,0-2 0,-19 56 16,-33 15-1,-18 0-15,-37 2 16,55-55-16,-72 55 0,19-19 16,-19 0-1,72-35-15</inkml:trace>
  <inkml:trace contextRef="#ctx0" brushRef="#br0" timeOffset="38831.57">3691 10249 0,'0'-19'16,"0"2"-16,-17 53 47,17-19-47,0 0 15,0 1-15,17-18 16,-17 18-16,17 0 31,19-18-15,-1 17 15,-18-17-15,1 17-16,0-17 15,0 0-15,-1-17 16,0 17 0,-17-17-16,36-19 15,-36 18 1,0 1-16,18 0 15,-1 17 1,2 0 0</inkml:trace>
  <inkml:trace contextRef="#ctx0" brushRef="#br0" timeOffset="39419.05">4132 10371 0,'71'-70'0,"-71"52"0,17 1 15,-17 0-15,0-2 16,-17 38 15,-2-2-15,19 0-16,0 1 15,-17-18-15,17 18 16,17 0-16,-17-1 16,36 18-16,-18-35 15,-1 0-15,0 0 16,2 0-16,-2 0 0,1 0 0,18-18 16,-2 1-16,-16 17 15,-1-17-15,2 17 0,-19-18 16,34 0-16,-16 0 15,0 18-15,-18-17 16,18 34 0,-18 1-1,0 0-15,0 0 16,-18-1-16,18 0 16,0 1-1,0 0-15,18-18 16,-18 18-1</inkml:trace>
  <inkml:trace contextRef="#ctx0" brushRef="#br0" timeOffset="39540.69">4679 10195 0,'0'-17'0,"-19"69"62</inkml:trace>
  <inkml:trace contextRef="#ctx0" brushRef="#br0" timeOffset="40020.58">4872 10319 0,'-34'0'0,"16"18"15,70-36-15,-122 36 0,70-1 16,-18-17-16,18 17 15,18-17 17,0 0-32,0 0 15,-1 0-15,18 18 16,-17-18-16,0 18 16,-18 0-1,17-1-15,-17 0 16,-17 2-16,17-2 15,0 1-15,0-1 0,-18-17 16,18 19-16,-18-2 16,18 0-16,18-34 47,0 0-32,-1 17-15</inkml:trace>
  <inkml:trace contextRef="#ctx0" brushRef="#br0" timeOffset="40634.62">5896 10125 0,'0'53'15,"0"-36"-15,18-17 16,-18 35-16,0-16 16,17-2-1,-17 0 1,35-34-1,-17 0 1,34 17 0,-33 0-1,16 0 1,-1 34 0,-15-16-1,-2 0 1,1-18 15,-1 0-15,36-18-1,-35 18-15,0 0 16,17-18-16,0 18 16</inkml:trace>
  <inkml:trace contextRef="#ctx0" brushRef="#br0" timeOffset="41072.74">6583 10337 0,'19'-18'0,"-2"0"16,-17 0-1,0 1 1,0 0-16,-36 34 47,19 0-47,17 1 15,0 0 1,17-18-16,-17 18 0,0-18 16,36 0-16,-19 0 15,19 0-15,-1-18 16,-18 18-16,2 0 15,16-36-15,-18 36 16,0-17 0,2 17-16,-19 17 31,0 1-15,0 0-1,17 0 1,1-18-1,-1 0-15,19 0 16,-19 0-16,19-18 16</inkml:trace>
  <inkml:trace contextRef="#ctx0" brushRef="#br0" timeOffset="41712.94">9476 8361 0,'-17'0'0,"52"0"0,1 0 16,-19 0-16,0 0 0,1 0 0,18 0 15,-19 0-15,36 0 16,-1 0-16,-33 0 0,-2 0 16,1 0-16,-1 0 0,2 0 0</inkml:trace>
  <inkml:trace contextRef="#ctx0" brushRef="#br0" timeOffset="41869.78">9582 8537 0,'36'0'16,"-19"0"-16,0 0 15,2 0-15,-2 0 0,18 0 0,-18 0 16,2 0-16,-2 0 0,18 0 16</inkml:trace>
  <inkml:trace contextRef="#ctx0" brushRef="#br0" timeOffset="45517.11">11540 7919 0,'0'-17'0,"18"17"0,-1-17 15,2 17-15,-2-18 16,0 18-16,18 0 0,1 0 15,-36 18 1,35-18-16,-17 17 0,0 0 16,-18 19-16,-18-36 15,18 18-15,-36 18 0,2 16 16,-2-16 0,1-2-16,18-34 15,-19 36-15,18-18 16,1-18-16,17 17 15,0 0 1,17-17-16,1 0 16,18 0-16,-19 0 15,0 0-15,1 0 0,-1 0 16,2 0-16,15 0 0,2 0 16,-1 0-16,1-17 15</inkml:trace>
  <inkml:trace contextRef="#ctx0" brushRef="#br0" timeOffset="45762.46">12246 8061 0,'0'-18'15</inkml:trace>
  <inkml:trace contextRef="#ctx0" brushRef="#br0" timeOffset="46351.76">12722 7814 0,'-35'0'16,"-1"0"-16,19 17 16,-1-17-16,-18 19 15,2-19-15,16 17 16,0 1-1,0-18-15,18 17 16,18 0-16,-18 2 16,18-2-1,0-17-15,-1 18 16,-17-1-16,17-17 0,-17 19 16,19-2-16,-19 0 15,-19 1-15,19-1 16,-34 2-16,16-2 15,0-17-15,-17 17 16,18-17-16,-1 18 0,0-18 16,0 0-16,1 0 0,0 0 15</inkml:trace>
  <inkml:trace contextRef="#ctx0" brushRef="#br0" timeOffset="46638.59">13180 8009 0,'0'0'16,"-34"17"-1,15 0-15,-16 1 16,1-1-16,-2 2 0,18-2 0,-52 0 16,34 19-16,-16-18 15,16-1-15,18 0 16,-35 19-16,36-36 16,-1 18-16</inkml:trace>
  <inkml:trace contextRef="#ctx0" brushRef="#br0" timeOffset="46806.71">13392 8026 0,'-17'35'0,"34"-70"0,-53 70 0,-69 71 15,17-18 1,-36-17-1,72-19-15,-37 19 0,19-35 16</inkml:trace>
  <inkml:trace contextRef="#ctx0" brushRef="#br0" timeOffset="47887.72">8842 10107 0,'70'-17'0,"-52"17"16,16 0-16,20 0 15,-37 0-15,19 17 0,35-17 16,-54 0-16,18 0 16,1 0-16,-19 0 0,0 0 15,2 0-15</inkml:trace>
  <inkml:trace contextRef="#ctx0" brushRef="#br0" timeOffset="48077.07">8947 10371 0,'53'0'15,"-35"0"-15,-1 0 16,2 0-16,15 0 0,20 0 15,-20 0-15,2 0 16,-1-17-16,1 17 0,33 0 16,-33-17-16</inkml:trace>
  <inkml:trace contextRef="#ctx0" brushRef="#br0" timeOffset="50747.82">10835 9966 0,'0'17'16,"0"1"-1,-36 52 1,36-34-16,-17-18 16,-1 18-16,1-19 0,-2 35 15,2-16-15,0-19 16,17 1-16,0 0 16</inkml:trace>
  <inkml:trace contextRef="#ctx0" brushRef="#br0" timeOffset="50975.91">11382 10001 0,'0'36'16,"-18"-19"-16,0 19 15,-17-1-15,18-18 16,-2 19-16,2-19 0,-18 18 0,16 1 16,-33-1-16,16 1 15,19-19-15,17 0 16</inkml:trace>
  <inkml:trace contextRef="#ctx0" brushRef="#br0" timeOffset="51190.38">11082 10125 0,'17'0'0,"0"17"16,-17 2-16,36 15 15,-18-16 1,-18-1-16,17 2 0,0-19 0,-17 17 15,19 0-15,-2-17 0,1 18 16,18 0-16</inkml:trace>
  <inkml:trace contextRef="#ctx0" brushRef="#br0" timeOffset="51385.75">11734 10037 0,'-18'0'0,"-16"53"31,34-36-31,-19 1 0,19-1 16,-17 2-16,17 33 0,-18-35 16,18 2-16,0-2 0,18 0 15,-18 1-15</inkml:trace>
  <inkml:trace contextRef="#ctx0" brushRef="#br0" timeOffset="51530.58">11770 10389 0,'34'-52'16,"-34"34"-1,19-18-15,-19 19 0,0 0 16,0-19-16,0 18 16,0 1-16,0 0 0,0-2 15,0 2-15,-19-1 0,-15 300 16,51-564-16</inkml:trace>
  <inkml:trace contextRef="#ctx0" brushRef="#br0" timeOffset="51710.7">12052 10142 0,'18'0'0</inkml:trace>
  <inkml:trace contextRef="#ctx0" brushRef="#br0" timeOffset="51948.38">12404 10019 0,'0'52'15,"0"-16"1,0-18-16,0-1 0,-17 2 15,17 33-15,-17 1 16,17-18-16,-19-17 16</inkml:trace>
  <inkml:trace contextRef="#ctx0" brushRef="#br0" timeOffset="52488.86">10552 9825 0,'-105'70'15,"52"-16"-15,18-2 0,16-16 16,-15-2-16,16 20 0,-18 51 15,19 2-15,17-55 16,17 1-16,1-17 0,52 69 16,-16-51-16,-1-20 0,70 37 15,35-35-15,-87-36 16</inkml:trace>
  <inkml:trace contextRef="#ctx0" brushRef="#br0" timeOffset="53026.01">12898 9807 0,'53'0'15,"-106"0"-15,177 54 16,-107-20-16,71 125 15,-52-88 1,-36-1-16,-17 18 16,-2-52-16,-33 34 15,16-34-15,19-2 0,-1-15 16,-35 16-16,36-18 0,-1 2 16,0-2-16,0-17 15</inkml:trace>
  <inkml:trace contextRef="#ctx0" brushRef="#br0" timeOffset="53258.83">13798 9790 0,'17'88'16,"-17"-53"-16,-17 1 16,17-2-16,-18 37 15,1-18-15,17 18 16,-17 17 0,-2-71-16,19 19 15</inkml:trace>
  <inkml:trace contextRef="#ctx0" brushRef="#br0" timeOffset="53447.66">13586 10178 0,'18'-17'0,"17"17"16,18 0-16,-35 0 15,18 0-15,16 0 16,18 0-16,1 0 16,-36 0-16</inkml:trace>
  <inkml:trace contextRef="#ctx0" brushRef="#br0" timeOffset="54012.84">14856 9878 0,'35'0'0,"-16"0"0,-2 17 16,0-17-16,-17 18 15,-34 52 1,15-34-16,2-18 16,-37 16-16,20 2 15,16-18-15,-18 18 31,19-19-31,34-17 16,2 17 0,-2-17-16,1 0 15,-1 0-15,36 0 0,-35 0 16,18 0-16,-19 0 0,18 0 0,-17-17 16,17 17-16,0 0 15</inkml:trace>
  <inkml:trace contextRef="#ctx0" brushRef="#br0" timeOffset="54198.58">15650 9861 0,'-18'34'16,"36"-68"-16,-53 86 15,-1-16-15,19-19 0,-18 18 0,16 1 16,-15-19-16,-20 54 0,20-54 15,-2 36-15,1-18 16,18-16-16,-2-2 16</inkml:trace>
  <inkml:trace contextRef="#ctx0" brushRef="#br0" timeOffset="54419.57">15298 9966 0,'0'0'16,"17"17"-1,0 1-15,1 0 0,0 17 16,0-35-16,-1 17 0,0 2 16,19-2-16,-1 1 15,-18-1-15,19-17 0,18 19 16,-37-2-16,18-17 0,1 0 15,-19 0-15,18 0 0</inkml:trace>
  <inkml:trace contextRef="#ctx0" brushRef="#br0" timeOffset="54960.48">16038 9771 0,'-35'19'16,"18"16"0,17-18-16,-19 2 0,2 15 15,-1 2 1,18-18-16,0 16 0,0-16 0,18 18 15,-1-19 1,-17 0-16,19-17 0,-2 19 16,0-19-16,1 17 0,0-17 15,0 0-15,-1-17 0,0-2 16,-17 2-16,18 17 16,-18-17-16,0-1 0,0 0 0,0 0 15,0-16-15,0-2 0,-18 1 16,18 18-1,-17 17-15,17-19 0,-17 2 0,-1 17 16,0 0 0,-17 0-1</inkml:trace>
  <inkml:trace contextRef="#ctx0" brushRef="#br0" timeOffset="55128.85">16444 9895 0</inkml:trace>
  <inkml:trace contextRef="#ctx0" brushRef="#br0" timeOffset="55341.02">16762 9807 0,'0'54'16,"-19"-20"-1,19-16-15,-17 35 16,-1-18-16,18 1 0,-34-2 16,15 20-16,2-18 15,-1-2-15</inkml:trace>
  <inkml:trace contextRef="#ctx0" brushRef="#br0" timeOffset="55859.79">14539 9790 0,'-36'52'0,"19"-16"0,-37 87 31,37-17-31,17-71 0,0 18 0,0 18 16,0-18-16,17-1 15,19-16-15,52 70 16,-34-70-16</inkml:trace>
  <inkml:trace contextRef="#ctx0" brushRef="#br0" timeOffset="56400.98">17308 9561 0,'106'122'15,"-89"-86"-15,-17 16 16,19-16-16,-19-1 0,0 18 0,0-17 16,0 16-16,-19 2 0,19-20 15,-35 56-15,18-56 0,-2-16 16,-15 35-16,16-36 16,-18 1-16,19 0 0,0-18 15</inkml:trace>
  <inkml:trace contextRef="#ctx0" brushRef="#br0" timeOffset="56631.04">18138 9613 0,'17'0'0,"-17"18"15,0 0-15,0-1 0,0 0 0,-36 90 32,36-72-32,-17 1 0,-1 34 15,18-52-15,-17 16 0,17-16 16,0 18-16,-19-19 0,19 0 16,-17 2-16,17-2 0</inkml:trace>
  <inkml:trace contextRef="#ctx0" brushRef="#br0" timeOffset="56806.66">17872 9966 0,'36'0'0,"-18"0"15,16 0-15,-16 0 16,18 0-16,-2 0 0,2 0 0,-1 0 0,36 0 15,-35 0-15,-19 0 16</inkml:trace>
  <inkml:trace contextRef="#ctx0" brushRef="#br0" timeOffset="57387.41">19036 9649 0,'36'0'0,"-18"17"16,-1-17-16,-17 17 0,0 2 15,-17-2 1,17 1-16,-18-1 16,0 0-16,0 2 15,18-2 1,0 1 0,18-18-16,0 17 0,17-17 15,-35 19-15,17-19 0,2 17 16,-2-17-16,-17 17 15,0 1-15,-17 0 16,17 0-16,-36-1 16,19 0-16,-1-17 0,0 18 15,-17-18-15,0 18 0,-1 0 16,19-18-16,0 0 0,-2 0 31</inkml:trace>
  <inkml:trace contextRef="#ctx0" brushRef="#br0" timeOffset="57592.44">19654 9683 0,'0'19'15,"-18"33"1,-16-16-1,15-19-15,2 18 0,-18 1 16,16-1-16,-15-17 16,16 17-16,1-18 15,-2 1-15</inkml:trace>
  <inkml:trace contextRef="#ctx0" brushRef="#br0" timeOffset="57789">19390 9878 0,'0'-17'16,"0"34"-16,34-34 31,-15 34-31,-2 0 0,1 1 16,16 0-1,2 0-15,-18-1 0,18 0 16,16-17-16,-35 18 15</inkml:trace>
  <inkml:trace contextRef="#ctx0" brushRef="#br0" timeOffset="58162.56">20200 9666 0,'-70'0'16,"52"17"-16,18 2 15,-17-19-15,0 35 0,-1-1 16,18 2-16,0-18 16,18 35-1,16-18 1,-16-17-16,0-18 0,0 0 15,16 0-15,2 0 16,-1-18-16,-35 0 16,36 1-16,-36-19 15,17 19-15,-17-18 16,0-1-16,-17 19 16,17-18-16,-17 16 15,-37 2 1,37 0-1</inkml:trace>
  <inkml:trace contextRef="#ctx0" brushRef="#br0" timeOffset="58330.54">20624 9737 0,'18'-18'0</inkml:trace>
  <inkml:trace contextRef="#ctx0" brushRef="#br0" timeOffset="58799.89">21030 9525 0,'17'-18'0,"2"18"16,-2 0-16,0 0 15,1 0-15,-18 18 0,18-18 16,-18 18-16,0 0 0,18-18 16,-18 34-16,0-16 0,-18 0 15,18 0-15,-18 35 16,18-36-16,-18 1 0,18-1 16,-17 19-16,0-19 0,-2 18 15,19 1 1,-17-36-16,17 17 0,-18 1 15</inkml:trace>
  <inkml:trace contextRef="#ctx0" brushRef="#br0" timeOffset="58952.85">20924 9790 0,'35'-19'0,"-18"2"16,2 17-16,16 0 0,-18 0 15,72 0-15,-71-17 16,34 17-16,1 0 16,-36 0-16,2 0 0</inkml:trace>
  <inkml:trace contextRef="#ctx0" brushRef="#br0" timeOffset="59623.91">19036 9349 0,'-176'194'0,"106"-88"15,-1-18-15,36 0 16,17-35-16,0 18 16,18-1-16,36 18 15,-1-53-15,1 1 0,-1-19 16,1 18-16,86 1 0,2-19 16,-53-17-16</inkml:trace>
  <inkml:trace contextRef="#ctx0" brushRef="#br0" timeOffset="60198.58">21559 9454 0,'176'177'0,"-157"-142"0,15 53 16,-34-35-16,18 53 0,-53-18 15,35-35-15,-36 0 16,19-18-16,-54 53 0,0-17 15,1-18-15,-1 0 16,36-53-16,18 18 16</inkml:trace>
  <inkml:trace contextRef="#ctx0" brushRef="#br0" timeOffset="60936.69">22600 9719 0,'0'18'31,"-18"52"-15,0-52-16,1 35 15,-19 0-15,36-18 0,-35 0 16,35 1-16,-17-19 15,-2 0-15,19 2 0,-17 16 16</inkml:trace>
  <inkml:trace contextRef="#ctx0" brushRef="#br0" timeOffset="61155.55">22352 10001 0,'178'-18'16,"-144"18"-16,20 0 15,-2 0-15,1 18 16,-36-36-16</inkml:trace>
  <inkml:trace contextRef="#ctx0" brushRef="#br0" timeOffset="62023.68">23658 9613 0,'-35'36'31,"-1"-19"-31,19-17 0,-18 36 16,16-19-16,-33 1 16,35-1-16,-2-17 0,2 17 15,-18 2-15,17-2 16,0-17-16,18 18 0,-17-1 15,17 2-15,0-2 16,17 0-16,1-17 16,0 18-16,17-18 15,-18 0-15,19 0 0,16 18 16,-16-18-16,-18 0 0,-1 0 16,36 0-16,-35 0 15,0-18-15,0 18 16</inkml:trace>
  <inkml:trace contextRef="#ctx0" brushRef="#br0" timeOffset="62230.63">23694 9702 0,'-36'69'0,"72"-138"0,-90 157 15,54-53-15,-17-18 0,0 2 16,-2 15-16,19 2 16,-17-18-16,-18 16 0,35-16 15,0 0-15,-19 0 16</inkml:trace>
  <inkml:trace contextRef="#ctx0" brushRef="#br0" timeOffset="62433.85">24170 9754 0,'-18'36'32,"0"-19"-32,-34 37 15,34-37-15,-71 71 31,54-53-31,1 1 0,-2-2 16</inkml:trace>
  <inkml:trace contextRef="#ctx0" brushRef="#br0" timeOffset="62642.22">23906 9895 0,'17'-17'16,"0"34"0,-17 1-1,18 0-15,-1 17 16,2-35-16,-2 0 0,18 35 16,-17-35-1</inkml:trace>
  <inkml:trace contextRef="#ctx0" brushRef="#br0" timeOffset="62933.99">24558 9771 0,'0'-17'15,"-18"53"1,36-55 0,-53 19-16,16 0 0,2 36 15,0-18-15,17-1 16,-18 2-16,18-2 0,0 0 0,-18 1 15,18 0-15,18 0 16,0-1-16,-1-17 16,0 0-16,2 0 15,16 0-15,-35-17 0,17 17 16,-17-18 0,17 0-16,-17 0 15,0-16-15,-17 15 16,0 19-16,17-17 0,-18 17 15,18-18-15,-17 18 16</inkml:trace>
  <inkml:trace contextRef="#ctx0" brushRef="#br0" timeOffset="63075.8">24858 9790 0,'17'0'32</inkml:trace>
  <inkml:trace contextRef="#ctx0" brushRef="#br0" timeOffset="63252.63">25104 9737 0,'-17'34'0,"0"2"16,-2-18-1,19-1-15,-35 19 0,18 17 16,-2-18-16,2 0 16,0 1-16</inkml:trace>
  <inkml:trace contextRef="#ctx0" brushRef="#br0" timeOffset="66275.19">10164 12030 0,'54'17'0,"-37"-17"0,18 0 0,1 18 16,-19-18-16,36 0 0,-35 0 16,16 0-16,2 0 0,-1 0 0,1 0 15,-1 0-15,-18 0 0,19 0 16,-19 0-16</inkml:trace>
  <inkml:trace contextRef="#ctx0" brushRef="#br0" timeOffset="66463.37">10340 12330 0,'54'0'0,"-37"0"16,-88 0-16,178 0 0,-90 0 0,18 0 0,1 0 16,-1 0-16,-18 0 0,19 0 15,17 0-15</inkml:trace>
  <inkml:trace contextRef="#ctx0" brushRef="#br0" timeOffset="73963.22">11558 12189 0,'0'105'0,"0"-88"0,0 2 0,17-19 15,2 17-15,-2-17 16,0 18-16,1-18 0,18-18 15,-19 18-15,0-17 0,1 17 0,0-19 16,0 2-16,-1 17 0,0-35 16,-17 18-16,19-2 0,-19 2 15,0 0-15,17-1 0,-17-18 16,0 19-16,-17 0 0,17-2 16,0 2-16,-19-1 0,19 1 15,0 0-15,-17 17 0,17-19 0,-17 19 0,17-17 16,-18 17-16,18-18 15,-36 18-15,19 0 16,0 0-16,-2 0 16</inkml:trace>
  <inkml:trace contextRef="#ctx0" brushRef="#br0" timeOffset="74219.19">12422 12030 0</inkml:trace>
  <inkml:trace contextRef="#ctx0" brushRef="#br0" timeOffset="74434.38">12616 11959 0,'0'35'16,"0"1"-1,0-19-15,-17 1 0,17-1 16,0 19-16,-19-1 0,19 1 15,0-19-15,0 0 16,-17 2-16</inkml:trace>
  <inkml:trace contextRef="#ctx0" brushRef="#br0" timeOffset="74732.02">13746 11818 0,'17'53'15,"0"-35"-15,-17 35 16,0-36-16,0 18 16,0 18-16,0-35 0,-17 18 15,17-19-15,0 0 16,0 1-16</inkml:trace>
  <inkml:trace contextRef="#ctx0" brushRef="#br0" timeOffset="74926.16">13568 12047 0,'36'-17'32,"-1"17"-32,-18 17 15,19-17-15,35 0 0,-36 0 16,1 0-16,-2 0 0,2 0 15,-1 0-15</inkml:trace>
  <inkml:trace contextRef="#ctx0" brushRef="#br0" timeOffset="75441.64">14927 11765 0,'-36'0'0,"19"18"16,-1 17-1,18-18 1,-17 2-16,17 16 0,0-18 16,0 0-16,0 37 0,17-37 15,1 19-15,-18-19 0,17 1 16,2-1-16,51 19 15,-52-36-15,-1 0 16,18 0-16,-17-17 16,0-2-16,-1 19 0,-17-17 0,17-1 15,-17 1-15,0 0 16,0-2-16,0-16 0,0 18 0,0-2 16,0-33-16,-17 35 15,17-2-15,0 2 0,-17 17 16,-1-35-16,0 35 15,0 0-15,1 0 16</inkml:trace>
  <inkml:trace contextRef="#ctx0" brushRef="#br0" timeOffset="75628">15420 11906 0</inkml:trace>
  <inkml:trace contextRef="#ctx0" brushRef="#br0" timeOffset="76001.13">15844 11783 0,'18'18'0,"-1"-18"0,0 17 15,-17 0 1,19 2-16,-19-2 0,-19 18 16,2-18-16,0 2 0,-1-2 15,-18 18-15,19-16 16,0-19-16,-1 34 0,0-34 16,0 35-16,1-35 15,17 19-15,17-19 31,1 0-31,0 0 16,0 0-16,16 0 16,2 0-16,16 0 15,19-19-15,-52 19 0,33 0 16,-16-17-16,-19 17 16,0 0-16</inkml:trace>
  <inkml:trace contextRef="#ctx0" brushRef="#br0" timeOffset="76301.58">17272 11747 0,'0'54'16,"0"-37"-16,0 0 16,-17 37-16,17-20 0,0 20 15,0-18 1,0-19-16,0 18 0,0 1 15</inkml:trace>
  <inkml:trace contextRef="#ctx0" brushRef="#br0" timeOffset="76496.74">17079 11994 0,'17'-17'16,"54"34"0,-54-17-16,1 0 15,18 0-15,17 19 0,-1-19 16,-16 0-16,-1 0 0,1 0 0,34 0 16</inkml:trace>
  <inkml:trace contextRef="#ctx0" brushRef="#br0" timeOffset="77008.55">18436 11818 0,'19'0'0,"-2"0"0,1 0 15,-1 0-15,2 17 0,-2 2 16,0-19-16,1 35 16,-18-18-16,0 0 15,0 2-15,-18 16 16,1-18-16,0-17 0,-2 19 16,2-2-16,-1 0 0,-18 1 15,19-1-15,0-17 16,17 19-1,17-2 1,0-17 0,2 0-16,-2 0 15,18 17-15,1-17 16,-19 0-16,19 0 0,-18 0 16,34 0-16,-34 0 15,0-17-15</inkml:trace>
  <inkml:trace contextRef="#ctx0" brushRef="#br0" timeOffset="77182.36">19002 11977 0,'0'-18'0</inkml:trace>
  <inkml:trace contextRef="#ctx0" brushRef="#br0" timeOffset="77399.94">19336 11871 0,'0'35'32,"-17"-35"-17,17 36-15,0-19 16,-17 1-16,17-1 0,0 2 16,-19 15-16,2-16 0,17-1 0,0 2 15,0-2-15,0 0 16</inkml:trace>
  <inkml:trace contextRef="#ctx0" brushRef="#br0" timeOffset="77762.28">20078 11783 0,'-18'52'16,"0"36"15,0-52-31,18 35 16,0-54-16,0 1 16,-17-1-16,17 2 0,0-2 0,0 0 15</inkml:trace>
  <inkml:trace contextRef="#ctx0" brushRef="#br0" timeOffset="77960.5">19812 12065 0,'54'-18'16,"-1"18"-1,-1 0-15,-33 0 16,15 0-16,37 0 0,-36 0 16,35 0-16</inkml:trace>
  <inkml:trace contextRef="#ctx0" brushRef="#br0" timeOffset="78576.91">20836 11783 0,'-18'18'16,"0"-1"-16,1 19 16,17-19-16,-17 1 0,17-1 15,-19 19-15,19 16 16,19-33-16,-19-2 0,0 0 15,17 1-15,0-1 0,1 2 16,0-19-16,0 17 0,-1-17 16,0 0-16,2 0 15,-19-17-15,35-2 0,-18 2 16,-17-1-16,17-35 16,-17 36-16,0-1 0,0-18 15,-17 2-15,17 16 16,-17 1-16,-1 17 15,1-19-15,-2 19 16,2 19 0</inkml:trace>
  <inkml:trace contextRef="#ctx0" brushRef="#br0" timeOffset="78755.52">21347 11942 0,'-17'-19'31,"-1"19"-15</inkml:trace>
  <inkml:trace contextRef="#ctx0" brushRef="#br0" timeOffset="79128.73">21823 11854 0,'-17'17'16,"-1"-17"0,1 18-16,0-1 15,-2-17-15,2 17 0,-1 2 0,-18-2 16,19 1-16,-18-1 16,17 2-16,0-2 0,1 0 15,0-17 1,17 18-16,0-1 0,0 2 15,17-19 1,-17 17-16,17-17 0,1 0 16,18 17-16,-19-17 15,19 0-15,-19-17 16,1 17-16,-1 0 0,2-17 16,-2-2-16</inkml:trace>
  <inkml:trace contextRef="#ctx0" brushRef="#br0" timeOffset="79316.75">21876 11783 0,'-53'52'16,"53"-33"-16,-17-2 0,-1 18 16,1-18-16,17 19 0,-17-1 0,-2 1 15,2 16-15,-18 19 16,35-53-16,-19 17 0,19 1 15,-17-19-15,17 18 16,0-18-16,-17 2 0</inkml:trace>
  <inkml:trace contextRef="#ctx0" brushRef="#br0" timeOffset="80396.17">10340 13282 0,'195'-17'0,"-178"17"15,1 0-15,18 0 0,-19 0 0</inkml:trace>
  <inkml:trace contextRef="#ctx0" brushRef="#br0" timeOffset="80593">10447 13511 0,'52'18'15,"-104"-36"-15,123 36 0,-54-18 0,0 0 16,1-18-16,-1 18 0,19 0 0,-19 0 16,1 0-16,0 0 0,0 0 0,-1 0 15,0 0-15</inkml:trace>
  <inkml:trace contextRef="#ctx0" brushRef="#br0" timeOffset="84087.09">12280 13282 0,'54'0'16,"-37"0"-16,2 17 0,-2-17 16,18 19-16,-35-2 15,0 1-15,18-18 0,-18 17 0,0 0 16,0 2-16,-18 16 0,0-18 15,-16 19 1,15-19-16,2 1 0,-18 0 0,16-18 16,2 18-16,0-1 0,-1-17 15,1 17 1,52 1 0,-1-18 15,-15 0-31,-2 0 0,37 0 0,-37 0 15,0 0-15,1 0 0,0 0 16,0 0-16,16 0 16,-16 0-16,0 0 0,0-18 15</inkml:trace>
  <inkml:trace contextRef="#ctx0" brushRef="#br0" timeOffset="84249.6">12792 13529 0,'0'-18'16,"18"18"0</inkml:trace>
  <inkml:trace contextRef="#ctx0" brushRef="#br0" timeOffset="85078.73">13446 13265 0,'0'-18'15,"-19"0"1,19 0-16,-17 18 15,-1-17 17,-18 34-32,19-17 15,0 18 1,17 0-16,-18-18 16,18 18-16,0-1 0,0 0 15,0 2-15,0-2 16,0 1-16,0-1 0,0 0 0,18-17 15,-18 19-15,0-2 0,0 1 16,-18-1-16,18 2 16,-17-2-16,-2 0 15,2-17 1,0 0-16,-1 0 16,36-17 15,16 0-16,-34-2-15,19 19 0,-2-17 16,1-1-16,-1 1 0,19-19 16,-19 19-16,1-18 15,-18 16-15,17 2 0,-17 0 16,0-1-16,0 0 16,0 0-16,-17 1 15,-1 0-15,1 17 16,-2-19-16,2 19 15,-18 19-15,18-19 16,17 17-16,-19-17 0,19 17 16,-17-17-16</inkml:trace>
  <inkml:trace contextRef="#ctx0" brushRef="#br0" timeOffset="85422.62">14063 13335 0,'-36'0'16,"19"0"-16,17 18 16,-18-18-16,0 17 0,-17 0 15,18 2-15,-19-2 0,1 1 16,-1-1-16,-52 36 0,53-35 16,-1 18-16,-16-2 0,34-34 15,0 18-15,1 0 0,0-18 16,-1 18-16,0-18 15</inkml:trace>
  <inkml:trace contextRef="#ctx0" brushRef="#br0" timeOffset="85631.21">14080 13370 0,'-17'36'15,"-2"-19"1,2 1-16,-18 18 0,-1-2 16,2-16-16,-2 18 0,-16-19 15,16 18-15,1 1 16,-1-19-16,-52 54 0,53-54 16,17 0-16,0 2 0</inkml:trace>
  <inkml:trace contextRef="#ctx0" brushRef="#br0" timeOffset="87185.49">4203 10813 0,'159'34'16,"-90"-34"-16,-33 0 16,17 0-16,-18 0 0,18 0 15,-1 0-15,38 0 0,-56 0 16,20 0-16,-20 0 0,2 0 0,-1 0 15,-18 0-15,19 0 0,-18 0 16</inkml:trace>
  <inkml:trace contextRef="#ctx0" brushRef="#br0" timeOffset="87446.07">4272 11059 0,'-17'0'0,"34"0"0,19 18 16,-18-18-16,18 0 0,-19 18 15,18-18-15,18 0 0,-18 0 0,1 0 16,17 0-16,52 18 0,-51-18 16,-2-18-16,-16 36 0,16-36 15,18 18-15,-51 0 0,52 0 16,-37 0-1,-16 0-15,-1 0 0,2 0 16,-2 0-16,0 0 16</inkml:trace>
  <inkml:trace contextRef="#ctx0" brushRef="#br0" timeOffset="91820.42">13551 14570 0,'0'-36'16,"0"19"-1,0-1-15,17 1 0,-17-19 16,0-16-16,0 33 0,18-15 16,-18-2-16,0 1 0,0-1 15,0 19-15,18-18 0,-18-1 16,0 19-16,0-18 0,0 16 0,18 2 16,-18 0-16,0-1 0,0 0 15,0 0-15,0 1 16,-18 17-1,0 17 1,0-17-16,18 18 16</inkml:trace>
  <inkml:trace contextRef="#ctx0" brushRef="#br0" timeOffset="92042.8">13692 13953 0,'-36'17'32,"-16"36"-17,34-35-15,0-1 0,1 0 16,0 19-16,-19-18 0,-16 35 16,33-36-16,2 1 0,-1-1 15,-18 19-15,19-19 16,0 1-16,-1 0 0</inkml:trace>
  <inkml:trace contextRef="#ctx0" brushRef="#br0" timeOffset="92263.35">13498 14075 0,'18'-17'15,"0"34"-15,-1-17 16,0 0-16,1 19 0,0-19 0,17 17 16,-18 1-16,2-1 15,-2-17-15,1 19 0,-1-19 0,2 17 16,-2-17-16,0 17 0,1-17 0,18 0 16,-19 0-16,0 0 0,19 0 15,-18 0-15</inkml:trace>
  <inkml:trace contextRef="#ctx0" brushRef="#br0" timeOffset="92844.23">15262 14005 0,'-18'18'31,"18"0"-31,0-1 16,0 0-16,-17 2 0,17-2 0,0 18 16,0-16-16,0-2 0,0 0 0,0 18 15,0-16-15,0-2 0,17 0 16,-17 1-16,0 0 0,18 0 15,-1-1-15,2 0 16,-2-17-16,0 0 16,1 0-16,0-17 15,-18 0-15,18-1 0,-18 0 16,17 0-16,-17 1 16,0-19-16,0 1 15,0 18-15,0 0 0,0-2 0,-17 2 16,17-1-16,0 1 0,-18-2 15,0 19-15,18-17 0,-18 17 16,18-17-16,-34 17 0,15 0 16,2 0-1</inkml:trace>
  <inkml:trace contextRef="#ctx0" brushRef="#br0" timeOffset="93024.44">15667 14146 0,'0'0'16,"0"-17"-1</inkml:trace>
  <inkml:trace contextRef="#ctx0" brushRef="#br0" timeOffset="93996.36">15950 13987 0,'17'0'16,"-17"36"-1,0-18-15,0-1 16,-17 0-1,17 2-15,-18-19 0,18 17 0,-17 1 16,-2-1 0,38 2-1,-2-2 1,-17 0 0,18-17-16,-1 18 15,-17-1-15,0 2 16,19-19-16,-19 17 0,-19 0 15,19 1-15,-17-18 0,17 18 0,-18-18 16,1 18-16,-2-18 0,19 17 16,-17-17-16,0 17 0,-18-17 15,16 19-15,2-19 0,0 0 32</inkml:trace>
  <inkml:trace contextRef="#ctx0" brushRef="#br0" timeOffset="94248.65">16532 14234 0,'-53'71'16,"18"-35"-1,17-19-15,-17 19 16,-1-19-16,19 18 0,-18-18 0,16 19 16,-33-1-16,35-16 0,-19 15 15,36-16-15,-35 0 16</inkml:trace>
  <inkml:trace contextRef="#ctx0" brushRef="#br0" timeOffset="94423.45">16603 14358 0,'0'17'15,"-19"2"1,38-55-16,-55 89 0,1-18 0,17-18 16,0 19-16,-52 18 15,52-37-15,-35 36 0,18-35 16,-1 16-16,19-16 15,0 0-15,-1-18 0</inkml:trace>
  <inkml:trace contextRef="#ctx0" brushRef="#br0" timeOffset="94918.66">15120 13882 0,'36'-36'0,"-18"36"0,-1 0 16,-88 36-16,195-89 0,-89 35 15,54 1-15,-37 17 16,55-19-16,-55 2 0,1 0 16,35 17-16,-34-18 15,16 18-15,-52 0 0,16 0 16,-15 0-16,-2 0 0</inkml:trace>
  <inkml:trace contextRef="#ctx0" brushRef="#br0" timeOffset="95993.56">15244 13882 0,'54'-17'0,"-2"17"15,-16 0-15,-2 0 0,20-19 16,16 19-16,-16 0 0,15 0 0,2 0 16,-1-17-16,1 17 0,0 0 15,87-18-15,-70 18 16,71-17-16,0-19 0,-89 36 15,20-17-15,-38 17 0,18-18 16,-16 18-16,-1 0 0,16-17 16,38-2-1,-90 19-15,1 0 16,18 0-16,-19 0 16,0 0-16,1 19 0,0-19 15,-18 17-15,18 18 16,-18-18-16,0 19 15,0-1-15,0-16 0,17 15 16,-17 2-16,-17-1 0,17-18 0,0 71 16,-18-17-16,18 0 15,0-54-15,0 19 16,0 17-16,0-18 16,0 1-16,-18-19 0,18 1 15,0-1-15,0 0 16,0 2-16,0-2 15,0 1-15,0-1 0,0 2 16,-18-19-16,18 17 0,-17 0 16,17 1-16,-17-18 0,-1 36 15,-35-19-15,36 0 16,-19 1-16,1 0 16,-18 0-16,-35 35 0,-88-1 15,122-35-15,1 2 16,-88-2-16,-1 18 15,54-16-15,-70-2 0,87-17 16,-88 17-16,71 1 16,18-18-16,-1 18 0,0-18 15,-69 18-15,70-18 16,16 0-16,-51 17 0,69-17 16,-17 0-16,18 0 0,-36 0 15,54 0-15,-19 0 0,19 0 16,-1 0-16,1 0 0,-2 0 15,2 0-15,-18 0 0,18 0 16,-2 0-16,19-17 16,-17 17-16,17-18 15,0 0-15,-17-17 16,17-1-16,0-52 16,17 36-16,-17-1 0,0-18 15,0 18-15,0-18 0,0-52 16,-17 53-16,17 16 0,0-16 0,0 18 15,0-19-15,-18 35 16,18 1-16,0-1 0,0 19 0,-18 0 16,18-1-16,0 0 0,0 0 0,0 1 15,0 0-15,0-2 16,18 19-16,0 0 16,35 0-16,-18 0 15,-1 19-15,20-19 0,16 17 16,125-17-16,-107 17 0,17-17 15,2 18-15,-2-18 0,1 0 16,0 0-16,70 18 0,-105-18 16,17 0-16,-17 0 0,-1 0 0,1 0 15,-36-18-15,71 18 16,-71 0-16,0 0 0,1 0 16</inkml:trace>
  <inkml:trace contextRef="#ctx0" brushRef="#br0" timeOffset="102250.66">15191 5169 0,'36'0'15,"-19"0"-15,18 0 31,-16 0-31,-2 0 16,18 0 0,1 0-1,-19 0 1,0 17 0,-17 18-16,0-17 15,0 0-15,0 16 16,-17-16-16,17 0 0,0 17 0,0-18 15,-17 19-15,17-18 0,0-1 16,0 2-16,-18 15 0,18 1 16,0-16-16,-18-19 0,18 17 0,0 0 15,0 1-15,0 0 16,-18 0-16,36-18 16</inkml:trace>
  <inkml:trace contextRef="#ctx0" brushRef="#br0" timeOffset="102498.46">15315 5415 0,'176'-17'16</inkml:trace>
  <inkml:trace contextRef="#ctx0" brushRef="#br0" timeOffset="103535.68">15562 3158 0,'0'-19'0,"0"55"16,0-18 0,-18 16-16,18-15 0,-17 33 15,17-16-15,-19 17 0,2-18 0,0 18 16,17-18-16,-18-18 0,18 19 16,-17-1-16,17-18 0,-19 2 0,19 16 15,0-18-15,0 2 0,-17-19 0,17 17 16</inkml:trace>
  <inkml:trace contextRef="#ctx0" brushRef="#br0" timeOffset="103768.32">15774 3139 0,'0'-17'0,"-18"53"31,18-19-31,0 1 16,-18-1-16,18 0 0,0 19 0,-18-1 0,18-16 15,0 15-15,-17 2 16,17 16-16,0-16 0,-17 16 16,17-33-16,0-2 0,0 1 0,0-1 15</inkml:trace>
  <inkml:trace contextRef="#ctx0" brushRef="#br0" timeOffset="103963.38">15315 3387 0,'88'-18'16,"-71"18"-16,37-18 0,-20 18 16,2 0-16,-1 0 0,1 0 15,-19 0-15</inkml:trace>
  <inkml:trace contextRef="#ctx0" brushRef="#br0" timeOffset="104198.91">15244 3510 0,'54'0'16,"-37"0"-1,0 0-15,1 0 0,18-17 16,-2 17-16,-15 0 0,50-18 0,-33 18 15,-1 0-15,1 0 0,-19 0 0,54-18 16,-54 18 0,1 0-16</inkml:trace>
  <inkml:trace contextRef="#ctx0" brushRef="#br0" timeOffset="109591.34">14751 5345 0,'123'0'0,"-87"-18"0,-19 18 0,36 0 16,-18 0-16,0 0 0,1-18 0,-2 18 16,2 0-16,-18 0 0,-1 0 15,2 0-15,-2 0 0,-53 0 31,19 0-31,-18 18 16,-1-18-16,1 18 0,-71-1 16,18 0-16,53 2 15,-1-19-15,1 0 0,-1 17 0,19-17 16,0 0-16,17 18 16,17-1-16,0-17 15,19 19-15,-1-19 0,1 0 16,16 0-16,-16 0 0,17 0 15,-1 0-15,-16 0 0,-1 0 0,1 0 16,-1 0-16,-18 0 16,-69 0-1,33 0 1,2 17-16,-18-17 0,17 0 16,-17 17-16,18-17 15,34 18 1,0-18-16,19 0 15,-1 17-15,-18-17 16,19 0-16,-1 0 0,1 0 0,-19 0 16,37 19-16,-20-19 0,-16 0 15</inkml:trace>
  <inkml:trace contextRef="#ctx0" brushRef="#br0" timeOffset="110112.42">14591 5715 0,'-17'18'0,"34"-36"0,-52 53 16,18 1-1,0-19-15,17 1 0,0 18 16,17-19 0,-17 0-16,17-17 0,1 18 15,18-18-15,-19 0 16,0 0 0,1-18-16,-18 1 15,18 0-15,-18-2 0,0-16 31,-18 18-31,18-2 16,-18 19-16,1 0 0,0-17 16,-2 17-16,2 0 0,-1 0 15,1 0-15,0 17 16,-2-17-16</inkml:trace>
  <inkml:trace contextRef="#ctx0" brushRef="#br0" timeOffset="110267.68">14820 5786 0</inkml:trace>
  <inkml:trace contextRef="#ctx0" brushRef="#br0" timeOffset="110477.31">15032 5767 0,'0'19'0,"0"-2"16,0 18-1,-17 1-15,17-19 16,0 1-16,-17 18 0,-1-2 16,18-16-16,-18 18 15,0-19-15,18 0 0</inkml:trace>
  <inkml:trace contextRef="#ctx0" brushRef="#br0" timeOffset="111239.83">16638 5803 0,'-18'0'0,"-18"35"16,19 1-1,0-19-15,-1 19 16,18-1-16,-18 0 16,18-17-16,0 0 0,18 35 15,0-36 1,-1-17-16,0 18 16,2-18-16,-2 0 15,1-18-15,-1 18 0,2-17 16,-2-2-16,-17 2 0,17 0 15,-17-1-15,0 0 16,-17 0-16,17 1 0,0 0 16,-17-1-16,17 0 15,-19 18-15,2 0 0,17-18 16,-18 18-16,1 0 0</inkml:trace>
  <inkml:trace contextRef="#ctx0" brushRef="#br0" timeOffset="111436.9">16955 5945 0,'17'-18'16,"-17"36"-1</inkml:trace>
  <inkml:trace contextRef="#ctx0" brushRef="#br0" timeOffset="112068.11">17167 5857 0,'88'0'31,"-71"0"-31,19 17 16,-18-17-16,16 0 16,-15 0-16,-19 17 15,17-17-15,-17 18 0,0 0 16,0 0-16,0-1 0,0 0 16,-17 1-16,17 18 15,-19-2-15,19-15 0,0-2 16,0 1-16,-17-1 15,17 2-15,0-2 0,0 0 16</inkml:trace>
  <inkml:trace contextRef="#ctx0" brushRef="#br0" timeOffset="112245.5">17255 6138 0,'0'-17'16,"17"17"-16,2 0 16,16-18-16,-1 18 0,-15-17 15,-143 69-15,283-104 0,-142 52 0,19 0 16,-19-19-16,19 19 0,-18 0 16,16-17-16</inkml:trace>
  <inkml:trace contextRef="#ctx0" brushRef="#br0" timeOffset="113247.67">17538 5362 0,'-18'0'0,"18"17"16,18 2 0,-1-19-16,0 17 0,19-17 15,-18 18-15,35-18 16,-36 0-16,1 0 15,18 0-15,-2 0 0,20-18 16,-37 1-16,-17-2 16,0 2-1,0 0-15,-17-19 0,-19 1 16,-52-18 0,53 35-16,16 18 0,-69 0 15,36 18 1,34-18-16,-17 18 0,35 0 15,-17-1-15,17 0 0,17 1 16,-17 0-16,17 0 0,1-1 16,0 0-16,34 19 0,19-18 15,-54-1-15,19-17 0,-18 0 16,35 0-16,-18-17 16,-18 17-16,2-18 0,-2 1 15,0-19-15,-17 19 16,0-1-16,-17 0 0,0 0 15,-2-16-15,-50-2 0,33 36 16,1-18-16,-1 18 0,-17-17 16,-17 17-16,34 0 15,19 17-15,-36-17 0,35 0 16,-18 18-16,36 0 0,19 0 16,-2-1-1,54 0-15,-18 1 0,53 0 16,-18-18-16,-52 0 15,33 0-15,-50-18 16,15 18-16,2-18 0,-18 1 16,-1 0-16,-17-1 15,-17 0-15,-19-17 16,1 35-16,-1-17 0,-16 17 16,-36-19-16,-1 38 15,-17-2-15,36 0 16,35 1-16,35 0 0,-19 17 15,19 0-15,19-17 16,33 17-16,37 18 16,17-18-16,-53-35 0,70 19 15,-87-19-15,34-19 0,-18 19 16,19-17-16,-18 17 0,1-18 16,-2 1-16,-16-19 0,16 1 15,-16-1-15,-36 19 16,0 0-16,-18-19 15,-35 18-15,36 1 16,-19 17-16,1 0 0,-1-17 0,1 17 16,-1 0-16,-52 17 0,54 0 15,-54 1-15,52 0 16,1 17-16,-1-18 16,19 19-16</inkml:trace>
  <inkml:trace contextRef="#ctx0" brushRef="#br0" timeOffset="117998.32">12316 13882 0,'176'35'0,"-122"-17"0,70 0 16,-36-1-16,158 36 16,-158-53-16,0 18 15,0-1-15,54-17 0,16 0 16,89-17 0,-158-1-16,-19 18 0,0-18 15,54-17-15,0 0 16,-72 17-16,2 0 0,-1 1 15,-1-19-15,1 19 0,35-54 16,-52 36-16,-1 18 0,1-19 0,-1 1 16,-1-18-16,2 18 0,-18-1 15,18 2-15,-2-56 0,-16 38 16,-18 16-16,0 2 0,0-2 16,-18 1-16,1-1 0,0 1 15,-19-18-15,-18 18 0,20-18 16,-37 18-16,0-1 0,1 2 0,-1-2 0,-17 1 15,-17-1-15,17 19 0,-142-18 16,124 35-16,-17-17 0,-1 17 16,1 0-16,-1 17 0,19-17 0,-143 35 15,143-18-15,-37 19 16,1 17-16,18-18 0,-106 70 16,141-51-16,-1-1 0,-51 52 15,69-51-15,18-1 16,-1-1-16,2 36 0,34-35 15,0 35-15,36-34 0,0-1 16,17-18-16,1 18 0,16-18 16,89 35-16,-70-34 0,158 16 15,-158-52 1,17 0-16,-17 0 0,-1 0 0,18-17 16,-17 0-16</inkml:trace>
  <inkml:trace contextRef="#ctx0" brushRef="#br0" timeOffset="121731.08">5438 16827 0,'88'18'16,"-71"-18"0,0 0-16,1 18 0,0-18 0,0 0 15,35 0-15,-18 18 0,-1-18 16,2 0-16,-1 0 0,1 0 16,-1 17-16,1-17 0,52 0 15,-54 0-15,37 17 0,-35-17 16,16 19-16,1-19 0,1 17 0,-2-17 15,1 18-15,18-18 0,-18 17 16,-1-17-16,19 17 0,-18-17 0,18 19 16,-18-19-16,18 17 0,-19-17 15,18 18-15,54-1 0,-72-17 16,19 19-16,-18-19 0,18 17 16,53-17-16,-53 17 0,-2-17 15,126 18-15,-142-18 16,18 17-16,-19-17 0,18 19 15,-16-19-15,-1 0 0,-1 17 0,36-17 16,1 17 0,-37-17-16,2 0 0,-20 18 0,2-18 15,-1 0-15,1 18 0,-1-18 0,1 0 16,-2 18-16,2-18 0,-1 0 16,-18 17-16,19-17 0,-1 0 0,-18 0 15,19 0-15,-1 17 0,-16-17 16,15 0-16,1 0 0,1 0 15,17 0-15,-18 0 0,1 0 16,-1 19-16,-1-38 0,2 19 0,-18 0 16,18 0-16,-2 0 0,20 0 15,16 0-15,-52 0 16,16 0-16,2 0 0,-18 0 16,16 0-16,2-17 0,18 17 15,-37 0-15,18-17 0,35 17 16,-34 0-16,-1 0 0,1-18 15,-1 18-15,1 0 0,-2 0 16,20 0-16,-20-18 0,2 18 0,-1 0 16,18 0-16,-18 0 0,1 0 15,-1 0-15,18-18 0,-18 18 0,35 0 16,-34 0-16,16 0 0,-16 0 16,-1 0-16,53-17 15,-52 17-15,-1 0 0,18-17 0,-18 17 16,18 0-16,-17 0 0,16-19 15,36 19-15,-35-17 0,-17 17 16,-1-18-16,0 18 0,54-17 16,-54 17-16,1-17 15,16 17-15,-16 0 0,-2-19 0,37 19 16,-35 0-16,-1-17 0,-1 17 16,2 0-16,-1 0 0,36 0 15,-1 0-15,-52 0 16,18 0-16,-2-18 0,2 36 15,-18-18-15,52 0 0,-52 0 16,18 0-16,-2 0 0,-16 0 0,18 0 16,-2 0-16,-16 0 0,18 0 15,-2 0-15,-15 0 0,16 0 16,35 0-16,18 0 16,-52 0-16,-18 0 0,16 0 15,2 0-15,-1 0 0,-18 0 16,54 17-16,-18-17 0,-35 0 15,18 0-15,-2 0 16,-16 0-16,18 0 0,17 19 16,-36-19-16,18 0 0,1 0 15,-19 0-15,18 0 0,1 0 0,69 17 16,-87-17-16,18 0 16,17 0-16,-18 0 15,1 17-15,52-17 0,0 0 16,-36 18-16,18-18 0,37 0 15,-36 17-15,-19-17 16,18 0-16,1 0 0,0 0 0,-1 0 16,18 0-16,54 0 0,-54 0 15,0 0-15,18-17 0,70 17 16,-88 0-16,107-18 16,-90 1-16,-17 17 0,0 0 15,-17 0-15,88 0 0,-89 0 16,1 0-16,88 17 0,-89-17 15,1 18-15,53-1 16,-72-17-16,1 19 0,-18-19 16,1 0-16,17 17 0,-1-17 0,-16 17 15,-18-17-15,-1 0 16,19 0-16,-19 0 0</inkml:trace>
</inkml:ink>
</file>

<file path=ppt/ink/ink131.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59:48.860"/>
    </inkml:context>
    <inkml:brush xml:id="br0">
      <inkml:brushProperty name="width" value="0.05292" units="cm"/>
      <inkml:brushProperty name="height" value="0.05292" units="cm"/>
      <inkml:brushProperty name="color" value="#0070C0"/>
    </inkml:brush>
  </inkml:definitions>
  <inkml:trace contextRef="#ctx0" brushRef="#br0">5573 5380 0,'90'0'15,"-73"0"-15,18 0 0,18 17 16,-18-17-16,-17 0 0,34 0 15,-33 0-15,-2 0 0,1 0 16,-1 0-16,0 0 0,19 18 16,-18 0-1,-18 0 1,0-1-16,0 0 0,-18 73 16,1-38-1,-2 1-15,19 0 0,-17-1 16,0 19-16,-1 17 0,1-17 15,17 17-15,-19-18 0,2 18 0,-18 71 16,35-70-16,-18-1 0,0-17 16,18 17-16,-17-17 0,17-19 0,0 18 15,-17-16-15,17 16 0,0-16 16,0 16-16,-19-18 0,19-16 16,0 16-16,0-16 0,0-1 0,-17 1 0,17-1 15,0 1-15,-18-2 0,18-16 16,0 18-16,-17-19 0,17 19 15,0-19-15,-17 1 0,17-1 0,-19 0 16,19 2-16,0-2 0,-17 1 16,17-1-16,-18-17 0,18 19 15,-17-19-15,-2 0 16,19 17-16,-17-17 0,0 0 16,-18-17-16,16 17 0,2 0 15,-18 0-15,-1-19 0,-17 2 0,-70-1 16,53-18-16</inkml:trace>
  <inkml:trace contextRef="#ctx0" brushRef="#br0" timeOffset="1042.8">812 5363 0,'-19'-18'15,"-15"0"-15,16 18 0,0 0 0,0 0 16,1 0-16,0 0 0,-2-18 16,-33 18-16,35 0 0,-2 0 15,-16 0-15,18 0 0,-2 0 0,2 0 16,-18 0-16,18 18 15,-2-18-15,2 0 0,0 0 0,-19 18 16,18-18-16,1 0 0,0 18 0,-2-18 16,2 17-16,17 0 15,-35 1-15,35 0 0,-17 0 16,-2-1-16,19 0 0,-17 2 16,17-2-16,-18 18 0,18 1 15,-17-19-15,17 18 0,0 18 0,-19 1 16,19-2-16,-17 1 0,17 0 15,0 1-15,0-2 0,0 18 0,-17-16 16,17-1-16,0 16 0,0-15 16,0 16-16,0-16 0,0 16 0,-18-18 15,18 2-15,0 16 0,0-16 16,0-2-16,0 1 0,0 52 0,0-51 16,-18-1-16,18-18 0,0 1 15,0 16-15,0 1 0,-18-17 0,18-1 16,0 35-16,0-52 15,0 18-15,-17-2 0,17-16 16,0 18-16,0-19 0,0 0 0,0 19 16,0-18-16</inkml:trace>
  <inkml:trace contextRef="#ctx0" brushRef="#br0" timeOffset="11600.03">6879 5663 0,'-18'0'0,"1"17"0,0-17 16,17 17-16,-19-17 0,19 18 0,-17 18 16,17-19-16,-18 18 15,1-17-15,17 17 16,0-18-16,0 2 0,0 16 15,0-18-15,0 2 0,0-2 16,17 0-16,1-17 16,-1 18-16,2-1 0,-2-17 0,0 0 15,1 0-15,18-17 16,-19 17-16,0-18 16,2 1-16,-2 0 15,1-2-15,-18 2 0,0-1 16,17 18-16,-17-17 0,0-2 0,0-15 15,-17-2 1,17 18-16,-18 1 0,18 0 16,-17 17-16,17-18 0,-19 0 15,2 18-15,0 0 32</inkml:trace>
  <inkml:trace contextRef="#ctx0" brushRef="#br0" timeOffset="11765.76">7215 5821 0,'0'0'15</inkml:trace>
  <inkml:trace contextRef="#ctx0" brushRef="#br0" timeOffset="12269.83">7655 5680 0,'-35'-17'16,"18"17"-1,-1 0 1,-18 17-16,2 0 31,15 1-31,19 0 16,19 0-1,-19-1 1,17 0-16,-17 1 0,17 0 16,1-18-16,-18 18 15,18-1-15,-18 0 16,0 2-16,-18-2 16,0 1-16,1-18 15,0 17-15,-2 2 0,2-19 0,-37 17 16,2 0-16,16-17 15,19 18-15,0-18 0</inkml:trace>
  <inkml:trace contextRef="#ctx0" brushRef="#br0" timeOffset="15244.53">6915 6527 0,'-36'34'0,"36"-15"0,-18-2 15,18 18-15,-17-18 0,17 2 16,-17-2-16,17 18 15,0-16-15,0-2 16,0 0-16,0 1 0,17 0 0,0 0 16,1-1-1,0-17-15,0 0 0,-1 0 16,19 0-16,-19-17 16,18 17-16,-18-18 0,2 18 0,-2-18 15,-17 0-15,35 1 16,-35 0-16,0-2 0,19 19 15,-19-35-15,0 18 0,0-2 16,0 2-16,-19 0 16,2-1-16,17 1 15,-18 17-15,18-19 0,-17 19 16,-2-17 0,2 17-16,0 0 15</inkml:trace>
  <inkml:trace contextRef="#ctx0" brushRef="#br0" timeOffset="15409.04">7356 6632 0,'0'0'15,"0"-17"1</inkml:trace>
  <inkml:trace contextRef="#ctx0" brushRef="#br0" timeOffset="16397">7603 6456 0,'34'-17'16,"-16"17"-16,0 17 15,0-17 1,-18 35 0,0-17-1,-18-18-15,18 18 16,-18-1-16,0 0 16,18 2-1,-17-19-15,17 17 16,17 1-1,-17-1 1,18 0-16,0 2 31,-18-2-31,0 1 16,0-1-16,0 2 0,-18-19 16,18 17-16,-18-17 15,1 17-15,0-17 0,-1 18 16,0 0-16,0-18 0,1 0 15,0 18-15,-19-18 16</inkml:trace>
  <inkml:trace contextRef="#ctx0" brushRef="#br0" timeOffset="19197.95">7003 7285 0,'-35'35'47,"-1"18"-32,19-35 1,-1 18-16,18-19 0,-18 0 16,18 1-16,0-1 0,0 2 15,-18 15-15,36-16 0,-18 0 16,0 0-16,18-18 16,0 17-16,-1-17 15,0 0-15,-17 17 0,36-34 16,-18 17-16,-1 0 15,0 0-15,2-17 16,16-1-16,-18 0 16,2 0-1,-19 1-15,17 17 0,-17-17 16,0-2-16,0 2 0,0-1 16,0-16-1,0 15-15,-17 19 16,17-17-16,-19 17 15,19-18-15,-17 18 0,-1-17 16,1-2-16</inkml:trace>
  <inkml:trace contextRef="#ctx0" brushRef="#br0" timeOffset="19395.77">7408 7479 0</inkml:trace>
  <inkml:trace contextRef="#ctx0" brushRef="#br0" timeOffset="20069.87">7585 7337 0,'18'0'15,"16"0"-15,-34 19 0,18-19 16,-18 17-16,0 1 15,-18-1-15,18 2 16,-17-19-16,0 34 0,-1-16 16,0-1-16,0 2 15,1-2-15,17 0 16,-17-17-16,17 18 0,0 0 0,-19-18 16,38 18-1,-19-1-15,17-17 16,0 0-16,1 0 0,0 17 15,0-17-15,-1 0 16,18 0-16,-17 0 0,0 0 16,-1 19-16,0-19 0,2 0 15,-2 0-15</inkml:trace>
  <inkml:trace contextRef="#ctx0" brushRef="#br0" timeOffset="32050.51">2276 9367 0,'17'-18'0,"-17"0"16,-17 18-1,-2 0 1,2 0-1,0 18-15,-1-18 0,18 18 0,-18-18 16,-17 17-16,18 0 0,-1 19 16,0-18-16,0-1 0,-16 0 0,15 19 15,2-18-15,17-1 0,-18 2 0,1-2 16,17 0-16,-19 37 16,38-37-16,-19 0 15,0 1-15,17-18 0,-17 18 16,18-18-16,-1 18 0,2-18 0,-2 0 15,0 17-15,1-17 16,0 0-16,0 0 0,-1 0 0,0 0 16,1 0-16,0-17 0,0 17 0</inkml:trace>
  <inkml:trace contextRef="#ctx0" brushRef="#br0" timeOffset="32532.92">2611 9508 0,'-36'-19'16,"18"19"-16,1 0 15,17 19-15,-17-19 0,-1 0 16,18 17-16,-18-17 0,0 18 16,18-1-16,-17-17 0,17 19 0,-17-19 15,17 17-15,-19 0 0,19 1 16,0-1 0,19 2-1,-2-38 1,0 19-1,1 0-15,-18-17 0,18-1 16,0 18 0,-1 0-1,-17 18 17,17-1-17,-17 2-15,0-2 16,0 0-1,18 1 1,0-18-16</inkml:trace>
  <inkml:trace contextRef="#ctx0" brushRef="#br0" timeOffset="32985.43">2823 9508 0,'-19'35'31,"2"-35"-31,17 17 0,0 19 31,0-19-31,-18 1 0,18-1 31,18 2-15,-1-38 0,2 19-1,-2-17 1,18 17-1,-17 0 1,0 17 0,-1 2-1,0-2 1,-17 0-16,18 1 31</inkml:trace>
  <inkml:trace contextRef="#ctx0" brushRef="#br0" timeOffset="33355.62">3211 9543 0,'-19'0'31,"2"36"-15,17-19-16,0 0 16,0 1-16,0-1 15,17-17-15,-17 19 16,0-2-16,19-17 0,-2 0 16,0-17 15,1 17-31,-18-19 0,0 2 15,0-1-15,-18 1 16,18-19-16,0 19 16,-17 17-16,17-18 15,-17 18-15,17-17 16,-19 34-16,2-17 16,-1 0-16,18 18 15</inkml:trace>
  <inkml:trace contextRef="#ctx0" brushRef="#br0" timeOffset="33757.74">3475 9508 0,'0'17'0,"0"1"15,0-1 1,0 2 0,36-19 46,-19-19-46,0 19-1,1 0 1,-18 19 0,0-2-1,0 0 1,0 1-16</inkml:trace>
  <inkml:trace contextRef="#ctx0" brushRef="#br0" timeOffset="35090.12">2028 13159 0,'-17'17'47,"-1"0"-47,18 2 0,0-2 15,-17 1 1,17-1-16,0 19 16,0-19-1,0 1-15,17-36 63,-17-16-32,18 15-31,-18 2 0,17-1 16,-17 1-16,19-2 15,-2 2 1,0 34-1,-17 2-15,18 16 16,-18-18 0,18 2-16,0 15 15,-18-16-15,17 0 16,-17 0-16,17-1 0,1-17 16,0-17 15,0 17-31,-18-18 15,17-35 1,-17 36-16,0-2 0,17-33 16,-17 33-16,0 2 0,19 0 15,-19-1-15,17 1 16</inkml:trace>
  <inkml:trace contextRef="#ctx0" brushRef="#br0" timeOffset="35350.15">2557 13264 0,'-17'36'16,"17"-19"-16,0 1 15,0 0 1,0 0-16,0-1 0,-17 0 0,17 1 16,0 0-1</inkml:trace>
  <inkml:trace contextRef="#ctx0" brushRef="#br0" timeOffset="35877.65">2769 13159 0,'18'17'0,"-36"0"16,18 2-16,0-2 16,-17 18-16,17-16 15,-17-2-15,17 0 0,0 1 0,-19 0 16,19 0-16,0-1 0</inkml:trace>
  <inkml:trace contextRef="#ctx0" brushRef="#br0" timeOffset="36186.41">3033 13229 0,'-17'0'0,"0"0"16,-1 0-16,0 0 0,18 18 0,-18-18 15,1 17-15,0-17 0,17 19 0,-18-19 16,0 17-16,0 0 16,1 1-16,17 0 15,-17-18-15,17 18 16,17-18-16,0 17 15,1-17-15,0 0 16,0 0-16,-1 0 16,0 0-16,1 0 15,0 0-15,0 0 0</inkml:trace>
  <inkml:trace contextRef="#ctx0" brushRef="#br0" timeOffset="36660.06">3299 13141 0,'0'35'31,"-18"-18"-15,18 2-16,18-2 15,-18 1-15,0-1 16,17-17-16,-17 19 0,17-19 16,2 0-16,-2 0 15,1 0-15,-1-19 16,-17 2 0,0-1-1,-17 1-15,17-2 16,-18 2-16,1 0 15,-2 17 1</inkml:trace>
  <inkml:trace contextRef="#ctx0" brushRef="#br0" timeOffset="37114.93">3721 13105 0,'-52'88'15,"34"-69"1,18-2-16,0 1 15,36-18 32,-36-18-47,17 18 16,-17-17-16,17 17 16,2 0-16,-2 0 15,-17 17 1,18-17-1,-18 18 1,17-18-16,2-18 16,15 18-1,-34-17-15,18 17 0,-18-19 0,17 2 16,-17 0-16,19-1 0,-19 1 16,0-2-16,17 2 15,0 0 1</inkml:trace>
  <inkml:trace contextRef="#ctx0" brushRef="#br0" timeOffset="41159.6">4797 9437 0,'54'18'16,"-20"-18"0,-15 0-16,-2 0 0,18 0 0,-16 0 15,15 0-15,2 0 0,-1 0 0,-18 0 16,19 0-16,-18 0 0,16 0 0,-15-18 15,16 18-15,-18 0 0,2 0 16,15 0-16,-34-18 0</inkml:trace>
  <inkml:trace contextRef="#ctx0" brushRef="#br0" timeOffset="41448.83">5239 9208 0,'36'17'16,"16"18"0,-35-16-16,2-2 15,-2 0-15,0 1 0,1 18 16,0-19-16,-18 0 0,18 19 0,-18-18 15,17-1-15,-17 0 0,0 37 16,-17-37-16,17 2 0,-18 15 16,18-16-16,-18-1 0,0 19 0,1-19 15,0 1-15,-2 0 16,2 0-16,-1 16 0</inkml:trace>
  <inkml:trace contextRef="#ctx0" brushRef="#br0" timeOffset="42229.62">4745 12912 0,'18'0'0,"-1"0"16,0 0-16,37 0 15,-37 0-15,0 0 0,19 0 16,-1 0-16,-16 0 0,15 0 16,-16 0-16,0 0 0,17 0 15,-18 0-15,1-17 0,0 17 0,0 0 16,-1 0-16,0 0 0,2 0 16,-2-19-1</inkml:trace>
  <inkml:trace contextRef="#ctx0" brushRef="#br0" timeOffset="42500.77">5151 12700 0,'34'0'16,"-15"17"-16,-2-17 0,1 19 15,-1-19-15,2 17 0,15 18 16,-34-18-16,18 2 0,-1-2 16,-17 1-16,19-1 0,-19 2 15,0 15-15,17-16 0,-34 0 16,17 0-16,-19 34 0,2-34 0,-1 0 16,1-1-16,0 0 0,-19 19 15,18-36-15,1 18 0,-2-1 16,2 0-16,-18-17 0,17 0 0</inkml:trace>
  <inkml:trace contextRef="#ctx0" brushRef="#br0" timeOffset="44087.86">7073 9084 0,'0'-17'0,"-17"-1"16,-2 18 15,2 0-31,0 0 0,-1 0 16,1 18-16,-2-18 0,2 0 31,0 17-31,17 0 16,17 19-1,0-36-15,-17 18 0,19-1 16,-2 0-16,1 2 0,-18-2 0,17 1 16,0-1-16,-17 2 0,19-2 0,-2 0 15,-17 1-15,0 0 16,18 0-16,-36-1 0,18 0 16,-17 1-16,-2 0 0,2 0 15,0-18-15,-1 17 0,1-17 16,-2 0-16,2 0 0,0 0 15,-1 0-15,18-17 16,18-1 0,-18 0-16,17 0 0,0 1 15,2 0-15,-2-1 16,1 18-16,35-53 16,-36 36-16,1 17 0,-18-19 0,17 2 15,-17-1-15,0 1 0,19 17 16,-19-19-16,0 2 0,-19 17 0,19-17 15,0-1-15,-17 18 0,17-17 0,-18-2 16,1 2 0,-2 0-1,2-1-15</inkml:trace>
  <inkml:trace contextRef="#ctx0" brushRef="#br0" timeOffset="44580.84">7515 8979 0,'0'-18'15,"0"36"-15,-19-1 16,2 36 0,17-18-16,-18-18 15,18 2-15,0 16 0,0-18 16,-17 36-16,17-18 0,0-16 15,0-2-15,0 0 0,0 1 0,17 0 16,-17 0-16,0-1 0,0 0 16,18-17-16,-18 18 0,17-18 15,2 0-15,-2-18 16,0 18 0</inkml:trace>
  <inkml:trace contextRef="#ctx0" brushRef="#br0" timeOffset="44894.71">7744 9137 0,'-19'0'16,"-15"18"-1,34-1 1,-18 0-16,18 2 16,0-2-16,18 18 15,-1-35-15,-17 19 16,17-19-16,2 0 15,-2 0-15,1 0 16,-1 0-16,-17-19 0,19 19 0,-19-35 16,-19-18-1,2 18 1,-18 18 15,16-2-15,2 38-16,0-19 15</inkml:trace>
  <inkml:trace contextRef="#ctx0" brushRef="#br0" timeOffset="45417.29">8025 9120 0,'-17'17'47,"0"-17"-47,17 18 16,0-1-16,0 0 15,0 2 1,17-19-16,0 0 15,19 17 1,-18-17-16,-1 0 16,0 0-1,2 18 1,-2-18-16,1 0 16,-1 0-1,2 0-15,-2 0 16,0 0-16,1-18 15,-1 1-15,19-19 16,-19 36-16,-17-17 0,18 17 16,-18-18-16,18 18 0,-18-17 0,18-2 15,-1 38 17,-17-2-17,0 1-15,0-1 16,0 0-16,0 19 15,0-1 1</inkml:trace>
  <inkml:trace contextRef="#ctx0" brushRef="#br0" timeOffset="45580.3">8325 9208 0,'18'-36'16,"0"36"-16,0 0 15,-1 0-15,0-17 0,2 17 0,50 0 16</inkml:trace>
  <inkml:trace contextRef="#ctx0" brushRef="#br0" timeOffset="45956.07">9013 9013 0,'0'18'31,"0"0"-31,0 0 0,0-1 16,-17 0-16,17 2 15,0-2-15,0 18 16,0-18-16,17-17 0</inkml:trace>
  <inkml:trace contextRef="#ctx0" brushRef="#br0" timeOffset="46286.06">9189 9067 0,'-34'34'32,"34"-15"-17,17 16 1,-17-18-16,17-17 15,2 17 1,16-17 0,-18-17-16,19 0 15,-19 17-15,-17-18 16,0 1 0,0-2-16,-17-15 15,0 34-15,17-18 16,-19 18-16,2-18 0,-1 18 15,-35 0 1</inkml:trace>
  <inkml:trace contextRef="#ctx0" brushRef="#br0" timeOffset="46553.38">9384 8749 0,'35'18'0,"-17"-18"0,-71-18 0,124 53 15,-37-18-15,-15 2 0,16 16 16,-1-18-16,-15 19 0,16-1 16,-18 1-16,2-19 0,-19 18 0,17 1 15,-17-19-15,0 19 0,0-19 0,0 18 16,0-18-16,-17 19 0,-2-1 15,2 1-15,-1-1 0,-18 1 0,19-19 16,0 0-16,-18 19 0,16-18 0,2-18 16,0 17-16,-1 0 0,0-17 15</inkml:trace>
  <inkml:trace contextRef="#ctx0" brushRef="#br0" timeOffset="47742.96">10707 8855 0,'36'0'0,"-2"0"16,1 0-1,-16 0-15,-2 0 0,18 0 0,-17 0 16,0 0-16,16 0 0,-15 0 0,-2 0 16,1 0-16,35 0 15,-36 0-15,1 0 0,-18-18 0,17 18 16</inkml:trace>
  <inkml:trace contextRef="#ctx0" brushRef="#br0" timeOffset="47936.91">11095 8820 0,'-18'0'0,"1"17"16,17 1-1,0-1-15,0 2 16,0-2-16,-19 0 0,19 1 0,0 0 15,0 0-15,-17-1 0,17 0 0,-17 19 16,17-18-16,-18-1 0,18 0 16,-17 2-16,17-2 0,-19 1 0,2-1 15,17 0-15</inkml:trace>
  <inkml:trace contextRef="#ctx0" brushRef="#br0" timeOffset="48112.69">10848 9225 0,'0'-17'15,"17"-2"1,1 19-16,18 0 16,-19 0-1,0 0-15,2 0 0,-2 0 0,1 0 16,-1 0-16,0 0 16,37-17-16,-37 17 15,2 0-15,-2 0 0,0-17 0</inkml:trace>
  <inkml:trace contextRef="#ctx0" brushRef="#br0" timeOffset="48702.84">11607 8820 0,'0'0'16,"-36"17"-16,36 1 16,-18-18-16,18 17 0,0 2 15,-17-2-15,17 0 0,0 1 16,-17 35 0,17-36-16,0 1 0,0 0 0,17 0 15,-17-1-15,17-17 0,-17 17 16,18-17-16,0 0 0,0 19 0,-1-19 15,0 0-15,1 0 0,0 0 16,0-19-16,-1 19 16,0-17-16,2-18 15,-2 17-15,-17 0 0,0 1 0,18 0 16,-18-1-16,0 0 0,-18-17 16,1-36-1,17 54-15,-19-19 0,2 36 16,17-17-16,-17 17 15,17-18-15,-18 18 0,0 0 16,0 0-16,1 18 16,34 16-1,-17-15 1,18 33-16,0-16 16,-18-19-16,18 1 0,-1 0 15,-17 0-15,17 16 0,2-16 0,-2 0 16,-17 0-16,35 35 15,-35-36-15,19 1 0,-19-1 0,17-17 16,-17 17-16,17 2 0,-17-2 0,0 1 16,18-18-16,-18 17 0,0 2 15,0-2-15,17-17 16</inkml:trace>
  <inkml:trace contextRef="#ctx0" brushRef="#br0" timeOffset="51772.8">7179 10125 0,'-35'18'16,"18"-1"0,-2 0-16,2 2 0,17 16 15,-18-18-15,18 0 0,-17 2 0,17-2 16,0 1-16,0-1 0,0 36 16,0-35-16,17 0 15,-17 0-15,18-18 0,-18 17 0,17 0 16,19-17-16,-19 18 15,1-18-15,0 0 0,0-18 16,-1 18-16,-17-17 16,17 17-16,-17-17 15,0-1-15,0 0 0,-17 0 16,0 1 0,-1 17-16,0-17 15,-17 17 1,-1 0-16,36 17 31,-17-17-31</inkml:trace>
  <inkml:trace contextRef="#ctx0" brushRef="#br0" timeOffset="53064.02">10125 9825 0,'18'0'0,"-18"18"31,0 35-15,0-18-1,0-18-15,-18 2 0,18-2 0,0 0 16,0 1-16,0-1 0,-18 2 0,18-2 15,0 0-15,0 19 16,0-18 0,0-1-1</inkml:trace>
  <inkml:trace contextRef="#ctx0" brushRef="#br0" timeOffset="54019.88">10177 9843 0,'71'-18'0,"-54"18"0,-17 18 15,19-18-15,-2 0 0,1 17 16,-18 0 0,0 2-16,0-2 15,-35 18-15,16-16 16,19-2 0,-17-17-16,17 17 15,17 1 1,2-1-1,-2-17-15,-17 19 0,18-19 16,-1 17-16,2 0 16,-19 19-1,-19-18 1,19-1 0,-17-17-16,17 17 0,-18-17 0,1 0 0,-2 19 15,2-19-15,-18 17 16,17-17-16,0 0 15</inkml:trace>
  <inkml:trace contextRef="#ctx0" brushRef="#br0" timeOffset="54392.96">10724 9931 0,'19'0'15,"-19"17"17,-19 2-17,19-2-15,-17 0 0,17 1 16,-18-1-16,18 2 0,-17-2 15,-2 36-15,19-35 16,0-1-16,0 19 16,19-36-16,-19 17 15,17 1-15,1-18 0,-1 17 16,2-17-16,15 0 16,-16 17-16,-1-17 0,2 0 0,-2 0 15,18 0-15,-17 0 0,0 0 0,-1 19 16,0-19-16,2 0 15,-2 0-15</inkml:trace>
  <inkml:trace contextRef="#ctx0" brushRef="#br0" timeOffset="56127.26">7391 11201 0,'17'0'47,"0"0"-47,2-18 16,16 18-16,1 0 16,-19 0-16,0 0 0,1 0 15,0 0-15,17 0 16,-18 0-1,1 18-15,-18 0 16,0-1-16,0 0 16,0 37-1,0-37-15,0 0 0,-18 2 0,18-2 16,0 1-16,-17-1 0,17 2 16,0-2-16,0 0 0,-17 18 15,17-16-15,0-2 0</inkml:trace>
  <inkml:trace contextRef="#ctx0" brushRef="#br0" timeOffset="56357.17">7479 11465 0,'17'-17'0,"2"17"16,15-17 0,37 17-1,0 0 1,-54 0-16,0 0 0,2-19 0,-2 19 0,18 0 16,-16 0-16,-2 0 0,0 0 15,1 0-15</inkml:trace>
  <inkml:trace contextRef="#ctx0" brushRef="#br0" timeOffset="57250.79">10319 11024 0,'88'-35'0,"-71"35"0,2 0 0,-2 0 16,0 0-16,1 0 15,0 18-15,0-18 0,-1 0 0,0 17 16,2-17-16,-19 19 31,-19-2-31,2 0 0,-18 18 16,17-35-16,0 19 16,1-19-16,-19 34 15,19-16-15,-1-18 0,18 18 16,-17-18-16,17 18 0,-17-18 15,17 17 1,17 0-16,0 2 16,1-19-16,-1 17 0,2-17 15,51 18 1,-52-18-16,35 0 0,-36 0 16,1 0-16,-1 0 0,19 0 0,-19 0 15,-17-18-15,35 18 16</inkml:trace>
  <inkml:trace contextRef="#ctx0" brushRef="#br0" timeOffset="57437.06">10355 11165 0,'-19'0'0,"72"0"31,-18 0-15,-16 0-16,15 0 0,2 0 16,-1 0-16,1 0 0,-19 0 0,18 0 15,1 0-15,-1 0 0</inkml:trace>
  <inkml:trace contextRef="#ctx0" brushRef="#br0" timeOffset="60320.19">7515 13159 0,'17'-35'0,"-17"16"0,0 2 16,-17 0-1,-2-1-15,-16 18 16,18 0-16,-36 0 16,35 18-1,1-18-15,-2 17 0,2 0 16,0-17-16,-1 19 0,0-2 16,18 1-16,-18-1 15,36 0 1,18-17-16,-19 0 15,0 0-15,2 0 0,-2-17 16,1 17-16,52-35 16,-52 18-16,-1 17 0,2 0 0,-2-19 15,0 19 1,1 0-16,-18 36 16,18-18-16,-36-1 0,18 0 15,0 2-15,0-2 16,0 18-16,-18-16 0,18-2 0,0 18 15,-17-17-15,17 0 0,0-1 0,-17 0 16,17 1-16,0 0 16,0 0-16,0-1 0,-19 0 0,38 2 15</inkml:trace>
  <inkml:trace contextRef="#ctx0" brushRef="#br0" timeOffset="61220.2">9825 13071 0,'-18'0'0,"54"0"31,-2 0-15,-15 0-16,-2 0 16,1 0-16,-1 0 0,0 0 0,2 0 0,16 0 15,1 0-15,-19 0 16,36 0 0,-35-18-16</inkml:trace>
  <inkml:trace contextRef="#ctx0" brushRef="#br0" timeOffset="61432.48">10125 13017 0,'-18'0'0,"-17"36"16,18-18 0,17-1-1,0 0-15,-19 2 0,19-2 0,0 1 16,-17-1-16,17 0 0,0 2 0,0-2 15,-18 1-15,18-1 0,0 2 16,0-2-16,0 0 0,0 1 0,-17 0 16,17 0-16,0-1 15</inkml:trace>
  <inkml:trace contextRef="#ctx0" brushRef="#br0" timeOffset="61629.99">9648 13476 0,'53'0'31,"-35"-17"-31,18 17 16,-19 0-16,18 0 0,-17 0 0,0 0 15,16 0-15,-15 0 0,16-18 16,-18 18-16,19 0 0,-19-18 0</inkml:trace>
  <inkml:trace contextRef="#ctx0" brushRef="#br0" timeOffset="62173.67">10495 13124 0,'-35'0'0,"18"0"0,-19 35 16,1-1 0,35-15-16,0-2 15,0 1-15,-17-1 0,17 19 16,0-19 0,17-17-16,-17 18 0,35 0 15,-18 0-15,2-18 16,-2 0-16,0 0 15,1 0-15,0-18 0,0 18 0,-18-18 16,17 18-16,0-35 16,-17 18-16,19-2 0,-19 2 0,-19-18 15,19 16-15,0-15 0,-17 16 16,17 1-16,-17-2 0,-1 19 16,18-17-16,-18 0 0,0 17 0,18-18 15,-17 18-15,0 0 16,-2 0-1,2 0-15,17 35 16,0-18-16,0 2 16,17-2-16,-17 1 0,19 35 15,33-1 1,-52-16-16,18-19 0,0 1 16,-1 0-16,-17 0 0,17-1 15,2 0-15,-19 1 0,17 0 0,-17 0 16,18-1-16,-1 0 15,-17 2-15,17-2 16,2 1-16,-2-1 16</inkml:trace>
  <inkml:trace contextRef="#ctx0" brushRef="#br0" timeOffset="65064.77">7691 14359 0,'-36'17'0,"18"-17"0,1 17 15,0 1 1,-1 0-16,0 0 15,0 16 1,1-34-16,17 18 0,-17 0 16,17 0-16,0-1 15,0 0 1,17-17-16,0 19 0,1-19 16,0 17-16,0-17 15,-1 0-15,0 18 0,1-18 16,18 0-16,-19 0 0,0 0 0,2 0 0,16 0 15,-18 0-15,2 0 16,-2 0-16,0 0 0,1 0 0,-1 0 0,2 0 16,-2-18-1</inkml:trace>
  <inkml:trace contextRef="#ctx0" brushRef="#br0" timeOffset="65293.32">7849 14393 0,'-17'36'0,"0"-36"16,17 18-16,-36 52 16,36-35-16,-18-18 0,1 54 15,17-52-15,-19 15 16,19-16-16,0 18 0,0-19 0,-17 18 15,17-17-15,0 0 0,0-1 16,17 0-16,-17 1 0,19 0 0,-19 0 16,17-18-16</inkml:trace>
  <inkml:trace contextRef="#ctx0" brushRef="#br0" timeOffset="65764.64">9789 14252 0,'0'-17'0,"0"51"16,0-15-16,-17-19 16,17 17-16,0 1 0,-17-1 15,17 2-15,0-2 0,-19 0 16,19 1-16,-17 0 0,17 0 0,0-1 16,-18 0-16,18 1 15,-17 0-15,17 0 16,0-1-1</inkml:trace>
  <inkml:trace contextRef="#ctx0" brushRef="#br0" timeOffset="66240.64">9843 14235 0,'0'0'0,"34"0"0,-15 0 0,-2 0 16,-17 17-1,18 0-15,-36-17 16,18 19-16,-17-2 0,-2-17 16,2 18-1,0-18-15,17 17 0,-18-17 16,18 19-16,18-2 31,-1 0-15,0 1-16,2 0 15,-19 17 1,0-18-16,-19 1 16,19 0-16,-17-18 15,-18 18 1,17-1-16,0-17 0,1 0 0,0 0 16,-2 17-16</inkml:trace>
  <inkml:trace contextRef="#ctx0" brushRef="#br0" timeOffset="66547.5">10301 14200 0,'-17'35'16,"17"-18"-16,-19 0 0,19 2 16,-17-2-16,17 1 0,-17-1 0,17 2 15,-18-2-15,18 0 0,0 1 16,-18 0-16,18 0 0,0-1 0,0 0 16,0 1-16,18 0 15,0 0-15,16-1 31,-15-17-31,-2 0 0,18 17 0,-16-17 16,-2 0-16,0 0 0,37 0 16,-20 19-16</inkml:trace>
  <inkml:trace contextRef="#ctx0" brushRef="#br0" timeOffset="68749.86">7549 15540 0,'-17'-17'16,"-19"34"15,36 0-31,-52 37 16,52-37-16,-19 19 0,-15 35 15,16-37-15,18-16 16,-17-1-16,17 2 0,0-2 0,17 18 16,-17-17-16,0 0 15,18-1-15,-1 0 0,0-17 16,2 0-16,-2-17 15,1 17-15,-18-17 16,17 17-16,-17-18 16,0-18-1,-17 36-15,17-17 0,-18 17 0,18-17 0,-17 17 16,17-19-16,-19 19 0,2-17 16,0 17-1</inkml:trace>
  <inkml:trace contextRef="#ctx0" brushRef="#br0" timeOffset="69516.22">9913 15399 0,'52'17'31,"-33"-17"-15,16 19 0,-18-19-16,-17 17 0,0 0 15,-17 19 1,-1 16-16,1-34 16,-2-18-16,2 18 0,0 0 0,17-1 15,-18 0-15,1 2 16,-2-2-16,19 1 0,-34 18 15,34-19-15,-18-17 0,18 17 16,0 1-16,0-1 16,18 2-16,-18-2 0,17-17 15,0 17-15,19-17 16,-18 18-16,-1-18 16,0 0-16,2 0 0,-2 0 0,1 0 15,-1 0-15,2-18 0,15 18 31,-34-17-31</inkml:trace>
  <inkml:trace contextRef="#ctx0" brushRef="#br0" timeOffset="69708.83">9736 15769 0,'89'0'0,"-71"0"0,-1 0 0,19-17 16,-19 17-16,18 0 0,1 0 15,-19-17-15,54 17 0,-54-19 0,19 19 16,-1-17-16,-18 17 16</inkml:trace>
  <inkml:trace contextRef="#ctx0" brushRef="#br0" timeOffset="71052.73">12048 8343 0,'17'-18'0,"18"18"0,-18 18 16,2-18-16,52 0 15,-37 0-15,2 0 0,-18 0 16,16 0-16,-16 0 0,0 0 0,17 0 16,-18 0-16,19 18 15,-18 0-15,-1-1 0,-17 36 16,17-35-16,-17 18 16,-17-19-16,17 35 0,0 1 15,0-17-15,-17 35 0,17-19 16,0 1-16,0 1 0,-18-2 15,18 18-15,0 1 0,0-18 0,0 18 0,0 17 16,0 0-16,0-17 0,0 17 16,18-35-16,-18 18 0,0-1 0,17-18 15,-17 2-15,17 16 0,-17-16 16,19-2-16,-19 1 0,0-18 0,17 18 16,-17-17-16,0-1 0,18-1 0,-18 2 15,0-1-15,0-16 0,0 15 0,0-16 16,0 0-16,0 17 15,0-18-15,0 1 0,0 0 0,0 0 16,-18-1-16,18 0 0,0 2 16,0-2-16,-17 1 15,-2-1-15,2 2 16,-18-2-16,-1 0 16,2-17-16,-2 18 0,1-1 15,-18 2-15,1-2 0,-2 0 0,-104 54 16,104-54-1,20-17-15,-54 36 16,52-18-16,18-18 0,-18 0 0,19 17 16,0-17-16,-1 17 0,0-17 15</inkml:trace>
  <inkml:trace contextRef="#ctx0" brushRef="#br0" timeOffset="72086.95">11289 12665 0,'-18'-18'16,"54"0"-16,-19 18 15,0 0-15,2 0 16,-2 0-16,1 0 0,16 0 0,-15 0 16,-2 0-16,1 0 0,-1 0 0,2 0 15,15 0 1,-16 0-16,0 18 15,0-18-15,-18 18 0,17-18 16,-17 52 0,0-33-16,0-2 0,0 1 0,0 16 15,17-15-15,-34 16 0,17 1 16,0-2-16,0 2 0,0 16 0,0 2 16,-17 122-1,17-123-15,0 0 0,-18-1 0,18 19 16,-18 124-1,18-107-15,0-35 0,-18 35 0,18 53 16,-17-71-16,17 0 16,-36 178-1,36-178-15,-17 19 0,17 122 16,-18-158-16,18 18 0,0-1 16,0 1-16,0 0 0,0-1 15,0-18-15,0 19 0,0-18 0,0 18 16,0-18-16,0-1 0,0 2 0,0-1 15,-17 18-15,17-37 16,0 1-16,-19 54 16,19-54-16,-17-18 0,17 19 0,0-18 15,-17-1-15,-1 36 16,18-35-16,0-1 0,-17 2 0,-2 33 16,2-35-16,17 2 15,-17-2-15,17 0 16,-18-17-16,0 18 0,18 0 0,-52 17 15,34-18 1,0 2-16,-17 16 16,18-35-16,-19 17 0,18 0 0,1 2 15,-19-19-15,19 17 0,-1-17 0,-18 0 16,19-17-16,0 17 0,-19-19 16</inkml:trace>
  <inkml:trace contextRef="#ctx0" brushRef="#br0" timeOffset="76717.09">13952 8132 0,'-35'0'0,"18"0"15,-2 0 1,2 17-16,0 1 0,17-1 31,17 36-15,0-17-16,2-36 0,-2 18 15,1 16-15,-18-16 0,17 0 16,2 0-16,-19-1 0,17 0 0,-17 2 16,17-2-16,-17 1 0,0-1 0,0 2 15,-34 33 1,15-35-16,-16 2 16,18-19-16,-2 0 15,2 0 1,0 0-16,17-19 0,0-16 31,17 18-15,0 0-16,2 17 0,-19-19 0,17 2 15,1 17-15,-1-18 0,2 1 16,-2-2-16,0 2 0,1 0 16,-1 17-16,2-36 0,-2 1 15,-17 18-15,17-1 0,-17 0 0,0 0 16,0 1-16,0 0 15,0-2-15,-17 2 0,17-1 16,-36 1 0,19 17-16,-18-19 15,18 38 1,17-2 0</inkml:trace>
  <inkml:trace contextRef="#ctx0" brushRef="#br0" timeOffset="76965.74">14640 8167 0,'-71'88'16,"71"-70"-16,-17 0 0,-18 52 16,-1-35-1,19 1-15,17-19 0,-17 1 0,-2-1 16,2 2-16,17-2 0,-18-17 16,18 17-16</inkml:trace>
  <inkml:trace contextRef="#ctx0" brushRef="#br0" timeOffset="77201.78">14269 8291 0,'0'0'16,"36"0"-1,-1 34 1,-16-16-16,33 18 15,-16-36-15,-2 34 16,-16-34-16,0 19 16,0-19-16,-1 17 0,0-17 15,2 18-15,-2-18 16</inkml:trace>
  <inkml:trace contextRef="#ctx0" brushRef="#br0" timeOffset="77613.19">14781 8255 0,'-17'36'15,"17"16"1,0-34 0,0 0-16,0-1 0,0 19 15,0-19-15,35 18 16,-18-35 0,-17 19-16,36-19 15,-1-19 1,-17 19-16,-18-17 0,18-1 15,-1-35-15,-17 36 16,0-1-16,-17 0 0,17 0 16,0 1-16,-18-18 15,0 17-15,18 0 0,-18 18 16,1 0-16,0-17 16,-2 17-1,2 17-15</inkml:trace>
  <inkml:trace contextRef="#ctx0" brushRef="#br0" timeOffset="77832.7">15275 8343 0,'18'0'0</inkml:trace>
  <inkml:trace contextRef="#ctx0" brushRef="#br0" timeOffset="78347.33">15575 8132 0,'-52'17'32,"33"1"-17,2-18-15,17 17 16,-18-17-16,18 19 0,18-19 31,-18 17-31,17 0 0,2 1 0,-2 0 16,0-18-16,-17 18 0,18-1 15,0 0-15,-18 1 16,18-18-16,-18 18 0,0 0 16,-36-1-1,18 0-15,-16 2 16,15-19-16,-16 17 0,18-17 0,-19 18 16,19-18-16,-18 0 0,16 0 0</inkml:trace>
  <inkml:trace contextRef="#ctx0" brushRef="#br0" timeOffset="78839.33">13741 7955 0,'-141'89'0,"105"-37"0,19-16 0,-18 16 16,16-16-16,2 17 0,-18 53 15,35-53-15,0-1 0,0 1 0,18-18 16,16 18-16,-15 1 0,16-20 16,-1 20-16,20-20 0,16 2 15,-16-1-15,16 1 0,18-19 0,0 1 0,-17-18 16,17 0-16,0-18 0,19 18 16,-19-34-16</inkml:trace>
  <inkml:trace contextRef="#ctx0" brushRef="#br0" timeOffset="79388.36">15699 7761 0,'88'54'16,"-176"-108"-16,212 125 0,-107-36 15,18-17-15,-18 34 0,19-16 16,-19-1-16,1 18 0,0-18 0,0 1 16,-18-1-16,0 53 15,0-52-15,0-19 0,-18 18 16,0 1-16,0-19 0,1 19 16,0-19-16,-2 1 0,2-1 0,17 2 15,-35-2-15,18-17 0,-2 17 16,2-17-1,-1 0-15</inkml:trace>
  <inkml:trace contextRef="#ctx0" brushRef="#br0" timeOffset="79675.39">16757 7903 0,'0'17'0,"-36"54"16,19-18-1,17-36-15,-17 18 16,17-18-16,-18 19 0,18-1 15,-18-16-15,18-2 0,0 0 0,0 1 16,0 0-16,-18 0 0,18-1 16</inkml:trace>
  <inkml:trace contextRef="#ctx0" brushRef="#br0" timeOffset="79885.55">16563 8167 0,'36'0'0,"16"0"16,-34 0-16,17 0 0,-18 0 0,37-18 15,-20 18-15,-15 0 16,-2 0-16,18 0 0,-16 0 0,-2 0 15,0 0-15</inkml:trace>
  <inkml:trace contextRef="#ctx0" brushRef="#br0" timeOffset="80848.42">18097 7937 0,'-17'36'31,"0"-1"-15,17-18-16,0 2 15,0-2-15,0 1 0,0-1 0,0 0 0,0 2 16,17-2-16,-17 1 0,0-1 16,17 2-16,1-2 15,-18 0-15,18-17 0,0 0 16,-1 0-16,0 0 0,1 0 16,0-17-16,0 17 15,-1-17-15,0-19 16,-17 18-16,19-52 15,-38 35-15,19 16 0,0-15 16,0 16-16,-17-18 0,17 19 0,0 0 16,-17-1-16,17 0 0,-18 18 15,18-18-15,-18 18 0,0 0 0,1 0 16,0 0-16,-1 18 16</inkml:trace>
  <inkml:trace contextRef="#ctx0" brushRef="#br0" timeOffset="81043.87">18661 8113 0,'0'-17'0,"19"17"16</inkml:trace>
  <inkml:trace contextRef="#ctx0" brushRef="#br0" timeOffset="81925.67">19051 7832 0,'34'0'16,"-34"17"-16,0 1 31,-17 0-16,17 0-15,-17-18 0,17 17 16,0 0 0,17 1-1,0 18 1,-17-19 0,18 0-16,-36 2 15,18-2 1,-17 1-16,-19-1 15,36 0-15,-17-17 16,-1 0-16,1 0 0,17 19 0,-19-19 16,2 0-16</inkml:trace>
  <inkml:trace contextRef="#ctx0" brushRef="#br0" timeOffset="82167.74">19703 7903 0,'0'17'16,"0"0"-1,-18 1-15,18 0 0,-17 0 0,-2-1 16,19 0-16,-17 2 15,0-2-15,-1 18 0,0-18 0,0-17 0,1 36 16,0-18-16,-2-18 0,2 17 16,17 2-16</inkml:trace>
  <inkml:trace contextRef="#ctx0" brushRef="#br0" timeOffset="82423.71">19527 7973 0,'0'0'15,"0"-18"1,17 36-16,0-18 0,-17 18 16,18-18-16,-18 17 0,18 0 15,0 2-15,-1-2 31,0-17-31,2 18 0,-2-1 32,1-17-32,-1 0 0</inkml:trace>
  <inkml:trace contextRef="#ctx0" brushRef="#br0" timeOffset="82731.66">20108 7903 0,'0'-18'16,"-17"53"15,-1 0-31,18-17 16,-17 0-16,17-1 0,-19-17 0,19 17 16,0 2-16,0-2 0,0 1 15,0-1-15,0 0 16,19-17-16,-19 19 0,17-19 15,-34-36 32,-19 19-31,19 17-16,-1 0 0,0 0 16,0-18-16,1 18 0,0 0 0,-19 0 15,1 0-15</inkml:trace>
  <inkml:trace contextRef="#ctx0" brushRef="#br0" timeOffset="83263.59">17851 7779 0,'-71'141'15,"36"0"1,17-89-16,36-16 0,-18-1 16,0 1-16,35 17 0,-18-18 0,1 0 15,18 1-15,17-2 0,-18-15 16,18 16-16,-1-18 0,1 2 0,18-19 15,0 0-15</inkml:trace>
  <inkml:trace contextRef="#ctx0" brushRef="#br0" timeOffset="83871.84">20479 7620 0,'88'36'0,"-71"-36"0,54 69 15,-53-33-15,0-1 16,-1 1-16,0-19 0,2 71 16,-19-52-16,0 35 15,-19-36 1,19-18-16,-17 0 0,0 19 0,17-18 16,-18-1-16,0 2 0,0-2 15,1 0-15,0-17 0,17 18 16,-19-18-16</inkml:trace>
  <inkml:trace contextRef="#ctx0" brushRef="#br0" timeOffset="84104.65">21167 7744 0,'0'35'16,"0"-18"-16,0 2 0,0-2 16,-18 0-16,18 1 0,0 18 0,-17-2 15,-2-16-15,19 18 0,-17-19 16,17 19-16,-17-19 0,17 1 0,-18-1 16,18 0-16,0 2 0,0-2 0,-18 1 15</inkml:trace>
  <inkml:trace contextRef="#ctx0" brushRef="#br0" timeOffset="84315.52">21043 8025 0,'53'0'0,"18"0"16,-37 0-16,-15 0 16,16 0-1,-18 0-15,2 0 0,-2 0 0</inkml:trace>
  <inkml:trace contextRef="#ctx0" brushRef="#br0" timeOffset="85007.66">21837 7761 0,'-18'35'0,"18"-16"0,-18 51 16,18-52-1,0-1-15,0 0 0,0 1 0,0 0 0,0 0 16,0-1-16,18 0 0,-18 2 16,18-2-16,0-17 15,-18 18-15,17-18 0,0 0 0,2 0 16,-2 0-1,18-18 1,-35 1-16,19-2 0,-19 2 0,0-18 16,17-1-1,-34-34 1,-2 18 0,2 33-1,17 2-15,-18 17 0,1 0 0,-2-18 16</inkml:trace>
  <inkml:trace contextRef="#ctx0" brushRef="#br0" timeOffset="85179.75">22243 7849 0,'0'0'16</inkml:trace>
  <inkml:trace contextRef="#ctx0" brushRef="#br0" timeOffset="85653.93">22419 7779 0,'18'17'16,"-36"-34"-16,36 53 0,-18-19 0,0 0 15,0 1-15,-18 0 16,-17 34-1,-1-34-15,19 0 16,-1 0 0,18-1-16,-17-17 15,17 17 1,17-17 0,18 19-1,-16-19-15,-2 0 16,18 0-16,-17 0 0,-18-19 15,18 19-15,-1 0 0,0 0 0,1 0 16,-18-17-16</inkml:trace>
  <inkml:trace contextRef="#ctx0" brushRef="#br0" timeOffset="85880.58">22948 7779 0,'-17'36'0,"17"-19"0,-18 0 0,0 1 16,0 0-16,18 0 16,-17-1-16,17 0 0,-17 1 0,-1 0 15,18 0-15,0-1 0,-18-17 16,18 17-16,-18 2 15</inkml:trace>
  <inkml:trace contextRef="#ctx0" brushRef="#br0" timeOffset="86089.91">22755 7885 0,'17'0'31,"0"0"-31,19 18 16,-18-18-16,-1 17 0,0-17 15,1 0-15,0 0 16,0 17-16,-1-17 0,0 0 0,2 0 16,-2 0-16</inkml:trace>
  <inkml:trace contextRef="#ctx0" brushRef="#br0" timeOffset="86565.43">23248 7708 0,'17'0'16,"19"17"-1,-1 2 1,-35-2-16,17 18 16,-17-16-16,0-2 0,0 0 15,0 1-15,0 0 16,0 0-16,-17-1 0,17 0 0,0 19 15,-17-18 1,17-1-16,0 0 16,-18 2-1</inkml:trace>
  <inkml:trace contextRef="#ctx0" brushRef="#br0" timeOffset="86710.17">23265 7955 0,'36'-18'16,"-1"18"-1,-18 0 1,2 0-16,-2 0 0,1 0 0</inkml:trace>
  <inkml:trace contextRef="#ctx0" brushRef="#br0" timeOffset="87215.51">21713 7656 0,'-34'52'0,"15"-35"0,-16 73 16,35-56-1,-17 2-15,17-1 0,-19 18 0,19-18 0,0 1 16,19-1-16,16 53 16,-18-71-16,19 19 0,52 17 15,-53-18-15,18-18 0,18-17 16,-18 18-16,18-18 0,-1 0 16</inkml:trace>
  <inkml:trace contextRef="#ctx0" brushRef="#br0" timeOffset="87643.63">23724 7391 0,'88'246'0,"-88"-192"16,0-1-16,0-1 0,-17 19 0,-54 106 16,19-125-1,-1 1-15,17 1 0,-35-2 0,19 1 16,-19-18-16,1 18 0,-1-17 0,-17-1 15,0 1-15</inkml:trace>
  <inkml:trace contextRef="#ctx0" brushRef="#br0" timeOffset="90120.48">13917 13053 0,'0'-36'0,"0"19"16,-17 17-16,-2 0 16,-33 0-1,34 17-15,-17-17 0,18 18 16,-1 0-16,0-18 0,0 18 15,1-1-15,0 0 0,-2-17 0,2 19 16,17-2-16,-18-17 0,18 18 16,0-1-16,18-17 15,-1 0-15,36 0 16,-35-17 0,35 17-16,-36-18 0,1 1 0,0 17 15,17-19-15,-18 19 0,2-17 16,-2 17-1,1 17 1,-18 2-16,0-2 0,0 1 16,0-1-16,0 0 0,-18 2 15,18 16-15,-17-18 0,-2 2 0,19 15 16,-17-16-16,0 18 0,17-19 0,-18 0 16,18 1-16,-18-18 0,18 18 15,-18 0-15,18-1 0</inkml:trace>
  <inkml:trace contextRef="#ctx0" brushRef="#br0" timeOffset="90337.48">14428 13105 0,'-17'36'31,"17"-18"-31,-18-1 0,18 0 16,-17 2-16,0-2 0,17 18 0,-19-16 16,2-2-16,-1 18 0,1-17 0,-2 0 15,2-1-15,0 0 0,-1 1 16,0 0-16,18 0 0,-18-18 16</inkml:trace>
  <inkml:trace contextRef="#ctx0" brushRef="#br0" timeOffset="90528.56">14093 13229 0,'36'18'16,"-18"-18"0,-1 17-16,0 2 15,1-19-15,0 17 0,0 0 0,-1-17 16,0 18-16,2 0 0,-2-18 15,18 18-15,-16-1 0,15-17 16,-16 17-16,18-17 0</inkml:trace>
  <inkml:trace contextRef="#ctx0" brushRef="#br0" timeOffset="91095.72">14940 12983 0,'-71'52'0,"54"-34"16,0 0-16,-2-1 0,-16 36 16,35-35-1,0 16-15,0-15 0,0-2 16,18 1-16,-1-1 0,-17 2 16,19-19-16,-2 0 0,0 17 15,1-17-15,0-17 0,0 17 16,-1-19-16,0 19 15,-17-17-15,19 17 0,-19-18 0,0 1 16,17-2-16,-17 2 0,0 0 0,0-18 16,0 16-16,0 2 15,-17 0-15,17-1 0,-19 0 16,19 0-16,-17 18 0,0-17 16</inkml:trace>
  <inkml:trace contextRef="#ctx0" brushRef="#br0" timeOffset="91280.88">15257 13088 0,'0'-17'0</inkml:trace>
  <inkml:trace contextRef="#ctx0" brushRef="#br0" timeOffset="91652.78">15523 13017 0,'-36'0'0,"18"0"16,72 0-16,-125 18 0,54-18 0,-2 0 15,19 18-15,0 0 16,19-1 0,-19 0-16,17 2 0,-17-2 15,17 18-15,1-18 16,-18 2-16,0-2 0,17 1 0,-17-1 16,-17 2-1,17-2-15,-18 0 0,1-17 16,0 18-16,-2-18 0,-33 18 15,16-18-15,1 0 0,-1 0 16,2 0-16</inkml:trace>
  <inkml:trace contextRef="#ctx0" brushRef="#br0" timeOffset="92082.96">13123 12929 0,'-88'176'0,"53"-88"16,18 72-1,17-108-15,17 2 16,0-1-16,19 18 0,-1-19 0,18 1 16,18 0-16,0-18 0,-2 18 15,20-18-15,-1-18 0,18 19 0,0-36 16,17 18-16,1-18 0,-1 17 0</inkml:trace>
  <inkml:trace contextRef="#ctx0" brushRef="#br0" timeOffset="92516.13">16052 12912 0,'52'35'0,"-16"1"16,35 69 0,-71-69-16,17-1 0,-17 53 15,0-52-15,0-2 0,0 20 0,-17-2 16,-2-16-16,2 17 0,-1-1 16,-18-16-16,19-1 0,-18 1 15,18-19-15,-36 18 0,53-17 16,-18-18-16,0 18 0</inkml:trace>
  <inkml:trace contextRef="#ctx0" brushRef="#br0" timeOffset="92744.71">16951 13176 0,'-18'88'0,"1"-69"16,17 15-16,0-16 0,-17 18 0,17-19 16,-19 18-16,2-17 0,17 17 15,-18-18-15,1 37 0,17-37 16</inkml:trace>
  <inkml:trace contextRef="#ctx0" brushRef="#br0" timeOffset="92949.51">16757 13353 0,'52'-18'0,"-33"18"0,-2 0 0,1 0 16,18 0-16,-19 0 0,0 0 16,18 0-16,1 0 0,35 0 15,-1 0-15,-35 0 0,-18-18 16</inkml:trace>
  <inkml:trace contextRef="#ctx0" brushRef="#br0" timeOffset="93775.68">18609 13088 0,'-70'53'31,"52"-35"-31,0-18 0,0 17 16,-16 0-16,15 2 0,2-2 15,-1 1-15,1-18 0,0 17 0,-2 2 0,2-2 16,-1 0 0,1 1-16,34 0 15,-17 0-15,18-1 16,-1-17-16,2 0 0,-2 17 16,18-17-16,-18 0 0,19 18 15,-1-18-15,-17 0 0,53 0 0,-54 0 16,18 0-16,-18 0 15,2 0-15,-2 0 0,18-18 0,-16 1 16,-2 17-16</inkml:trace>
  <inkml:trace contextRef="#ctx0" brushRef="#br0" timeOffset="93985.67">18768 13124 0,'-17'35'0,"-2"-18"0,19 0 0,-17 2 16,-1 33-16,-18 37 15,19-71-15,0-1 16,-1 18-16,18-17 0,-17 0 0,-2 16 16,19-15-16,0-2 15</inkml:trace>
  <inkml:trace contextRef="#ctx0" brushRef="#br0" timeOffset="94190.66">19279 13159 0,'0'17'16,"-18"0"-16,18 2 15,-17-2-15,17 1 0,-17 18 0,-1-19 0,-18 18 16,19 1-16,0-19 16,-2 18-16,-16 18 0,18-36 15,0 19-15,-2-18 0</inkml:trace>
  <inkml:trace contextRef="#ctx0" brushRef="#br0" timeOffset="94396.68">18980 13317 0,'17'0'15,"1"18"1,35 0 0,-36 0-16,1-18 0,35 34 15,-36-16-15,54 0 16,-54 0-16,19-18 0,-18 0 0,16 17 15,20-17 1</inkml:trace>
  <inkml:trace contextRef="#ctx0" brushRef="#br0" timeOffset="94855.84">20037 13071 0,'-34'17'31,"16"0"-31,18 2 16,-18-19-16,18 17 0,-18 18 0,1-18 0,17 2 16,-17-2-16,17 18 15,0-16-15,0-2 0,0 0 16,0 1-16,0 0 0,17 17 16,0-35-16,1 0 15,0 17-15,0-34 16,-1 17-16,-17-17 15,17-1-15,-17 0 0,19 0 16,-19 1-16,0 0 0,0-2 16,0 2-16,0-1 0,0 1 15,0-2-15,0 2 0,-19 0 16,2 17 0,0-18-16,-1 18 15</inkml:trace>
  <inkml:trace contextRef="#ctx0" brushRef="#br0" timeOffset="95037.7">20391 13212 0,'-18'-19'16</inkml:trace>
  <inkml:trace contextRef="#ctx0" brushRef="#br0" timeOffset="96453.5">20584 13053 0,'71'0'0,"-71"18"0,18-18 16,0 17-1,-36 0 1,0 2 0,0-2-1,36 1 1,-18-1 0,0 0-1,18 2-15,-18-2 0,0 1 16,0 18-1,-18-36-15,0 17 16,1-17-16,0 17 0,-2-17 0,2 0 16,-35 18-16,16-18 0,1 0 15,-1 0-15,1 0 0,-1 0 16,2 0-16</inkml:trace>
  <inkml:trace contextRef="#ctx0" brushRef="#br0" timeOffset="96909.68">18292 12947 0,'-89'88'16,"54"-52"-16,18 17 0,-19-18 0,18 18 16,1-1-16,0 1 0,-2 1 0,2-2 15,17 18-15,17-16 16,2-1-16,15-18 0,2 1 0,-1 16 15,36-16-15,87 17 0,-70-36 16,19 1-16,-19-18 0</inkml:trace>
  <inkml:trace contextRef="#ctx0" brushRef="#br0" timeOffset="97310.72">21043 13035 0,'53'36'0,"-17"17"16,-125-142-16,178 195 0,-72-71 0,1 1 0,-18-1 16,0 35-16,-18-34 15,1 16-15,-2-16 0,2 16 0,0-16 16,-37 35-16,20-54 0,15 18 15,-16-16-15,18-2 0,-19 0 16,1 1-16,18-18 16</inkml:trace>
  <inkml:trace contextRef="#ctx0" brushRef="#br0" timeOffset="97544.48">21889 13071 0,'0'53'16,"0"-18"-16,0-123 0,-17 193 0,17-69 15,0-19-15,0 1 0,-17 18 0,17-19 16,0 18-16,-18-17 15,18 0-15,-18-1 0,18 18 0,-18-17 16,18 0-16,0-1 0,-17 0 16</inkml:trace>
  <inkml:trace contextRef="#ctx0" brushRef="#br0" timeOffset="97722.7">21660 13423 0,'177'0'0,"-125"0"0,2-18 16,-1 18-16,-1 0 0,-16 18 0,17-18 16,35 0-16,-53 0 0</inkml:trace>
  <inkml:trace contextRef="#ctx0" brushRef="#br0" timeOffset="98465.67">20196 14605 0,'-35'35'31,"35"-16"-31,-17 15 16,-19 1-16,36 1 0,-17-19 15,17 1-15,-18 18 0,18-2 16,0 2-16,18-18 16,-18-1-16,17-17 0,-17 17 15,36 2-15,-19-19 0,18 0 16,-16 0-16,15-19 16,-16 2-16,0 17 0,0-17 0,-1-19 15,0 18-15,-17 1 0,0-36 16,0 1-16,-17-19 15,17 54-15,-17-2 0,-1-16 16,-18-1-16,19 36 16,0-17-16,17 0 0,-19 17 0,2 0 15,-1 0-15,1 0 0,-2 0 16,2 0-16,17 17 0,-17-17 16</inkml:trace>
  <inkml:trace contextRef="#ctx0" brushRef="#br0" timeOffset="98640.77">20655 14817 0,'18'-18'16</inkml:trace>
  <inkml:trace contextRef="#ctx0" brushRef="#br0" timeOffset="99132.48">21132 14659 0,'17'0'16,"1"0"-16,-53 0 0,87 17 16,-52 0-1,0 1-15,-17-1 0,17 2 16,-18-2-16,1 0 0,-2 1 16,-15 18-16,16-36 15,0 17-15,0 0 0,1-17 0,0 18 16,-2 0-16,2-18 15,17 18-15,-18-18 16,18 17-16,18-17 16,-1 0-1,2 0-15,-2 17 0,18-17 16,-17 0-16,17 0 16,-18 0-16,2 0 15,33-17-15,36 17 16,-52-17-16</inkml:trace>
  <inkml:trace contextRef="#ctx0" brushRef="#br0" timeOffset="99560.92">22155 14728 0,'-18'19'15,"0"-2"-15,0 0 16,-16 19-16,15-18 15,-16 16-15,-18 20 16,1-1-16,33-53 16,2 17-16,-18 18 15,17-16-15</inkml:trace>
  <inkml:trace contextRef="#ctx0" brushRef="#br0" timeOffset="99783.48">21801 14835 0,'88'70'0,"-69"-52"0,-2-18 15,37 17-15,-20 0 16,-16-17-16,70 36 15,-18-36 1,-51 18-16,16-18 0</inkml:trace>
  <inkml:trace contextRef="#ctx0" brushRef="#br0" timeOffset="101882.54">19844 14429 0,'-247'458'0,"247"-405"16,18 0-16,-18 1 0,17-2 16,0-16-16,19 16 0,-1-16 15,18 17-15,53 16 0,-53-50 16,0-2-16,18 1 0,52 18 15</inkml:trace>
  <inkml:trace contextRef="#ctx0" brushRef="#br0" timeOffset="104276.46">23001 14552 0,'-70'88'0,"34"-35"15,18-18-15,1-16 16,17 15-16,-17 20 0,-1-20 15,18 2-15,0-18 16,0-1-16,18 0 16,-18 2-16,17-19 15,0 0-15,1 0 16,0-19 0,-18 2-16,0 0 15,0-1-15,-18 0 16,0 0-1,1 18-15,0-17 0,-1 0 16,0 17-16</inkml:trace>
  <inkml:trace contextRef="#ctx0" brushRef="#br0" timeOffset="104575.28">23231 14305 0,'34'18'0,"-16"-1"0,0 2 16,-18-2-16,35 36 0,-35-18 15,0 36-15,0-37 16,0 20-16,0-18 0,0-2 15,-53 108-15,18-72 16,18-35-16,-19 1 16,-16 35-16,16-37 0,-35 20 15,19-20-15,33-16 16,2-18-16</inkml:trace>
  <inkml:trace contextRef="#ctx0" brushRef="#br0" timeOffset="105659.58">15557 9967 0,'247'0'16,"-211"0"-16,-1-19 15,-18 19-15,19 0 0,-1 0 0,18 0 16,-36 0-16,2 19 0</inkml:trace>
  <inkml:trace contextRef="#ctx0" brushRef="#br0" timeOffset="105832.03">15611 10231 0,'158'0'0,"-123"0"0,72-18 16,-73 18-16,2 0 0</inkml:trace>
  <inkml:trace contextRef="#ctx0" brushRef="#br0" timeOffset="106637.49">15628 15399 0,'17'0'0,"2"-18"15,-2 18-15,1 0 0,-1 0 0,0 0 16,2 0-16,33 0 16,36 0-16,-69 0 0,-2 0 15,0 0-15,1 0 0,18 18 16,-19-1-16</inkml:trace>
  <inkml:trace contextRef="#ctx0" brushRef="#br0" timeOffset="106841.71">15699 15681 0,'53'-17'16,"-36"17"-16,1 0 0,18 0 16,-19 0-16,0-19 0,1 19 0,-1 0 15,19-17-15,-19 17 0,1 0 16,18-17-16,-19 17 0,0-18 16</inkml:trace>
  <inkml:trace contextRef="#ctx0" brushRef="#br0" timeOffset="108927.84">17675 9719 0,'88'0'15,"-71"0"-15,0 0 16,19 0-16,-18 0 0,16 0 0,-15 0 15,33 0-15,-33-18 0,15 18 16,-16 0-16,-1 18 16,2-18-16,-2 18 15,-17 0-15,17-1 16,-17 0-16,0 1 0,0 18 0,-17-19 16,17 0-16,0 19 0,-17-18 15,17 18-15,-19-19 0,19 18 0,-17-18 16,17 2-16,-18-2 0,18 0 15,0 1-15,-17 0 0,17 0 0,0-1 16,0 0-16,0 2 16,0-2-16</inkml:trace>
  <inkml:trace contextRef="#ctx0" brushRef="#br0" timeOffset="109144.51">17815 10072 0,'36'0'31,"-19"0"-31,0 0 0,2 0 16,-2 0-16,18 0 0,1 17 15,-19-17-15,1 0 0,18 0 16,-19 0-16,18 0 0,-17 0 15,0 0-15,16 0 0,-16-17 0,0 17 0</inkml:trace>
  <inkml:trace contextRef="#ctx0" brushRef="#br0" timeOffset="109319.45">18468 9967 0</inkml:trace>
  <inkml:trace contextRef="#ctx0" brushRef="#br0" timeOffset="110072.62">18732 9860 0,'53'-17'0,"-35"17"16,18 0-1,-19 17-15,0-17 16,1 0-16,0 36 0,-18-19 15,18-17-15,-18 18 0,-18-1 0,18 19 16,-18-19-16,18 1 16,-18-1-16,-16 19 0,16-36 15,-18 35-15,19-17 0,0 0 16,-2-1 0,2 0-16,34 2 15,2-19 1,-2 0-16,-17 17 15,17-17-15,1 0 0,0 0 16,0 0-16,-1 0 0,0 0 0,1 0 16,0 0-16,0 0 0,-1 0 15,19 0-15,-19 0 16</inkml:trace>
  <inkml:trace contextRef="#ctx0" brushRef="#br0" timeOffset="117660.76">17885 16087 0,'-52'70'0,"-1"36"15,36-88-15,-1 53 16,0-36-16,18-18 0,0 19 16,0-19-16,0 1 15,0-1-15,0 2 0,0-2 0,18 0 0,-18 1 16,18-1-16,-1-17 0,-17 19 15,17-19-15,1 0 0,0 0 16,0 0-16,-1 0 16,-17-19-16,17 19 15,-17-17-15,0-1 16,0 1-16,-17 17 0,17-17 16,-17-2-16,-1 2 15,0 17 1,0 0-16,1 0 15,0 0-15</inkml:trace>
  <inkml:trace contextRef="#ctx0" brushRef="#br0" timeOffset="117817.97">18133 16404 0,'0'-17'16</inkml:trace>
  <inkml:trace contextRef="#ctx0" brushRef="#br0" timeOffset="118171.69">18485 16192 0,'-17'0'0,"0"0"16,51 0-16,-87 0 0,18 0 15,18 19-15,0-2 16,-2-17-16,2 17 15,-1 1-15,18 0 16,18-18 0,18-18-1,-2 18 17,-16 18-32,-18 17 15,0-18-15,0 2 16,0 16-16,0-18 15,0 0-15,-18 2 0,18 16 0,0 1 16,-17-19-16,17 0 16,0 1-16,0-1 0,17 2 0</inkml:trace>
  <inkml:trace contextRef="#ctx0" brushRef="#br0" timeOffset="118408.83">19032 16421 0,'0'36'16,"-17"-36"-16,-1 35 16,1-16-16,-54 86 15,35-70 1,2 18-16,16-36 0,-18 37 15,2-37 1,34 0-16</inkml:trace>
  <inkml:trace contextRef="#ctx0" brushRef="#br0" timeOffset="118602.33">19103 16492 0,'0'0'15,"0"36"-15,-18-19 16,18 1-16,-17 18 16,0-19-16,-2 18 0,2 1 0,-1-19 15,-18 19-15,19-1 0,-18-1 16,17 2-16,-34 18 0,34-20 16,0-16-16,0-18 0,1 18 15,17 0-15</inkml:trace>
  <inkml:trace contextRef="#ctx0" brushRef="#br0" timeOffset="119368.78">19649 10301 0,'-105'71'16,"69"-36"-16,1-17 0,1 17 15,-2 0-15,1-17 0,-54 34 16,71-16-16</inkml:trace>
  <inkml:trace contextRef="#ctx0" brushRef="#br0" timeOffset="119554.63">20037 10336 0,'-88'107'0,"54"-90"15,-2 18-15,-123 106 0,88-88 16,19 1-16,-1-2 16,-18 1-16,18-18 0,18 18 0,-1-17 15</inkml:trace>
  <inkml:trace contextRef="#ctx0" brushRef="#br0" timeOffset="125462.67">18803 11148 0,'370'71'15,"-194"-54"-15,-69-17 0,-2 17 16,2-17-16,-2 0 0,1 0 16,0 0-16,0 0 0,-1 0 15,2 0-15,-19-17 0,0 17 0,0-17 0,0-1 16,1 0-16,-20 0 0,90-16 15,-88-2-15,-18 18 16,0 1-16,-1-19 0,-16 1 0,18-1 16,-20 2-16,-16-2 0,18 1 0,-2 0 15,-16-1-15,-18 2 0,18-37 16,-18 35-16,-18-16 0,0-1 16,1-1-16,-54-51 0,-17-19 15,35 72-15,1-1 16,-19-1-16,-70-68 0,70 68 15,-70-52-15,70 54 0,-17-2 16,18 1-16,-18 1 16,17-1-16,-105-53 0,88 53 15,-1 0-15,1 18 0,-88-72 16,88 73-16,0-1 0,-19-18 16,19 17-16,-88-34 0,88 34 15,-19 2-15,2 15 0,17-16 0,0 18 16,-19-2-16,19 19 0,0 0 0,-17 0 15,-2 0-15,19 19 0,-17-2 16,-2 1-16,2-1 0,17 19 0,-19-1 16,-15 18-16,-2 0 0,1-1 15,16 2-15,2 16 0,-90 72 16,107-54-16,18-35 0,-1 18 16,19-2-16,-36 90 0,69-89 15,2 1-15,0 17 0,17-17 16,17-1-16,36 89 0,-18-70 15,106 70-15,71 0 16,-106-107-16,140 72 16,-104-71-16,-1-1 0,0-16 0,159 35 15,35-19-15,-194-34 16,1 0-16,104-1 16</inkml:trace>
  <inkml:trace contextRef="#ctx0" brushRef="#br0" timeOffset="126010.65">22208 11289 0,'-19'52'15,"19"-16"1,19-18 0,33-1-1,-16-17-15,16 0 0,19-17 0,17 17 16,18-18-16,17 1 0,18-2 16,18-15-16,18 16 0,175-52 15,-176 34-15,-16-16 0,16 16 0,142-52 16,-194 53-16,-19-1 15</inkml:trace>
  <inkml:trace contextRef="#ctx0" brushRef="#br0" timeOffset="128322.69">8096 5116 0,'-17'0'0,"-1"0"15,53-19 32,18 19-31,-35 0-16,18 19 0,-2-19 15,1 17-15,-16 1 0,-2-1 16,18 0-16,-17 2 0,0-2 16,-1 1-16,0-1 0,2 19 0,-19-19 15,17 19-15,-17-1 0,0 0 0,0 18 16,0 0-16,-17 1 0,17-2 0,-19 1 15,2 18-15,0-1 16,-1 18-16,0-17 0,18 0 0,-35 34 16,35-52-16,-17-1 15,17 2-15,0-18 0,0-2 0,0 1 16,17 1-16,-17-19 0,35 37 16,-17-37-16,0 0 0,-1 2 0,19-19 15,-19 17-15,1-17 0,-1 0 16,19 0-16,-19 0 0,54-17 15,-54 17-15,1 0 16,0 0-16,0 0 16,-1 0-16,-17 17 0,17 1 15,-17 16-15,0 2 0,0-1 16,0 36-16,0-18 0,0 18 16,0-1-16,0 1 0,0 70 15,-17-70-15,17-2 0,0-15 0,-35 122 16,-1-140-1,19 17-15,-19-18 0,1-1 0,-35 37 16,16-52-16,20-2 16,-54 0-16,52-17 0,-52-34 15,17 15-15,18-16 0,-17-1 16</inkml:trace>
  <inkml:trace contextRef="#ctx0" brushRef="#br0" timeOffset="129169.47">6985 4992 0,'-141'-36'15,"124"36"-15,-19 0 0,18 0 16,-16 0-16,15 0 0,-16 19 0,-18-2 15,36 0-15,-1 19 0,0-1 16,-17 1-16,35 16 16,-35 55-16,35-55 0,0 1 15,0 18-15,18-18 0,-18 18 0,0-2 16,17-16-16,-17 18 0,0 53 16,0-53-16,0-19 0,0 18 0,-17 37 15,-1-55-15,0 1 16,-17 18-16,-1-36 15,19-18-15,17 2 0,-18-2 16,-18-17-16,19 0 16,17-17-1,0-2-15,0 2 0,0-1 16,17 18-16,-17-17 0,19 17 16,-2 0-16,1 0 15,-18 17-15,17 1 16,-17 52-16,0-34 0,0 16 15,0 2-15,-17-1 0,-1 106 16,1-89-16,-2 18 0,2 0 16,-35 71-16,33-71 0,-15-17 15,16-1-15,0 18 0,-17 36 16,35-53-16,-17-19 0,17 1 16,0 18-16,17-18 0,-17-1 15,17 2-15,1-20 0,35 37 16,-17-35-16,-1-19 0,-1 19 0,2-36 15,-1 18-15,18-18 0,53-18 16,-53 18-16,18-18 16,-18 0-16,18 1 0</inkml:trace>
  <inkml:trace contextRef="#ctx0" brushRef="#br0" timeOffset="130268.84">1552 6121 0,'195'-18'0,"-125"18"16,-18-18-16,19 18 0,0-17 0,-1 17 16,1 0-16,0-17 0,-1 17 15,72-19-15,-72 19 0,53 0 16,-87 0-16,-1 0 15,-18 0-15,19 19 0,-19-19 0</inkml:trace>
  <inkml:trace contextRef="#ctx0" brushRef="#br0" timeOffset="130459.93">2028 6227 0,'53'0'16,"18"0"0,0-18-16,-18 18 0,16-17 15,73 17-15,-89-19 16,18 19-16,17 0 16,-52 0-16</inkml:trace>
  <inkml:trace contextRef="#ctx0" brushRef="#br0" timeOffset="130890.73">2487 7108 0,'141'-17'0,"-105"17"0,-1 0 16,1 0-16,-2-18 0,20 18 0,-20 0 15,2 0-15,34-17 0,-34 17 16,-2 0-16,-15 0 0,16 0 15,-18 0-15</inkml:trace>
  <inkml:trace contextRef="#ctx0" brushRef="#br0" timeOffset="131040.48">2575 7197 0,'70'0'15,"-34"-18"-15,52 18 16,-17 0-16,-18-18 0,53 18 16,-530 36-16</inkml:trace>
  <inkml:trace contextRef="#ctx0" brushRef="#br0" timeOffset="131651.17">2540 8044 0,'35'-19'16,"1"2"-16,-2 17 0,56-17 16,-21 17-16,38-18 15,-37 18-15,-18-18 0,55 0 16,-72 18-16,1 0 15,34 0-15,-35 0 16</inkml:trace>
  <inkml:trace contextRef="#ctx0" brushRef="#br0" timeOffset="131816.62">2593 8167 0,'52'0'15,"-16"-18"-15,18 18 0,68-17 16,20-2-16,16 2 16,18 17-1,-105 0-15,17 0 0</inkml:trace>
  <inkml:trace contextRef="#ctx0" brushRef="#br0" timeOffset="135391.84">9331 6632 0,'88'0'16,"-52"0"-16,-2 0 0,2 0 16,52 0-16,-53 0 0,18 0 0,-18 0 15,142-17 1,-125 17-16,-16-18 15,52 1-15</inkml:trace>
  <inkml:trace contextRef="#ctx0" brushRef="#br0" timeOffset="135671.23">10089 6192 0,'71'35'0,"-36"-35"16,1 17-16,-2 0 0,20 19 0,-1-1 16,52 53-16,-34 19 15,-18-2-15,-35 72 16,-36-107-1,1 0-15,-19 1 0,1 0 0,-1 17 16,-86 53-16,-73 35 16,90-105-16</inkml:trace>
  <inkml:trace contextRef="#ctx0" brushRef="#br0" timeOffset="139173.47">12259 5363 0,'18'141'15,"-18"-124"-15,-18 142 16,18-124-16,0-17 0,-18 34 15,18-34-15,-17 0 0,17 0 16,0 16-16,-17-15 16</inkml:trace>
  <inkml:trace contextRef="#ctx0" brushRef="#br0" timeOffset="139499.16">11959 5080 0,'-35'53'0,"18"-18"0,-2 1 15,90-160-15,-159 353 0,70-193 0,18 16 16,0 2-16,-17-1 0,17-1 16,0-16-16,35 175 15,-18-193-15,2 17 16,-19 1-16,17-19 0,18 18 16,-17-16-16,0-2 15,-1-17-15,0 17 0,19-17 16</inkml:trace>
  <inkml:trace contextRef="#ctx0" brushRef="#br0" timeOffset="139797.51">12788 4868 0,'88'107'16,"-52"-19"-1,-160-283-15,265 512 0,-123-263 0,-18 16 16,0 54-16,0-72 16,-18 72-16,1-53 0,0-18 15,-19 35-15,18-36 0,1-16 16,17-1-16,-19-16 0,-15 33 15,34-35-15,-18-17 0,18 36 16,-18-36 0</inkml:trace>
  <inkml:trace contextRef="#ctx0" brushRef="#br0" timeOffset="140203.54">14340 5521 0,'53'-17'15,"-35"17"-15,18 17 16,16-17-16,-34 0 15,34 0-15,-16 0 0,-18 0 16,-1 0-16,0 0 0,2 0 16,16 0-16,18 0 15</inkml:trace>
  <inkml:trace contextRef="#ctx0" brushRef="#br0" timeOffset="140421.6">14747 5292 0,'17'0'15,"0"17"-15,1 1 0,18 18 16,-2-2 0,-34-16-16,18 18 15,0 17-15,-18-1 16,-18 1-16,0-35 0,-35 88 31,36-88-31,17-1 16</inkml:trace>
  <inkml:trace contextRef="#ctx0" brushRef="#br0" timeOffset="141231.63">15752 5275 0,'-19'34'47,"19"2"-31,0-18-1,0-1-15,0 0 16,0 1-16,0 0 0,0 0 16,0-1-16,19-17 15,-19 17-15,17 2 0,1-19 16,-1 17 0,2-17-16,-2-17 15,0 17-15,1 0 16,-1-19-16,2 19 0,-2-17 15,0 17 1,1 0 0,0 17-1,0-17-15,-1 19 32,19-2-32,-19-17 15,1 0 1,-18-17-16,17 17 0,0 0 0,2-19 15,-2 2 1,1 0-16,-18-19 16,17 36-16,-17-18 0,0 1 15,0 0 1,0-1 0,0 0-16</inkml:trace>
  <inkml:trace contextRef="#ctx0" brushRef="#br0" timeOffset="141597.54">16387 5063 0,'0'0'15,"0"34"1,-18 37-1,18-54-15,0 2 16,0-2-16,0 1 0,-18 18 0,18-19 16,0 0-16,0 19 15,-18-36-15,18 18 0,0-1 16,0 18 0,18-35-1,0 0-15,0 0 16,-1 0-16,-17-18 15,17 18-15,2 0 16,-2 0-16,1 0 0,16 18 16,-15-18-1,-19 18-15,17-18 16,-17 18-16,18-18 16,-1 17-16</inkml:trace>
  <inkml:trace contextRef="#ctx0" brushRef="#br0" timeOffset="142243.15">16899 5204 0,'-19'-19'16,"-16"38"-16,18-19 15,-2 17-15,-15 1 16,34-1-16,-18-17 16,18 19-16,0-2 15,18-17 1,-1 0 0,0 17-16,2-17 15,-2 0-15,1 0 16,-1 0-16,2 0 15,-19 18-15,17-18 0,0 0 16,1 0-16,-1 0 16,2 0-16,15 0 15,-16 0-15,0-18 0,0 18 16,-1-17-16,0 17 16,19-36-16,-18 19 0,-1-18 15,19-18-15,-19 53 16,1-18-16,-18 1 0,17-19 15,2 36-15,-19-17 16,17 51 0,-34-15-1,17 16-15,0-18 0,-19 36 16,19-18-16,-17-16 16,17 15-16,0-16 15,-18-18-15,18 18 0</inkml:trace>
  <inkml:trace contextRef="#ctx0" brushRef="#br0" timeOffset="142418.85">17145 5309 0,'18'-17'31,"-1"17"-31,0 0 15,2 0-15,-2 0 0,1 0 16,18 0-16,-2 0 16</inkml:trace>
  <inkml:trace contextRef="#ctx0" brushRef="#br0" timeOffset="142621.5">17692 5221 0,'0'18'16,"-17"-1"0,17 2-16,-19-2 15,19 36-15,-17-53 16,17 18-16,0-1 16,0 18-16,-18-17 15,-440-142-15,440 124 0</inkml:trace>
  <inkml:trace contextRef="#ctx0" brushRef="#br0" timeOffset="143168.53">18168 4868 0,'-17'88'0,"-1"1"16,0 17-16,-17 18 0,-1 16 15,1-34 1,1 0-16,15-53 15,-33 18-15,16-1 16,-17-35-16,35-18 0,1 2 16,0-19-16,-1 0 0,0 17 15,-17-34-15,35-2 16,0 2 0,17 0-16,1-1 0,0 0 0,0 0 15,52-34-15,1 16 16,-36 2-16,53-2 15,-35 18-15,35-35 0,-35 36 16,-1-18-16,72-1 16,-53 19-16</inkml:trace>
</inkml:ink>
</file>

<file path=ppt/ink/ink14.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03:19.700"/>
    </inkml:context>
    <inkml:brush xml:id="br0">
      <inkml:brushProperty name="width" value="0.05292" units="cm"/>
      <inkml:brushProperty name="height" value="0.05292" units="cm"/>
      <inkml:brushProperty name="color" value="#0070C0"/>
    </inkml:brush>
  </inkml:definitions>
  <inkml:trace contextRef="#ctx0" brushRef="#br0">5450 8541 0,'19'0'62,"262"0"-46,2-52-1,193-89-15,53-35 16,88 34 0,18-52-16,600-106 15,-706 106-15,-53 88 16,-105 0-16,-159 89 16,-19-36-16,-69 35 15,-88 1 1</inkml:trace>
  <inkml:trace contextRef="#ctx0" brushRef="#br0" timeOffset="655.97">5486 9265 0,'71'0'32,"317"-88"-1,-36-19-31,213-51 15,916-230 1,-705 124-16,71 52 16,17-71-16,-17 124 15,-53-17-15,-54 88 16,-86-36 0,-232 72-16,-139-18 0,-107 51 15,-69 19-15,-73 0 16</inkml:trace>
</inkml:ink>
</file>

<file path=ppt/ink/ink15.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03:43.655"/>
    </inkml:context>
    <inkml:brush xml:id="br0">
      <inkml:brushProperty name="width" value="0.05292" units="cm"/>
      <inkml:brushProperty name="height" value="0.05292" units="cm"/>
      <inkml:brushProperty name="color" value="#0070C0"/>
    </inkml:brush>
  </inkml:definitions>
  <inkml:trace contextRef="#ctx0" brushRef="#br0">5062 2037 0,'-17'0'16,"70"0"0,-35 0-16,16 0 0,73 0 15,-36-17-15,-2 17 16,20 0-16,17-18 0,18 18 0,-19 0 15,318-36-15,-265 36 16,20-17-16,227 0 16,-246-1-16,-18 18 0,-17-18 15,245 0-15,-245 1 16,-18 17-16,142-35 16,-126 17-1,-68 18-15,-20 0 0,2 0 0,-18 0 0,16-18 16,-15 18-1</inkml:trace>
  <inkml:trace contextRef="#ctx0" brushRef="#br0" timeOffset="487.59">6050 2302 0,'-17'0'0,"69"-18"31,89 0-31,-70 18 15,34 0-15,125-17 0,-106 17 16,0-17-16,140 17 16,-123 0-16,0 0 0,406-18 15,-424 18 1,1 0-16,0 0 0,-19 0 0,107-18 16,-141 18-16,70-18 15,-106 18 1,-18-17-16</inkml:trace>
  <inkml:trace contextRef="#ctx0" brushRef="#br0" timeOffset="6035.71">8061 4736 0,'35'-18'15,"-17"18"-15,17 0 0,1-17 0,104 0 16,-87-2-16,18 19 16,0-17-16,-1-1 0,18 18 15,266-53 1,-266 36-16,17-1 0,-17 18 16,0-17-16,1 17 0,-19-19 0,0 2 15,125 0-15,-142-1 16,18 18-16,-36 0 0,-1-18 0,37 18 15,-52 0 1,-2 0-16,0 0 0,1-18 16</inkml:trace>
  <inkml:trace contextRef="#ctx0" brushRef="#br0" timeOffset="6472.02">8114 4930 0,'35'-17'15,"-18"17"-15,73-19 16,-38 2-16,1 17 0,35-17 0,0-1 0,-17 0 16,211-34-1,-176 34-15,0 0 0,0 18 0,-1-18 16,160-16-1,-194 15-15,0 19 0,-19-17 0,18 17 16,-34 0-16,16-18 0,-16 18 16,-18 0-16,52-17 15,-52 17-15,-1 0 0,2 0 0,-2 0 16,0 0 0</inkml:trace>
  <inkml:trace contextRef="#ctx0" brushRef="#br0" timeOffset="10094.84">9789 6377 0,'36'0'15,"-19"-19"1,19 19-16,-18 0 0,16 0 15,2-17-15,16 17 0,19-17 0,-18 17 0,71-18 16,-53 0 0,122 0-16,-139 1 15,-2 17-15,1 0 0,-17 0 0,16-17 16,19 17-16,-35 0 16,-2 0-16,54-18 15,-69 18-15,-2 0 0,1 0 0</inkml:trace>
  <inkml:trace contextRef="#ctx0" brushRef="#br0" timeOffset="10521.32">11694 6429 0,'107'-17'0,"-72"17"0,1 0 0,-19 0 0,18-18 16,71 18 0</inkml:trace>
  <inkml:trace contextRef="#ctx0" brushRef="#br0" timeOffset="14559.73">14393 5601 0,'19'-19'32,"15"19"-17,-16 0-15,-1-17 16,2 17-16,15 0 15,2 0-15,34-17 16,-52 17-16,0 0 0,-1 0 16,0 0-16,37-18 31</inkml:trace>
  <inkml:trace contextRef="#ctx0" brushRef="#br0" timeOffset="15091.82">14412 5582 0,'-36'19'16,"18"-2"-16,18 18 15,-17 1 1,-2-19-16,19 37 16,0-37-16,-17-17 0,17 17 15,0 1 1,0 18 0,-17-36-16,17 17 15,34-34 32,-15-1-47,-2 18 16,1 0-16,-1-18 0,2 18 15,-2 0-15,0 0 0,1 0 16,18 0-16,-36 18 16,17-18-16,0 0 0,1 18 15,-18-1-15,18 0 0,-36 1 16,0 18-1,1-19-15,0 0 16,-2-17-16,2 19 0,-54 16 16,54-35-16,-1 17 15,-52 0 1,52-17-16,0 0 0,18 19 0,-18-19 16,1 0-1</inkml:trace>
  <inkml:trace contextRef="#ctx0" brushRef="#br0" timeOffset="15376.58">14976 5777 0,'-54'35'0,"20"1"15,15-19-15,-33 18 0,16 1 16,1-2-16,18 2 0,-90 52 16,73-70-16,-54 52 15,69-34-15,2-36 16,-1 18-16,1-1 0,0 0 15,-2 1-15</inkml:trace>
  <inkml:trace contextRef="#ctx0" brushRef="#br0" timeOffset="15584.49">15081 5830 0,'-159'194'0,"125"-141"0,-144 140 16,108-122-16,-158 158 16,157-175-1</inkml:trace>
  <inkml:trace contextRef="#ctx0" brushRef="#br0" timeOffset="23218.72">7920 8688 0,'53'0'0,"-36"0"15,37 0 1,-37 0-16,18 0 0,1 0 16,17 0-16,-36 0 15,1 0-15,18 0 0,-19 0 0</inkml:trace>
  <inkml:trace contextRef="#ctx0" brushRef="#br0" timeOffset="23623.86">8644 8722 0,'34'0'16,"20"-17"-16,-37 17 15,0 0-15,1 0 0,0 0 16,34 0-1,-33 0-15</inkml:trace>
  <inkml:trace contextRef="#ctx0" brushRef="#br0" timeOffset="24061.67">9437 8669 0,'123'-17'0,"-105"17"16,34-18-16,-16 18 15,-18 0-15,18 0 16,-19 0-16</inkml:trace>
  <inkml:trace contextRef="#ctx0" brushRef="#br0" timeOffset="25044.53">9613 10433 0,'53'-17'31,"-18"17"-15,-16 0-16,-2 0 0,0 0 15,1 0-15,-1 0 0</inkml:trace>
  <inkml:trace contextRef="#ctx0" brushRef="#br0" timeOffset="25482.19">10301 10257 0,'36'0'16,"-19"0"-16,1-17 16,-1 17-16,2 0 15,15 0-15,-16 0 16,-1 0-16,2-18 0</inkml:trace>
  <inkml:trace contextRef="#ctx0" brushRef="#br0" timeOffset="25994.57">10954 10257 0,'35'-17'31,"-18"17"-15,2 0 0,-2-18-1,1 18-15,-1 0 16,19 0-1</inkml:trace>
  <inkml:trace contextRef="#ctx0" brushRef="#br0" timeOffset="26936.77">12170 10045 0,'36'0'31,"-18"0"-31,-1 0 0,2 0 16,-2 0-16,35 36 16,-33-36-16,-2 17 0,36 18 15,-35-16-15,-18-2 16,17-17-16,-17 53 15,-17-35-15,-37 52 16,1-52-16,1 16 16,-1 2-16,-18-18 0,0 18 0,19-19 15,-37 18-15,20 1 0,-2-19 16,-106 36-16</inkml:trace>
  <inkml:trace contextRef="#ctx0" brushRef="#br0" timeOffset="36820.58">14658 9445 0,'-36'0'0,"19"19"0,17-2 0,-17 0 16,17 1-16,-18 35 0,0-17 16,18-1-16,-18 35 15,18-16 1,0-20-16,0-16 0,0 0 0,0 0 0,18 16 15,-18-16-15,18 0 16,0 17-16,-1-35 16,0 17-16,1-17 15,0 0 1,0-17-16,-1 17 0,-17-17 16,17-1-16,-17 0 31,-17 0-31,17 1 0,-17 0 15,-1-1 17,0 0-32,0 18 31,18-18-31</inkml:trace>
  <inkml:trace contextRef="#ctx0" brushRef="#br0" timeOffset="38168.07">14710 9657 0,'-17'17'16,"0"-17"-16,17 19 0,-18-2 0,0-17 16,18 18-16,-35 35 15,18-18-15,17-17 16,0 34 0,0-34-16,17-18 15,0-18 1,1 18-16,0-34 15,0-2-15,-18 18 16,0 1-16,0-19 16,0 19-16,0-1 0,0 1 15,-18 17-15,-35 17 16,53 1 0,-17-1-16,-1-17 0,0 19 0,18-2 15,0 0-15,-18-17 0,18 18 0,0 0 31,18-18-31,0 0 16,17-18-16,-18 0 16,1 1-16,0 0 15,0-2-15,-18 2 0,17-1 16,-17 53 15,-17 36-15,-1-53-16,18 0 0,-18 16 0,18-16 0,0 18 15,0-19-15,-18 71 16,36-69 0,-18 15-1,18-16-15</inkml:trace>
  <inkml:trace contextRef="#ctx0" brushRef="#br0" timeOffset="40071.58">15822 9322 0,'-53'88'16,"36"-70"-16,17-1 0,-18 19 0,18-19 15,-18 37-15,18-37 0,0 0 16,-18 2-16,18-2 0,0 1 16,0-1-16</inkml:trace>
  <inkml:trace contextRef="#ctx0" brushRef="#br0" timeOffset="40496.51">15893 9393 0,'0'-17'0,"0"34"0,35 0 31,-35 18-15,17-16-16,-17-2 0,0 18 0,0-17 16,0 0-16,0-1 0,0 0 15,0 19-15,0-18 0,0-1 0,0 0 16,-17-17-16,-1 36 16,1-18-16,17-1 15,-17-17-15,17-35 31,17 18-15,-17-2-16,17-15 16,1-1-16,-18 16 0,0 2 0,17 0 15,-17-1-15,0 0 0,0-17 16,0 18-16,0-2 0,0 2 16,-17-18-1,17 18-15,-18-2 16</inkml:trace>
  <inkml:trace contextRef="#ctx0" brushRef="#br0" timeOffset="40719.96">16264 9376 0,'-19'34'0,"19"-16"0,-71 106 16,19-36 0,16-54-16,2 2 0,-20 52 15,20-52-15,15-1 0,-16 0 16,18-17-16,-19 34 16,19-33-16,-1-2 0,18 1 0,-17-1 15</inkml:trace>
  <inkml:trace contextRef="#ctx0" brushRef="#br0" timeOffset="41824.12">16210 9940 0,'18'0'0,"-1"0"15,2 0 1,-2 17-16,-17 0 16,0 2-1,-17 16 1,17-18-1,0 2 1,0-2 0,17 0-1,0 1 1,-17-1-16,18-17 0,-18 19 16,17-2-1,-17 0-15,-17 19 16,17-18-16,-18-18 0,18 17 15,-17 0-15,0-17 0,-19 36 16,18-36-16,1 18 0,-36-1 16,35-17-16,1 0 15,-2 0-15,2 0 16,0 0 0,17-17-16</inkml:trace>
  <inkml:trace contextRef="#ctx0" brushRef="#br0" timeOffset="42165.7">16916 9693 0,'0'0'16,"36"-19"-16,-19 19 0,0 0 0,1 0 16,-1 0-16,2 0 0,-2-17 15,0 17-15</inkml:trace>
  <inkml:trace contextRef="#ctx0" brushRef="#br0" timeOffset="42356.08">16845 9904 0,'17'18'16,"2"-18"-16,-2 0 16,1 0-16,-1 0 0,2-18 15,-2 18-15,18 0 0,1 0 0,-19-18 0,18 18 16,1-17-16</inkml:trace>
  <inkml:trace contextRef="#ctx0" brushRef="#br0" timeOffset="42754.6">18186 9269 0,'-70'53'16,"34"18"-16,18-19 16,1-16-16,17 17 0,-19-18 15,19-18-15,0 19 0,0-18 0,0-1 16,0 19-16,19-19 0,-19 1 0,35 18 15,-35-19 1,36 0 0,-19-17-16,0-17 15,-17 0 1,-17-2-16,0 2 16,-2-1-1,-16 1-15,-1 17 16,19 0-1,0 0-15</inkml:trace>
  <inkml:trace contextRef="#ctx0" brushRef="#br0" timeOffset="42991.65">18662 9498 0,'-17'54'15,"-2"-37"-15,-33 36 16,16-18-16,2 1 0,-90 69 16,89-87-16,-1 35 15,19-36-15,-1 1 0,0 0 16,18 0-16</inkml:trace>
  <inkml:trace contextRef="#ctx0" brushRef="#br0" timeOffset="43170.28">18838 9569 0,'-53'36'16,"36"-19"-16,-18 18 0,-1 1 15,-69 52-15,34-35 16,-141 106 0,124-71-16,17-36 0,1 19 0,-18-18 0,17 0 15</inkml:trace>
  <inkml:trace contextRef="#ctx0" brushRef="#br0" timeOffset="44163.86">14622 9481 0,'-88'124'0,"71"-107"15,17 1-15,0-1 0,0 19 16,0-19-16,0 1 15,17-18-15,19 0 16,-18 0-16,-18-18 16,17 1-16,0 17 0,1-19 0,0 2 15,17-54 1,-35 54-16,17 0 0,2-19 16,-55 54 15,-17 34-16,53-33-15,-18-2 0,1 1 16,17-1-16,-17 19 16,17-19-1,34-34 1,2-2 0,-18 2-1,-1 0-15,0 34 31,-34 54-15,0-54-16,17 2 0,-18-2 16,18 0-16,0 1 0,-18 18 15,18-19-15,0 0 16,18-17 0,0 0-1,-1 0-15,0 0 0,-17 18 16,0 0-16,-17 53 15,17-36-15,-17 18 0,-1-1 16,-70 125 0,70-125-16,0 2 0,1-1 0,-19-1 0</inkml:trace>
  <inkml:trace contextRef="#ctx0" brushRef="#br0" timeOffset="51527.96">7973 12038 0,'17'0'0,"1"-17"16</inkml:trace>
  <inkml:trace contextRef="#ctx0" brushRef="#br0" timeOffset="54749.39">14412 873 0,'-19'71'0,"2"-54"16,-1 0-16,1 19 0,-2-1 15,-15 36-15,-20 17 16,37-52-16,0-2 0,-19 2 0,18-1 16,-16 1-16,15-1 0,2-18 15,-1 2-15,-18 33 0,19-34 16,0-18-16,-1 18 0,18-1 15,-17-17-15</inkml:trace>
  <inkml:trace contextRef="#ctx0" brushRef="#br0" timeOffset="54946.38">14800 997 0,'0'0'0,"-142"193"0,106-122 16,-16 0-16,-18-1 0,-1 36 16</inkml:trace>
  <inkml:trace contextRef="#ctx0" brushRef="#br0" timeOffset="72753.41">17904 2654 0,'17'-176'0,"-17"142"0,0-2 16,0 1-16,17-36 15,-17 35-15,36-16 0,-36 34 16,18-17-16,-1 18 0,0 17 16,2-19-16,-2 19 15,1 0-15,18 0 0,-19 19 0,0-2 16,1 18-16,0-17 0,0 0 0,-1 16 16,-17 2-16,17-1 0,-17-18 15,0 19-15,0-18 0,0 18 16,0 16-16,0-35 0,-17 19 0,17-19 15,0 1-15,0 0 16</inkml:trace>
  <inkml:trace contextRef="#ctx0" brushRef="#br0" timeOffset="72957.5">17938 2602 0,'0'0'16,"36"-18"-1,16 0 1,-33 18-16,16 0 0,-18-17 16,19 17-16,-19 0 0,19-17 0</inkml:trace>
  <inkml:trace contextRef="#ctx0" brushRef="#br0" timeOffset="73224.69">18504 2337 0,'17'17'31,"-17"2"-31,0-2 16,17 18-1,1-16-15,-18-2 16,18-17-16,-18 17 0,18 1 15,-1-18 1,0 0 0,2-18-16,-19 1 0,17 0 15,-17-2 1,18 2-16,-1 17 16,-17-18-1,17 18-15</inkml:trace>
  <inkml:trace contextRef="#ctx0" brushRef="#br0" timeOffset="73584.28">18909 2302 0,'-17'0'16,"-19"0"-1,1 35 1,35-18-1,17 2 1,1-19-16,0 17 0,0 1 16,-1-18-16,18 36 15,-17-19-15,0 0 0,-1 1 0,-17-1 16,17 2-16,-17-2 0,0 18 16,19-17-16,-38 0 0,19-1 15,-17 36-15,17-35 0,-17-1 16,-1 0-16,18 2 0,-18-19 15,18-19 17,18-15-32,0 16 15,16-18 1,-15 36-16,-19-17 16,17 17-16</inkml:trace>
  <inkml:trace contextRef="#ctx0" brushRef="#br0" timeOffset="74039.66">18062 2901 0,'212'0'0,"-141"-17"16,17 17-16,-17-18 0,17 1 15,0 0-15,17-2 0,-34 2 16,17-1-16,1 1 0,-20-2 0,21-15 0,-38 16 16,1 0-16,0 0 0,-1-16 15,2 16-15,34-71 0,-35 37 16,-18-19-16,1 1 0,-19-1 0,0-17 16,1 0-16,-18 0 15,-18-19-15,1 19 0,-18 0 0,-18 18 16,0-18-16,-35 17 0,0 18 0,0 18 15,-19-1-15,-52 1 0,37 18 16,-2 17-16,-18 0 0,-34 35 0,-158 35 16,175-16-16,18-2 15,-1 18-15,18 18 0,19-17 16,17 36-16,0-19 0,17 0 0,35 0 16,-16 53-16,52-70 0,0-1 15,18 1-15,35 0 0,-1-1 16,19 0-16,17 0 0,141 54 15,-105-89-15,105 18 0,-106-35 16,-16 0-16,-2 0 0,2-18 16,-2-18-16,-17 18 0,53-18 15</inkml:trace>
  <inkml:trace contextRef="#ctx0" brushRef="#br0" timeOffset="75139.89">19156 2937 0,'-18'53'0,"1"-18"0,17 1 0,-19 16 16,2 1-16,17 1 0,-17-2 0,-1 1 16,18 0-16,-36 53 15,36-53-15,-17-1 0,17 1 16,-17-17-16,-1 34 0,18-34 15,-18-2-15,18-15 0,-18-2 16</inkml:trace>
  <inkml:trace contextRef="#ctx0" brushRef="#br0" timeOffset="75403.47">18821 3484 0,'0'36'16,"17"52"15,-17-71-31,18 18 0,-18 1 0,18-19 16,0 18-16,-1-17 0,-17 0 15,17 16-15,19-15 16,-1 16-16,-18-18 0,2-17 15,-2 0-15,18 0 16,-18 0-16,2-17 16,16-1-16</inkml:trace>
  <inkml:trace contextRef="#ctx0" brushRef="#br0" timeOffset="76762">21678 4665 0,'35'19'0,"-16"-2"0,-2-17 16,0 0-16,1 0 0,0 0 0,0 0 15,16 0-15,-16 0 0,0 0 0,0 0 0,16 0 16,-15-17-16,-2 17 16,18-19-16,-16 2 0,15-18 15,-16 16-15,18-15 0,-2-37 16,-34 36-16,18-54 15,0 54-15,-18-18 0,18 1 16,-18-1-16,0-1 0,17 2 16,-17-18-16,0 16 0,17-16 0,-17 16 15,19-16-15,-2 0 0,1-19 0,16-51 16,-15 87-16,-2-18 16,1 18-16,18 1 0,-2-2 15,1 1-15,1 18 0,-1-18 0,18 18 16,0-1-16,-1 2 0,2-2 0,-1 18 15,0 1-15,17-19 0,0 19 16,72-1-16,-54 1 0,-18 17 16,18-19-16,-17 19 0,0 0 0,17 0 15,70 19-15,-87-2 16,70 1-16,-87-1 0,16 2 16,-18-2-16,2 0 0,34 54 15,-35-54-15,-18 19 0,1-1 16,-2 18-16,-15-18 0,16 18 15,18 53-15,-36-53 0,1 18 16,18 70-16,-19-70 0,0-1 16,1 0-16,0 0 0,0-16 15,-1 16-15,0-16 0,37 68 16,16-15-16,-35-55 0,1-16 16,-1-1-16,1 1 0,16-2 15,37 20-15,-54-37 0,-1-17 16,2 17-16,-1-17 0,1 0 15,-19 0-15,1-17 0,0 17 16,-18-17-16</inkml:trace>
  <inkml:trace contextRef="#ctx0" brushRef="#br0" timeOffset="77372.33">23689 2302 0,'0'-18'0,"-17"88"16,-1-16-16,18 34 15,-18 0-15,0 36 0,1 34 0,0 1 16,-2 17-16,19 1 0,-17-1 0,17 0 16,0-17-16,0 18 0,0 122 15,0-51-15,-18-143 16,18 1-16,-17 0 0,17-18 15</inkml:trace>
  <inkml:trace contextRef="#ctx0" brushRef="#br0" timeOffset="81003.5">23406 5565 0,'0'-17'0,"-34"17"16,16 17 0,0-17-16,0 17 0,-34 54 15,34-54 1,0 2-16,18 16 0,-53 35 16,53-52-16,0 0 15,-17 0-15,17-1 0,0 0 0,0 1 16,17 0-16,2 0 15,-2-18-15,0 0 0,1 0 16,0 0-16,17 0 16,-18 0-16,1 0 0,0 0 0,0-18 15,-1 18-15,0 0 0,2 0 16,-2-18-16,1 18 0,-18-18 16,17 18-16,-17 18 46,0 0-46,19 0 32,-2-18-17,18 0 1,-18 0-16,-17-18 0,19 18 16,-2 0-1,0 0 32,1 0-31,-18 18-1,18-36-15,0 18 16,-1 0-16,0-18 16,2 18-16,-2-35 0,1 35 15,-18-17-15,17-1 0,0 0 16,2-17-16,-2 18 0,1-2 15,-1 2-15,2 34 32,-2 19-17,-17-19-15,0 1 16,-17 0-16,17 0 0,0-1 16,0 0-16,0 19 0,0-18 15,0-1-15,0 0 16,-19-17-1</inkml:trace>
  <inkml:trace contextRef="#ctx0" brushRef="#br0" timeOffset="81417.35">23813 5953 0,'0'-17'0,"0"-19"16,17 18-1,1 1 1,-1 0-16,2-1 0,-2 18 16,0-18-1,1 18 1,-18 36 15,0-19-31,18 0 16,-18 1-1,18 0 1,-1-18-16,18-18 16,-17 18-1,0 0 1,-1 0-16,0 0 16,2 0-16,-2 0 15,1 0 1,-1 0-1,0 0-15,2 0 0,-19-18 16,17 18-16,1 0 0,-1-17 0,2 17 16,-2-17-16,0-1 15</inkml:trace>
  <inkml:trace contextRef="#ctx0" brushRef="#br0" timeOffset="87035.83">14869 3589 0,'71'0'0,"-35"0"15,-2 0-15,20 0 0,16 0 0,72 0 16,16 0-1,318 19 1,-193 15 0,-178-34-16,-17 18 0,0 0 15,-17 0-15,17-1 0,53 18 16,-87-17-16,16 17 0,1 1 0,-19-1 16,1 1-16,1 16 0,51 54 15,-52-54-15,70 90 16,-70-72-16,1 1 0,16 34 15,-18-34-15,19 36 0,-18-19 16,1 0-16,51 105 0,-52-104 16,-1 17-16,2-18 0,-1 36 0,52 86 15,-51-103-15,-1-2 16,-1 19-16,1-18 0,1 0 0,-20 17 16,20-16-16,16 103 0,-35-122 15,1 2-15,16 32 0,-16-34 16,-19 19-16,37 86 0,-37-105 15,0 19-15,1-2 0,0-17 16,0 19-16,-18-19 0,17 17 0,-17-17 16,17 0-16,2 2 0,-2 86 15,-17-88-15,18-18 0,-1 1 16,-17 0-16,17-19 0,-17 1 0,19 0 0,-19 1 16,17-2-16,-17 1 15,0 0-15,0-18 0,0 1 0,0-1 16,0-1-16,0 56 0,0-38 15,0-16-15,-17 16 0,17-34 16,-19 34-16,2-16 0,-35 52 16,16-53-16,1 18 0,-18-17 0,-88 52 15,53-53-15,0 18 16,-19-18-16,-174 36 0,122-35 16,-18-19-16,-17 18 0,-35 1 15,-230 17-15,-158-1 16,282-16-16,17-1 0,-281 35 15,263-35-15,89-16 0,-17 15 16,-72 2-16,90-18 0,-1-1 16,0 0-16,-1 2 0,20-19 0,-20-19 15</inkml:trace>
  <inkml:trace contextRef="#ctx0" brushRef="#br0" timeOffset="88181.47">2381 3042 0,'-229'36'0,"35"-18"0,106 16 16,-18-15-16,18-2 0,-18 1 0,-71 52 15,89-52-15,0 18 0,0-2 16,-53 37-16,70-35 16,0-1-16,19 1 0,-1 16 15,0-16-15,18-2 0,18 20 0,-19-20 16,18 20-16,1-1 0,-2 18 0,19-2 15,-17 20-15,34 87 0,-17-70 16,19 0-16,-19 0 0,17 35 0,1 0 16,-1-18-16,19 18 15,-19-17-15,18 18 0,-16-20 0,33 144 16,-34-126-16,17 1 0,-18 0 16,19 142-16,-18-142 15,16 159-15,-34-160 0,19-33 16,-2 193-16,1-195 15,-1 37-15,2 87 0,-2-88 16,0 89-16,1-125 0,-18 19 16,17 16-16,2-33 0,-19-2 15,17 19-15,0-19 0,1 2 0,-18-2 16,18 1-16,0-18 0,-1 18 16,36 158-16,-35-176 15,-1-17-15,19 0 0,-19-1 0,18 1 16,1-18-16,35 70 15,34 1-15,-52-71 0,18-1 16,-19 19-16,89 36 16,-70-55-16,0 1 0,17 0 15,248 106-15,-248-124 0,53 1 16,-1 16-16,19-16 16,1-2-16,174 20 0,37-1 15,-178-18-15,2-18 0,16 2 16,1 15-16,246 1 0,-228-16 15,-1-2-15,18 18 0,1-17 16,245 17-16,-229-18 0,-16 2 16,16-2-16,-17 1 0,247 16 15,-247-15-15,229 16 16,-247-18-16</inkml:trace>
  <inkml:trace contextRef="#ctx0" brushRef="#br0" timeOffset="92502.71">16845 11192 0,'-35'246'16,"35"-192"-16,0-1 0,0 18 0,0 34 15,0-52-15,0-18 16,18 18-16,-18-18 0,0 1 0,0-1 16,0 1-16,0-19 0,17 18 0,-17-17 15,0 0-15,0 16 0,0-15 16,0-2-16,0 1 15</inkml:trace>
  <inkml:trace contextRef="#ctx0" brushRef="#br0" timeOffset="92892.37">16633 11897 0,'0'71'16,"0"-53"-16,0 17 15,19-18-15,-19 19 0,17-1 16,-17 1-16,0-1 0,17-18 0,1 19 15,0 16-15,0-33 0,-1-2 16,-17 0-16,17 1 0,1-18 16,0 18-16,0-18 0,-1 0 15,0 0-15,2 0 0,-2-18 16,18 0-16,-16 1 0,-2 0 0,18-2 16,-18 2-16,2-1 0,15 1 15,-16-2-15,0 2 0,0 0 0,-1-1 16,0 1-16,2-2 0,-19 2 15,35-18-15,-35 17 16,17 18-16,-17-18 0</inkml:trace>
  <inkml:trace contextRef="#ctx0" brushRef="#br0" timeOffset="94039.47">16264 13502 0,'0'-17'0,"0"52"15,-19-17-15,19 0 0,0-1 0,0 19 16,0-19-16,0 18 0,-17 36 15,17-35-15,0-2 0,0 2 16,0-18-16,-18 16 0,18-16 0,0 18 16,0-19-16,-17 0 0,17 2 15,0-2-15,0 1 0,0-1 16,0-69 15,0 33-31,0-69 16,17 18-1,-17 18-15,0 33 16,0-16-16,18 1 16,-18 15-16,0 2 0,0-1 15,17 36 1,2-1 0,-2 2-1,-17-2-15,17-17 0,1 17 0,-1-17 16,2 18-16,-2-18 15,0-18-15,19 1 16,-18 17-16,-18-17 0,17 17 16,0-19-16,-17 2 0,19 17 15,-19-18-15,17 18 0,1 0 16,-1 18 0,-17-1-16,17 2 15,-17-2-15,0 0 0,19 54 16,-19-54-1,17 19-15,-17-18 0,0-1 0,0 0 16,0 1-16,18 0 0,-18 0 16,0-1-16,17 0 0,-17 2 15,19-19-15</inkml:trace>
  <inkml:trace contextRef="#ctx0" brushRef="#br0" timeOffset="94476.52">16952 13944 0,'0'-36'0,"0"72"0,0-90 0,0 37 16,0 0-16,0-1 0,0 0 16,-19 0-16,19 1 0,-17 17 15,17-17 1,-18 17-16,-18 17 15,19 0-15,17 1 16,-17-18-16,17 18 16,0 17-16,0-18 0,0 19 0,0-18 15,0-1-15,17 0 0,0-17 0,-17 19 16,19-2-16,-2 1 16,1-18-16,-1 17 0,2-17 0,-2 0 0,18 0 15,-18 0-15,2 0 0,-2 0 16</inkml:trace>
  <inkml:trace contextRef="#ctx0" brushRef="#br0" timeOffset="94975.43">17304 13873 0,'0'-35'0,"-18"17"15,1 18 16,-2 36-15,2-36-16,17 17 0,-17 0 16,17 1-16,0 0 15,0 0-15,0 16 16,0-15 0,0-2-1,17-17-15,0-17 16,2 17-16,-2-19 15,1 2 1,-1 17-16,-17-17 16,19 17-1,-2 0-15,0 17 16,1 0 0,-1 2-1,2-19 1,-19 17-1,17-17 1,0 0 0,1 0-16,0 0 15,0 0 1,-1 0-16,0-17 0,2 17 16,-2 0-16,35 0 0,-33 0 15,-2-19-15,18 19 16</inkml:trace>
  <inkml:trace contextRef="#ctx0" brushRef="#br0" timeOffset="95921.4">20568 13520 0,'0'18'16,"0"0"-16,0-1 15,0 19-15,0-19 0,0 1 0,0 18 16,0-19-16,0 18 0,0 1 0,17-19 15,-17 18-15,0-17 0,0 0 16,0 16-16,0 2 0,0-18 16,0-1-16,0 0 15</inkml:trace>
  <inkml:trace contextRef="#ctx0" brushRef="#br0" timeOffset="96423.88">20549 13626 0,'-17'-17'16,"53"34"15,-19-17-15,-17 18-16,17-1 0,1-17 15,-1 19-15,2-2 0,33-17 0,-34 17 16,52-17-1,-52 0-15,17-17 0,-18 17 16,2 0-16,-2-17 0,1-2 0,-1 19 16,2-17-16,-2-1 15,-17 1-15,-36 34 47,19 1-47,-1 18 16,1-2-1,-2-16-15,19-1 0,-17 2 16,34-2 0,2-17-1,-2-17-15,1-2 16,-1 19-16,-17-17 0,19-1 16,-2 18-1,0 18 1,1-1-16,-18 2 15,17-2-15,-17 0 0,0 1 16,0 0-16,0 0 0,19-1 0,-19 0 16,0 1-16,0 0 0,17 0 15,-17-1-15,17 0 0,-17 2 0</inkml:trace>
  <inkml:trace contextRef="#ctx0" brushRef="#br0" timeOffset="96941.48">21466 13961 0,'18'-53'32,"0"35"-32,-18 1 15,0 0-15,0-1 0,0-18 16,0 19 0,-18 17-1,-17 53 1,35-18-16,-17-18 15,17 1-15,0 0 0,0 0 16,0-1-16,0 0 0,17 2 0,0 16 16,1-35-16,0 17 15,0-17-15,-1 0 0,0 0 16,2-17-16,16 17 0</inkml:trace>
  <inkml:trace contextRef="#ctx0" brushRef="#br0" timeOffset="97420.85">22013 13556 0,'36'-71'0,"-36"54"0,17-1 16,-17 0-16,-53 142 31,106-212-31,-70 158 16,17-35 0,-17 72-16,-2-73 0,19 1 15,0 36-15,0-53 0,0 17 16,19-18-16,-19 19 15,0-18-15,0-1 16,-19-52 15,2 35-31,-18-18 32,-18 36-17,17 0-15,36-1 16,-18 0-16,18 2 15,0-2-15,18 1 16,0-18-16,17 0 16,18-18-16,-35 18 15,-1-17-15,19-2 0,-1 2 16,-18 17-16,2-17 0,-2 17 0,-17-18 16,17 18-16,1-18 15,0 36 1,0 0-1,-18-1-15,0 0 16,17-17-16,-17 36 16</inkml:trace>
  <inkml:trace contextRef="#ctx0" brushRef="#br0" timeOffset="97539.69">22313 13749 0,'-17'-35'0</inkml:trace>
  <inkml:trace contextRef="#ctx0" brushRef="#br0" timeOffset="97969.71">22666 13697 0,'-17'0'0,"34"0"15,-53 17-15,19-17 0,17 18 16,-17-1-16,-1-17 0,18 19 0,-18-2 15,18 0-15,-18 1 16,18 0-16,18 0 16,-18-1-16,18-17 15,0 0-15,-1-17 16,19 17-16,-36-18 16,17 18-16,1 0 0,-1-18 0,0 18 15,-17-18-15,19 18 16,-2 0-16,-17 18 15,18-18 1,-1 0-16,2 18 16,-2-18-16,18 0 15,-17 0 1,0 0-16,-1-18 16,0 18-16,19 0 0,-18-18 15,-1 18-15</inkml:trace>
  <inkml:trace contextRef="#ctx0" brushRef="#br0" timeOffset="98730.31">26088 13256 0,'0'34'31,"0"-15"-31,0 16 0,0 18 16,17-36-16,-17 19 15,0-18-15,0 34 0,0-34 16,0 0-16,0-1 0,0 19 16,0-19-16,-17 1 0,17-1 15,17-52 17,-17 18-17,0-19-15,0 19 0,0-1 16,19-18-16,-19 2 0,0 16 15,0 0-15,17 0 16,-17 1-16,17 52 31,1 1-15,0-19-16,-18 0 16,18-17-16,-1 0 15,0 0-15,2 0 16,-2 0-16,-17-17 0,35 0 15,-18 17-15,2-18 0,-2 18 16,1 0 0,-1 0-1,2 18-15,-19-1 16,17 0-16,-17 1 16,0 0-16,17 0 0,1-1 15,-1-17-15,2 17 16</inkml:trace>
  <inkml:trace contextRef="#ctx0" brushRef="#br0" timeOffset="99030.46">26829 13450 0,'-36'18'15,"36"-1"-15,-17 0 0,17 1 0,-18 0 16,18 0-16,0-1 0,0 0 15,0 2-15,0-2 16,18 1-16,-1-1 16,2-17-16,-2 0 15,0-17-15,1-1 16,0 18-16,-18-17 16,0-2-16,0 2 15,-18 0-15,0-1 16,1 18-16,17-18 15,-36 18-15,19-18 16,17 1 0</inkml:trace>
  <inkml:trace contextRef="#ctx0" brushRef="#br0" timeOffset="99500.39">27181 13080 0,'19'0'0,"-2"34"31,-17-16-31,0 0 16,0 0-16,0-1 0,0 0 0,0 19 15,0-18-15,-17 16 0,17-15 0,0-2 16,0 1-16,0-1 0,17 2 16,-17-2-16,0 0 0,0 1 15,17-18-15,-17 18 16,-34-18 31,15 0-47,2 0 0,-35 35 15,16-18 1,18 1-16,1-18 0,-2 18 16,2 17-16,17-18 15,0 2 1,36-19-16,-1 0 15,-18-19-15,2 19 0,15-17 16,20 0-16,-37 17 16,0-18-16,19 0 0,-18 18 0,-18-18 15,17 18-15,0 0 16,2 0-16,-2 0 16,-17 18-1,18 0 1,-1 0-1</inkml:trace>
  <inkml:trace contextRef="#ctx0" brushRef="#br0" timeOffset="99779.76">26105 14120 0,'160'-18'16,"-55"1"-16,37 0 16,-54-2-16,-18 2 15,18-1-15,-17 1 0,0-2 16,-1 2-16,-18 0 0,2-1 0,-1 18 15,-1-18-15,19 0 0,-53 1 16,0 17-16,-18-17 0,17 17 16</inkml:trace>
  <inkml:trace contextRef="#ctx0" brushRef="#br0" timeOffset="99948.94">26670 14068 0,'-17'17'15,"34"-17"-15,1 0 0,-1 0 16,0 0-16,19 0 0,18-17 0,-2-2 16,1 19-16,0-17 15,-1-1-15,19 1 0,-18-2 0,53 2 16,-17-18-16,-54 17 16,-1 0-16</inkml:trace>
  <inkml:trace contextRef="#ctx0" brushRef="#br0" timeOffset="100472.69">21308 14278 0,'158'19'0,"-16"-19"16,-72 0-16,1 0 0,0 0 15,-1 0-15,1-19 0,140 19 16,-141-17-16,-34 17 16,16 0-16,-33 0 0,16 0 15,-18 17-15</inkml:trace>
  <inkml:trace contextRef="#ctx0" brushRef="#br0" timeOffset="100651.66">21325 14578 0,'-17'0'16,"34"0"-16,19 0 0,-19 0 16,18 0-16,36 0 0,-18 0 15,35-17-15,0 0 0,1 17 0,-1-19 16,18 2-16,-36-1 0,18 1 15,36-19-15,-72 19 0,-16 17 16,-18-18-16,-1 1 0,-17-2 16,0 2-16</inkml:trace>
  <inkml:trace contextRef="#ctx0" brushRef="#br0" timeOffset="104765.3">15734 12850 0,'-18'0'0,"54"18"16,17-18-1,-18 0 1,1 17-16,-2-17 0,20 0 0,16 0 16,1 0-16,-2 0 0,21 0 0,-2 0 15,17 0-15,0-17 0,2 17 16,16 0-16,1 0 0,0-18 0,-2 18 15,20-18-15,-1 18 0,35-18 0,1 18 16,-1-17-16,0 0 0,0 17 16,2 0-16,-2-18 0,0 18 0,18-18 15,-18 18-15,19-18 0,-2 18 16,2 0-16,-2 0 0,19-17 0,-18 17 16,230-17-16,-212 17 0,-2 0 15,2 0-15,-17-19 0,34 19 0,-18 0 16,1-17-16,0 17 0,211 0 15,213 0 1,-426 0-16,2 0 0,-17 0 16,16 0-16,1 0 0,0 0 15,-19 0-15,19 0 0,-17 0 0,17 0 16,176 0-16,-195-18 0,-17 18 16,19 0-16,-2 0 0,-16-17 15,-1 17-15,-34 0 0,34-17 0,-35 17 16,0 0-16,35 0 0,-52-19 0,16 19 15,38 0-15,-37-17 0,-18 17 16,1 0-16,-2 0 0,2-18 16,0 18-16,-1-17 0,-16 17 0,15 0 0,-15-19 15,-2 19-15,-17 0 0,0 0 16,-17-17-16,0 17 0,17 0 16,-18 0-16,54 0 0,-72 0 15,2 0-15,-18 0 0,-2 0 0,2 0 16,-1 0-16,0 0 0,-17 0 15,0 0-15,-1 0 0,0 0 0,2 17 16,-2-17-16,1 0 0,-18 19 0,17-2 16,-17 1-16,19-1 0,-19 2 15,0 15-15,0 1 0,0 18 0,0 1 16,0-2-16,-19 18 0,19 1 16,0 0-16,0-1 0,0 1 15,0 17-15,0 0 0,0 1 0,0-19 16,19 90-16,-19-72 0,0-18 15,0 0-15,0 0 0,0 1 16,0 0-16,-19-1 0,19-16 0,0 16 16,-17-18-16,-1 19 0,18-18 0,-17 1 15,-2-20-15,2 20 0,0-20 16,-54 54-16,54-69 16,-19-2-16,18 1 0,-16-1 0,-2 2 15,1-2-15,-18 0 16,-71 1-16,1 0 0,52 0 15,1-18-15,-1 0 0,-34 17 16,34-17-16,-17 0 0,-124 0 16,105 0-16,2 17 0,0-17 15,-2 0-15,-16 0 0,-1 0 0,2 0 16,-2 0-16,0 0 0,-18 0 16,20 0-16,-20-17 0,-34 17 0,-1 0 15,-122-17-15,122 17 0,1-18 16,0 18-16,-19 0 15,19-18-15,0 0 0,-1 18 0,1-17 0,-17 17 16,15-17-16,-15 17 0,16-19 16,-17 19-16,0-17 0,0-1 15,0 18-15,0-17 0,0-2 0,18 2 16,-19 17-16,2-17 0,-2-1 0,2 1 16,17-2-16,-19 2 0,2 17 15,-2-17-15,-369-37 16,176 37-16,211 0 0,-17-2 15,18 2-15,-194-18 16,175 18-16,19-2 0,-19 19 16,19-17-16,0-1 0,0 1 0,-1-2 0,1 2 15,0 0-15,-1-1 0,1 18 16,0-17-16,-2-2 0,-156-15 16,158 16-16,-159-18 0,158 19 15,18 17-15,18-17 16,-35-2-16,-107 2 0,107-1 15,52 1-15,-16 17 0,16-17 0,0-2 16,-123 2-16,125-1 16,-2 1-16,18-2 0,-106 2 15,106 0-15,0-1 0,18 18 0,0-18 16,0 0-16,-70 1 16,87 0-16,18 17 0,-18-18 15,18 0-15,1 18 0,-55-35 0,72 18 16,-1 17-16,2-19 0,16 2 15,-18-1-15,19 1 0,0 0 16,-37-37-16,54 37 0,-17-19 16,0 19-16,17-37 0,-19-51 15,38-36-15,-2 53 16,36-36-16,35-123 0,-17 123 16,17 19-16,88-71 15,-71 105-15,90 0 0,34 35 16,1 55-16,-106-2 15,34 18-15,-18 1 16,143 52-16,-159-35 0</inkml:trace>
  <inkml:trace contextRef="#ctx0" brushRef="#br0" timeOffset="128914.88">26741 6148 0,'0'-19'0,"0"2"0,0 53 31,0 16-15,0-16-16,0-2 15,0 20-15,0-1 0,0-1 0,0 1 16,-19 1-16,19-2 0,0-16 0,-17-2 15,17 2-15,0-1 0,0 1 16,-17 35-16,17-54 16,0 0-16,0 1 0,0 0 0</inkml:trace>
  <inkml:trace contextRef="#ctx0" brushRef="#br0" timeOffset="129408.59">26529 6324 0,'0'-18'16,"0"0"0,0-17-1,0-18 1,0 35-16,17 1 0,-17 0 15,18-2-15,18 2 16,-19-1-16,19 18 0,-19 0 0,18-17 16,-18 34-16,19-17 0,-1 0 0,-16 18 15,-2-1-15,18 2 0,-17-2 16,-18 0-16,18 1 0,-18 0 16,0 0-16,17-1 0,-34 0 0,17 1 15,0 0-15,-18 0 0,18 16 16,-18-15-16,0-2 0,18 1 0,-17-18 15,0 17-15,17 2 0,-19-2 0,2 0 16,-1 1-16,1-1 16,17 2-16</inkml:trace>
  <inkml:trace contextRef="#ctx0" brushRef="#br0" timeOffset="129955.48">26952 6517 0,'-18'53'0,"18"-17"15,18-18-15,-18-1 0,18 0 16,0 2-16,-1-19 16,0 0-16,2 0 15,16 0-15,-18 0 16,2-19-1,-2 2-15,-17 0 0,17 17 0,-17-18 16,18 0-16,-1 0 16,2 18-1,-2 18 1,-17 0-16,0 0 0,17-1 0,1 54 16,-18-54-16,0 19 15,0-19-15,18 18 0,-18 1 16,0-19-16,0 19 0,0-18 0,-18 34 15,18-34-15,-18 0 0,18-1 16,0 0-16,-17 2 0,0-19 16,17 17-16,-19-17 0,19 18 0,-17-18 15,-1 17-15,1-17 16,0 0-16,-2 0 16</inkml:trace>
  <inkml:trace contextRef="#ctx0" brushRef="#br0" timeOffset="130280.34">27464 6324 0,'0'-18'0,"17"36"31,-17-1-31,19 0 0,-19 2 16,-19 52-16,19-37 15,0 1-15,0 1 0,0-1 0,-17 1 16,17-19-16,0 19 0,0-19 0,0 18 15,0-18-15,0 2 16,0-2-16,-18 18 0,18-16 0,18-2 16</inkml:trace>
  <inkml:trace contextRef="#ctx0" brushRef="#br0" timeOffset="130676.16">27693 6377 0,'0'-19'15,"0"38"-15,17-2 32,-17 54-17,-17-54-15,17 18 16,0-16-16,-17 15 0,17-16 0,-18 18 15,0 17-15,18-36 16,-18 1-16,18-1 0,0 0 0,-17-17 16,17 19-16,0-2 0,-17 1 15,34-18 17,0 0-17,1 0 1,18 0-16,-19 0 0,0 17 15,2-17-15,-2 0 0,1 0 0,16 0 16,-15 0-16,-2 0 0,18 0 16,-16-17-1</inkml:trace>
  <inkml:trace contextRef="#ctx0" brushRef="#br0" timeOffset="130864.73">27358 6677 0,'71'-36'15,"-36"36"1,1-17-16,-2 17 0,108-18 16,-89 18-1,35-18-15,-53 18 0,1 0 16,52-18-16,-54 18 15</inkml:trace>
  <inkml:trace contextRef="#ctx0" brushRef="#br0" timeOffset="131405.2">28257 6553 0,'-71'17'32,"54"1"-32,17 0 0,-17-18 15,17 18-15,-18-1 0,18 0 16,0 2-16,0-2 15,0 1-15,0-1 0,18 0 0,-1-17 16,0 19-16,2-19 16,16 0-16,-18 0 0,2 0 15,15-19 1,-34 2-16,18 17 0,-18-17 0,0-1 16,0 1-16,0-2 15,-18 2-15,18 0 0,-17-1 16,-19 0-16,19 18 15,-1-18-15,1 18 16,-2 0-16,2 18 16,34 0 15,37-18-15,-37 0-16,2 0 15,15 18 1,-16-18-16,0 17 0,17 19 31,-18-36-31,1 17 0,-18 1 16,18-1-16,0 0 31,-1 2-15,0-19-16,19-19 15,-18 19-15,-1 0 16,2 0-16,15-17 0,-16 17 15,-1 0-15,19 0 0,-19 0 16,19 0 0</inkml:trace>
  <inkml:trace contextRef="#ctx0" brushRef="#br0" timeOffset="132427.34">27181 7805 0,'0'36'31,"0"-19"-31,0 18 16,19-16-16,-19-2 0,0 0 16,0 1-16,0-1 0,0 2 15,17-2-15,-17 0 16,35-17 15,-35-17-31,0 0 16,18-19-1,-18 18-15,0 1 0,18 17 16,-18-36-16,0 19 0,0-1 16,17 18-16,0 0 46,2 18-46,16-1 32,-18-17-32,19 19 15,-19-19 1,1 0 0,-1-19-1,2 19 1,-2 19 15,0-19-31,-17 17 16,18-17-1,18-17 1,-19 17-16,0 0 0,-17-19 16,18 19-16,0-17 15,0-1-15,-1 1 16,-17-2-16,17 19 0,-17-17 15,19 17 1,-19 17 0,0 2-1,0-2-15,-19 18 16,19-16-16,0-2 16,19-17-16,-19 17 0,0 1 15,17-1-15,18 2 16,-18-19-1,37 17-15,-18-17 16,-19 0-16,0 0 0,37 0 16,-37 0-16,0 0 0,19 0 15,-18 0-15</inkml:trace>
  <inkml:trace contextRef="#ctx0" brushRef="#br0" timeOffset="132849.41">27464 8352 0,'53'0'15,"-36"0"-15,18 0 0,54 0 16,-37-18-16,2 18 0,16-17 15,54 0-15,-18-19 16,35 1-16,-53-1 16,0-52-1,-35 0 1,-18-17-16,-35 15 16,-17 2-1,-54-17-15,-34 17 16,-37 0-16,54 52 15,-89 1-15,1-1 16,-71 36 0,177 0-16,-72 36 0,54-1 15,35-18-15,-18 54 16,54-35 0,0-1-16,34 18 0,0-18 15</inkml:trace>
  <inkml:trace contextRef="#ctx0" brushRef="#br0" timeOffset="133465.7">27622 7258 0,'107'18'0,"-55"-18"16,89 0-16,35 0 15,107 0-15,-88 0 16,-126 0-16,91-18 16,-91 1-16,38 0 15,-54-19-15,70-35 16,-87 36-16,-1-1 0,-1 2 16,56-142-16,-56 34 15,-34 1 1,-17-35-16,-54-1 0,18 71 15,-106-88 1,-122-36-16,52 90 16,-161-1-16,232 124 15,-124-37-15,0 54 16,-53 18 0,176 18-16,-335 104 15,54 89 1,316-140-16,-423 493 15,440-336 1,90-158-16,53 178 16,105-73-16,194 36 15,-35-105 1,-141-89-16,17 1 16,194 35-16,-16-19 15,-214-52-15,-16 18 0</inkml:trace>
</inkml:ink>
</file>

<file path=ppt/ink/ink16.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06:05.111"/>
    </inkml:context>
    <inkml:brush xml:id="br0">
      <inkml:brushProperty name="width" value="0.05292" units="cm"/>
      <inkml:brushProperty name="height" value="0.05292" units="cm"/>
      <inkml:brushProperty name="color" value="#0070C0"/>
    </inkml:brush>
  </inkml:definitions>
  <inkml:trace contextRef="#ctx0" brushRef="#br0">8378 3078 0,'230'-18'0,"-160"1"0,36 17 15,0-17-15,17 17 0,1 0 16,17-19-16,-18 19 0,284-17 15,-285 17-15,20 0 0,-18 0 16,17 0-16,-36 0 0,125 17 16,-125-17-16,2 0 0,-19 0 15,-18 0-15,1 0 0,-19 0 16,36 0-16,-52 0 0,-19 0 16,19 0-16,-18 0 0</inkml:trace>
  <inkml:trace contextRef="#ctx0" brushRef="#br0" timeOffset="292.68">9630 3184 0,'159'0'16,"-88"0"-16,335-18 16,-176 0-1,-125 18-15,0 0 0,107 0 16,54-17 0,-144 17-16,-51 0 15,-35 0-15,-19 0 0,1 0 0,-1 0 16,0 0-16,-17 17 0,19-17 15</inkml:trace>
  <inkml:trace contextRef="#ctx0" brushRef="#br0" timeOffset="2155.37">24994 3095 0,'54'0'16,"16"-17"-1,-35 17-15,1 0 0,-1 0 16,18 0-16,18 0 0,-19 0 0,18 0 15,-16 0-15,16 0 0,-16 0 0,86 0 16,-87 0-16,0 0 16,-18 0-16,18 17 0,-18-34 0,18 17 15,-18 0-15,1 0 0,-1 0 0,-17 0 16,0 0-16,16 0 0,2 0 16,-18 0-1</inkml:trace>
  <inkml:trace contextRef="#ctx0" brushRef="#br0" timeOffset="2591.92">25206 3219 0,'35'0'47,"-18"17"-47,19-17 0,-18 0 15,18 0-15,-2 0 0,20 0 0,-20 0 16,37 19-16,0-19 0,-18 0 0,88 17 15,-71-17-15,0 0 16,1 0-16,-18 18 0,18-18 0,-18 0 16,-18 0-16,18 0 0,-18 0 15,1 0-15,-1 17 0,-18-17 0,19 0 16,-19 0-16,1 0 0,18 0 16,-19 0-16,18 0 0,-17 0 15,0 0 1,-1 0-1,0 0 1</inkml:trace>
  <inkml:trace contextRef="#ctx0" brushRef="#br0" timeOffset="3297.15">24960 1914 0,'0'36'0,"0"-2"0,-19 1 16,19 18-16,0 18 0,-17 0 0,-1 17 16,-18 88-1,19-87-15,-18-1 0,17 17 0,-17-17 16,18 0-16,-1 2 0,-18-21 0,19 20 16,0-37-16,-2 55 15,2-72-15,17 1 0,-18-19 0,18 18 16,0-18-16,-17-17 0,17 19 0</inkml:trace>
  <inkml:trace contextRef="#ctx0" brushRef="#br0" timeOffset="4896.53">24960 1860 0,'34'-17'15,"20"17"-15,-20 0 16,54-17-16,-34 17 0,70-18 16,-54 18-16,70-18 15,-50 0-15,15 18 0,-17-17 0,17 17 16,-15-17-16,15 17 0,88-18 15,-86 0-15,-2 18 0,2 0 16,192-18 0,-229 18-16,1 0 0,0 0 15,-1-17-15,-16 17 0,-1 0 0,-1 0 16,-16 0-16,35 0 0,-54 0 16,18 0-16,-18 0 0,2 0 15,15 0-15,-16 0 0,18 0 16,-19 0-16,0 0 15,2 0 1,-2 0 0,1 0-1,-1 17 1,-17 1-16,0 0 16,0 0-16,0-1 15,0 18 1,0 18-16,0-36 0,-17 19 15,17-18-15,0 18 0,0-2 16,-18 54-16,18-52 0,-17 52 16,17-53-16,-19 1 0,19-1 15,0 1-15,0-2 0,-17 20 16,17 34-16,-17 0 16,-1-54-16,18 20 0,-18-18 0,18-2 15,-18 2-15,18-1 16,-17 18-16,17-18 0,0 1 0,-17-1 15,17 1-15,-19 16 0,19-16 16,0-19-16,0 18 0,-17 18 16,17-36-16,0 2 0,0 16 15,0-1-15,0-15 0,0-2 16,-18 1-16,18-1 0,0 2 16,0-2-16,0 0 15,0 1-15,-17-18 0,17 17 16,0 2-16,0-2 15,-17 0 1,17 1 0,0 0 15,0 0 0,-36-36-15,1 18 15,16 0-31,2 0 0,0-18 16,-18 18-16,-1 0 0,1 0 15,-1 0-15,2-18 0,-37 18 16,18-17-16,-18 17 0,18 0 0,-70-17 16,16 17-16,55 0 15,16-19-15,-16 19 0,16 0 16,-17 0-16,-16 0 0,33 0 15,-18 0-15,2 0 16,35 0-16,-19 0 0,19 0 16,-19 0-16,18 0 15,1 0-15,0 0 0,-19 0 0,18 0 16,1 0-16,0 0 16,-2 0-16,2 0 0,-1 0 15,1 0-15,-19-17 0,19 17 16,-19 0-16,18 0 15,1 0-15,0 0 0,-1 0 0,0-18 16,0 18-16,1 0 0,-19 0 16,19 0-16,-1 0 0,-16-17 0,15 17 15,-33 0-15,33 0 0,-33 0 16,34 0-16,0-17 16,-16 17-16,16 0 0,0 0 15,0 0-15,-16 0 0,15 0 0,-16 0 16,18 0-16,-19 0 0,19 0 0,-1 0 15,1 0-15,-2 0 16,-15 0-16,-2 0 0,18 0 16,1 0-16,0 0 0,-2 0 0,2 0 15,-35 0-15,33 0 16,2 0-16,-1 0 0,1 0 16,-2 0-16,2 0 15,0 0-15,-1 0 0,0 0 16,0 0-1,1 0-15,0 0 16,-1 0 15,0 0 16</inkml:trace>
  <inkml:trace contextRef="#ctx0" brushRef="#br0" timeOffset="7855.95">1976 4524 0,'53'0'16,"-36"0"-16,37 0 16,86 0-1,1 0-15,18-17 16,-53 17-16,105-17 15,18-2-15,-105 2 0,106-1 16,-106 18-16,-2-17 16,232-19-16,-249 36 15,2-17-15,-2 17 0,0 0 0,90-18 16,-107 18-16,-17-18 16,17 18-16,-18 0 0,-16 0 15,16-18-15,53 18 0,-87 0 0,-1 0 16,18 0-16,-18-17 0,-18 17 15,36 0-15,-35 0 16,0 0-16,17 0 0,0 0 16,-17 0-1,0 0-15,-1 0 16,-17-17-16,17 17 16,2 0-1,-2 0 1,1-18-1,-1 18 1,2 0-16,-2-18 16,0 18-16,18 0 0,-16-18 15,33 18 1,-34 0-16,17-17 0,18 17 0,-1-17 16,-33 17-16,16 0 15,-18 0-15,36-19 16,-35 19-1,-1 0-15,2 0 0,-2-17 0,0 17 32,1-18-32,0 18 0,-18-17 15,18 17-15,-18-19 0,17 19 16,-17-17-16,17 17 16,-17-17-16,0-1 15,19 1-15,-19-19 0,0 19 16,0-37-1,0 20-15,0 16 16,17 0-16,-17-17 0,0 18 0,0-19 16,0-35-16,0 36 15,0-1-15,18 2 0,-18 16 0,0-35 16,0 17-16,0 19 16,0-18-16,0 18 0,0-2 15,0-33-15,0 33 0,0-15 16,-18 16-16,18 1 15,0-2-15,0 2 0,0 0 16,-17-1 0,17 0-16,-19 0 15,19 1-15,-17 17 16,17-17-16,-17 17 16,-1 0-1,0-19-15,0 19 16,1 0-16,0 0 15,-2 0-15,2 0 16,-1 0-16,1 0 16,0 0-16,-19 0 0,1 19 15,16-19-15,2 0 16,-18 0-16,18 0 0,-36 0 16,17 0-16,1 0 0,-1 0 0,1 17 15,1-17-15,-20 0 0,18 0 16,-86 0-16,-2 17 15,72-17-15,-19 0 0,18 18 0,-1-18 16,2 0-16,16 0 0,-52 18 16,52-18-16,-16 0 0,16 0 15,2 0-15,-54 18 16,34-18-16,20 0 0,-2 0 16,1 17-16,16-17 0,-15 0 0,-2 0 15,18 0-15,-34 17 16,34-17-16,-17 0 0,18 0 0,-19 0 15,18 0-15,1 0 0,-19 19 16,-16-19-16,16 0 0,19 0 16,-19 0-16,1 0 0,0 0 15,-35 0-15,34 0 0,1 0 16,-1 0-16,-16 0 0,16 0 0,1 0 16,-1 0-16,2 0 0,-20 0 15,20 0-15,-2 0 0,1 0 0,-1-19 16,-52 19-16,53 0 0,-18 0 15,17 0-15,-16 0 16,-36 19-16,35-19 0,-18 0 0,-53 0 16,72 0-16,-19 17 15,18-17-15,18 0 0,-18 0 16,18 0-16,-18 0 0,0 0 0,18 0 16,-18 0-16,18 0 0,-1 0 0,-17 0 15,18 0-15,-18 18 16,-18-18-16,19 0 0,16 0 0,1 0 15,-1 0-15,2 0 0,-2 0 16,1 0-16,-1 0 0,1 0 16,1 0-16,-2 17 0,18-17 0,-52 0 15,16 0-15,20 17 0,16-17 16,-18 0-16,2 0 0,15 19 16,-16-19-16,18 0 0,-19 0 15,19 17-15,-18-17 0,16 0 0,-15 0 16,16 18-16,0-18 0,0 0 15,-16 17-15,15-17 0,2 0 16,-18 0-16,18 19 16,-2-19-1,2 0-15,17 17 16,-18-17-16,18 17 16,-17 1-16,17-1 0,0 2 15,0-2-15,0 18 0,0 1 16,0-2-16,0 37 0,17-18 15,-17 18-15,18-18 0,-18-1 0,0 2 16,17-1-16,-17-1 16,19 36-16,-2-35 0,-17-17 0,17 16 15,-17-16-15,0-18 0,18 16 16,-18-15-16,0-2 0,17 18 16,-17-16-1,19-2-15,-19 0 0,17 1 16,-17-1-1,0 2-15,17-19 16,1 34-16,-18-16 16,18-18-16,-18 18 15,18-18-15,-18 18 0,17-18 0,-17 17 16,17-17-16,2 17 0,-2-17 16,1 0-16,-1 19 0,19-19 15,-19-19-15,18 19 0,1 0 0,17 0 16,17-17-16,71-18 0,-53 17 15,1 0-15,17 1 0,-18 0 16,36-2-16,105-16 0,18 1 16,-125 15-16,126 2 15,-125 17-15,1-18 16</inkml:trace>
  <inkml:trace contextRef="#ctx0" brushRef="#br0" timeOffset="8947.25">7849 4330 0,'36'18'0,"-1"-18"16,1 0-16,-2-18 15,2 18-15,34 0 0,90-18 16,-72 18-16,17-17 0,0 17 16,2-17-16,34-1 0,-18 18 0,54-18 15,-18 0-15,17 1 0,159 0 16,-158 17-16,175-19 16,-211 2-16,213 17 15,-232-18-15,20 18 0,-1 0 16,230-17-16,-266-2 0,19 19 15,-36 0-15,88 0 16,-105-17-16,17 17 0,-52 0 16,16 0-16</inkml:trace>
  <inkml:trace contextRef="#ctx0" brushRef="#br0" timeOffset="9329.79">9454 4454 0,'88'-18'16,"36"1"-16,-53 17 16,34-19-16,2 2 0,-2 0 0,19 17 15,123-18-15,-124 18 16,1-18-16,17 18 0,-18 0 0,1 0 16,0 0-16,-2 0 0,-15 0 15,-2-18-15,1 36 0,52-36 16,-16 36-16,-89-18 0,-18 0 15,1 0-15,-19 0 0,19 0 16,-19 0-16,1 0 0,-1 0 16,0 0-16</inkml:trace>
  <inkml:trace contextRef="#ctx0" brushRef="#br0" timeOffset="44055.79">1658 12744 0,'0'18'93,"0"-1"-77,0 19-16,0-19 0,0 1 16,0-1-16,-17 2 0,17 15 15,-19-16-15,19 0 0,0 0 16,0-1-16,-17 0 15,17 1-15,0 0 16</inkml:trace>
  <inkml:trace contextRef="#ctx0" brushRef="#br0" timeOffset="44436.92">1941 13026 0,'0'36'0,"0"-19"15,-19 19 1,2-19-16,0-17 0,17 18 15,-18-1-15,0 2 0,0-19 16,1 34-16,0-34 0</inkml:trace>
  <inkml:trace contextRef="#ctx0" brushRef="#br0" timeOffset="45457.05">2276 12779 0,'0'36'31,"-18"-1"-15,18-18-1,0 19-15,0-19 16,0 1-16,-18 0 0,18 0 0,0 16 16,0-16-16,0 0 15</inkml:trace>
  <inkml:trace contextRef="#ctx0" brushRef="#br0" timeOffset="45686.35">2469 13044 0,'0'18'16,"0"-1"-1,0 0-15,-17 37 16,17-37-1,-18 2-15,18-2 0,0 0 16,-17 18-16</inkml:trace>
  <inkml:trace contextRef="#ctx0" brushRef="#br0" timeOffset="46830.88">3016 12832 0,'36'0'16,"-19"0"0,0 0-16,-17 18 0,19-18 15,-19 17-15,17 2 16,-17-2-16,-17 0 16,17 1-16,-19-18 0,19 18 15,-17 0-15,17-1 16,-17 0-1,34-17 1,-17 18-16,17-18 0,2 0 16,-19 18-16,17-18 15,1 18-15,-1-18 0,-17 17 16,19-17-16,-19 17 0,0 2 16,0-2-1,0 1-15,-19-18 0,2 17 16,-1 2-16,1-2 0,-2-17 15,2 17-15,0 1 16,-1-18-16,0 0 16</inkml:trace>
  <inkml:trace contextRef="#ctx0" brushRef="#br0" timeOffset="47035.33">3298 13062 0,'36'17'0,"-18"0"0,-18 2 15,0-2 1,0 1-16,0-1 0,0 2 0,0-2 16,-18 0-16,18 18 0,-18-16 15,0-2-15,18 0 0,-17 1 0,17 0 16,-17 0-16,17-1 15</inkml:trace>
  <inkml:trace contextRef="#ctx0" brushRef="#br0" timeOffset="47855.88">3686 12867 0,'0'-17'0,"18"-1"31,18 36-15,-19-18-16,0 17 15,2 2-15,-2-2 16,-17 0-16,0 1 0,0 0 16,0 0-16,-17 16 15,-2-16-15,19 0 0,-17-18 16,17 18-16,-17 16 0,-1-15 16,18-2-16,0 1 15,-18-18 1,36 17-1,0-17-15,-1 0 16,0-17-16,2 17 16,16 0-16,-18 0 0,19-18 15,-19 18-15,18 0 0,18-17 16,-35 17-16,18-19 0</inkml:trace>
  <inkml:trace contextRef="#ctx0" brushRef="#br0" timeOffset="48156.92">4321 13026 0,'19'0'0,"-19"18"16,0 0-1,0 16-15,-19 20 32,19-37-32,-17 2 0,-1-2 15,18 18-15,-17-18 16,17 2-16</inkml:trace>
  <inkml:trace contextRef="#ctx0" brushRef="#br0" timeOffset="48980.33">4640 12867 0,'17'-17'0,"0"17"15,18 17 16,-16 19-31,-19-19 16,0 1-16,0 18 16,-19-19-16,2 18 15,17-17-15,-18 0 0,1 16 16,0-15-16,17-2 0,-19 1 16,2-1-16,-1 2 15,18-2 1,18-17-1,-1 0-15,2 0 16,-2 0-16,18 0 16,-18 0-1,2 0-15,-2 0 0,0-17 16,19 17-16</inkml:trace>
  <inkml:trace contextRef="#ctx0" brushRef="#br0" timeOffset="49395.95">5045 13115 0,'17'17'15,"-17"1"-15,0-1 0,0 2 16,0-2-16,-17 18 16,0 1-16,-2-19 0,-16 36 15,18-18 1,-2-18-16</inkml:trace>
  <inkml:trace contextRef="#ctx0" brushRef="#br0" timeOffset="50695.72">5556 12886 0,'-35'17'15,"0"36"1,17-35-16,0-1 15,1 0-15,17 1 0,-17 0 16,-2 0-16,19-1 0,-17 0 16,17 2-16,0-2 15,17 1 1,19-1 0,-19-17-16,1 0 0,0 0 15,0 19-15,-1-19 0,0 0 16,37 0-16,-20-19 0,-15 19 15,-2 0-15,1 0 16,-18-17-16,17 17 0,2 0 16</inkml:trace>
  <inkml:trace contextRef="#ctx0" brushRef="#br0" timeOffset="50899.1">5592 12938 0,'0'36'16,"0"-19"-16,0 18 15,0-17-15,0 0 0,0-1 16,0 19-16,0-19 0,0 18 16,0-16-16,0-2 0,-18 0 0,18 1 15,0-1-15,0 2 0,0-2 16</inkml:trace>
  <inkml:trace contextRef="#ctx0" brushRef="#br0" timeOffset="51101.8">5892 13096 0,'17'0'0,"0"0"15,-17 71 1,0-35-16,0-19 16,0 1-16,0-1 0,-17 2 15,17-2-15,0 0 0,17 1 16</inkml:trace>
  <inkml:trace contextRef="#ctx0" brushRef="#br0" timeOffset="51620.68">6402 12796 0,'-17'0'15,"-35"19"1,16-2-16,1 1 16,17-1-1,18 2 1,18-2 0,0 0-1,-1-17-15,0 18 0,2-18 16,-2 18-16,18 17 15,-18-18-15,-17 1 16,0 0-16,0 17 16,-17-18-16,17 2 15,-17-2-15,-1 1 0,1-1 0,-19 2 16,1-2-16,17 0 0,0 1 16,-35-1-16</inkml:trace>
  <inkml:trace contextRef="#ctx0" brushRef="#br0" timeOffset="52360.57">546 13203 0,'36'0'0,"-18"0"16,35 0-1,-18-17-15,-18 17 0,2 0 16,-2 17 0</inkml:trace>
  <inkml:trace contextRef="#ctx0" brushRef="#br0" timeOffset="52540.87">546 13467 0,'36'0'0,"-18"0"15,18 0-15,-19-17 0,0 17 16,1 0-16,-1 0 0,2 0 15,-2 0-15</inkml:trace>
  <inkml:trace contextRef="#ctx0" brushRef="#br0" timeOffset="54516.75">3422 8582 0,'-17'0'15,"69"17"1,1-17-16,-18 0 0,1 0 15,17 0-15,17-17 16,71 17-16,-53 0 0,1 0 16,17-19-16,123 2 0,-124 17 15,19 0-15,-1-18 0,18 18 0,-17-17 16,0 17-16,-1-17 0,1 17 16,-1 0-16,125-19 0,-143 19 15,124 0-15,-141-17 16,0 17-16,54 0 0,-72 0 15,1 0-15,-18 0 0,-18 0 16,0 0-16,35 0 0,-51 0 16,-2 0-16,18 0 0,1 0 15,-36-18 1,17 18-16,1 0 0,-70 0 31,16 0-15</inkml:trace>
  <inkml:trace contextRef="#ctx0" brushRef="#br0" timeOffset="55392.04">2169 9692 0,'19'0'16,"33"0"-1,-16 0 1,-19 0-16,19 0 0,-1 0 0,35 0 16,1 0-16,0 0 0,-1 0 15,1 0-15,34-17 0,-17 17 16,18 0-16,0 0 0,17-17 0,1 17 0,0 0 15,-19-19-15,37 2 16,104-1-16,-122 18 0,-1-17 16,106 17-16,1-17 15,-124 17-15,0 0 0,-1 0 16,36-19-16,1 19 16,-89 0-16,-18 19 0,1-38 0,-2 19 15,-16 0-15,18 0 0,-19 0 16,0 0-16,1 0 0,0 0 0,0 0 15,-1 0-15,0 0 16,2 0-16</inkml:trace>
  <inkml:trace contextRef="#ctx0" brushRef="#br0" timeOffset="57300.68">2928 9887 0,'0'-19'0,"-18"38"15,18-2-15,-17 1 16,17-1-16,-17 2 0,-2-2 16,19 18-16,-17 1 0,-1-2 15,1 2-15,17 16 0,-19 2 0,19-20 16,0 37-16,0-35 16,19-1-16,-2 18 0,-17-18 0,18-17 15,18 53-15,-2-54 0,2 18 16,-1-16-16,-18-2 0,19 0 15,52 18-15,-53-35 0,1 19 16</inkml:trace>
  <inkml:trace contextRef="#ctx0" brushRef="#br0" timeOffset="58083.56">4640 10874 0,'17'18'16,"35"0"0,-33-18-1,-2 17-15,18 0 0,-17-17 0,34 36 16,-16-18-16,-1 35 0,-18-36 16,19 1-16,-18 18 0,-1-19 15,-17 18-15,19-17 0,-19 53 16,0-54-16,-19 71 15,2-53-15,-1 18 0,-18-17 16,19 16-16,-18-16 0,-1-1 0,19 1 16,-36 35-16,18-54 0,-1 18 15</inkml:trace>
  <inkml:trace contextRef="#ctx0" brushRef="#br0" timeOffset="59663.33">1234 14279 0,'0'-19'16,"0"55"15,0-18-31,0 52 16,0-52-16,0 0 0,0 17 16,-17-18-16,17 1 0,0 18 15,0-19-15,0 0 0,-17 2 0,17-2 16,0 1-16,0-1 0,0 2 15</inkml:trace>
  <inkml:trace contextRef="#ctx0" brushRef="#br0" timeOffset="59902.87">1482 14350 0,'18'0'16,"-18"34"15,17 20 1,-17-37-32,0 0 0,0 1 0,0 0 15,17 0-15,-17-1 0,0 0 16,0 2-16,18-2 0</inkml:trace>
  <inkml:trace contextRef="#ctx0" brushRef="#br0" timeOffset="60098.9">1482 14560 0,'35'-17'31,"0"17"-31,-17 0 0,0 0 16</inkml:trace>
  <inkml:trace contextRef="#ctx0" brushRef="#br0" timeOffset="60316.72">1976 14331 0,'17'0'16,"-17"-17"-16,-17 53 47,17 16-32,0-34-15,0 0 0,0-1 0,0 0 16,0 19-1,-18-18-15,18-1 0,18 0 16,-18 2-16</inkml:trace>
  <inkml:trace contextRef="#ctx0" brushRef="#br0" timeOffset="60579.72">2293 14350 0,'0'-19'0,"0"72"47,0-17-32,0-18-15,17 16 16,-17-16-16,0 0 16,0 0-16,0-1 0</inkml:trace>
  <inkml:trace contextRef="#ctx0" brushRef="#br0" timeOffset="60787.21">2188 14526 0,'17'-18'31,"0"18"-31,1-18 16,0 18-16,0 0 0,-1 0 15,19-18-15,-19 18 0,18 0 0,1 0 16,-19 0-16,18-17 0,36 17 15</inkml:trace>
  <inkml:trace contextRef="#ctx0" brushRef="#br0" timeOffset="61322.02">2805 14314 0,'71'-18'16,"-71"36"-16,17-1 31,-34 2-31,-2-2 16,19 0-16,-17-17 0,17 18 15,-18-18-15,36 18 16,-1 0 15,2-1-15,-2-17-16,-17 17 16,0 1-16,0 0 0,0 0 15,-17-18-15,17 17 16,-19 0-16,2 2 0,-1-19 15,18 17-15,-17-17 0,-2 18 16</inkml:trace>
  <inkml:trace contextRef="#ctx0" brushRef="#br0" timeOffset="61539.67">3105 14296 0,'17'-17'16,"1"34"15,-18 1-31,0-1 0,0 2 16,0-2-16,17 18 16,-17-17-16,0 0 0,0-1 15,0 0-15,0 1 0,0 0 0,0 0 16,0-1-16,0 0 0,0 2 15</inkml:trace>
  <inkml:trace contextRef="#ctx0" brushRef="#br0" timeOffset="62135.62">3052 14508 0,'34'0'16,"2"0"-1,-18 0-15,-1 0 16,2 0 0,15 0-16,1-18 15,-16 18-15</inkml:trace>
  <inkml:trace contextRef="#ctx0" brushRef="#br0" timeOffset="63728.89">3564 14296 0,'17'-17'0,"0"17"0,1 0 16,0 0-16,0 0 16,-1 0-16,0 17 0,1-17 15,18 18 1,-36-1-16,0 2 0,0 15 15,-18-16 1,0 18-16,0-19 16,1 0-16,0 1 15,-1 0 1,18 0 0,18-18-1,34 0 1,-34-18-1,0 18-15,-1 0 16,0 0-16,2 0 0,-2 0 0,18 0 0,-18-18 16,37 18-16,-37 0 15,2 0-15,15 0 0,-16 0 16</inkml:trace>
  <inkml:trace contextRef="#ctx0" brushRef="#br0" timeOffset="64215.2">4252 14279 0,'17'35'31,"-17"1"-16,0-19-15,0 0 16,0 1-16,0 18 16,0-19-16,0 0 15,0 19-15</inkml:trace>
  <inkml:trace contextRef="#ctx0" brushRef="#br0" timeOffset="64403.11">4145 14455 0,'17'0'16,"-17"-17"-16,19 17 0,-2 0 16,1 0-16,-1 0 0,19-18 15,-19 18-15,18 0 0,1-18 16,-19 18-16,1 0 0,18 0 0</inkml:trace>
  <inkml:trace contextRef="#ctx0" brushRef="#br0" timeOffset="65339.86">4621 14296 0,'36'-17'0,"-19"17"16,1 0-16,18 0 16,-19 17-16,0-17 0,1 18 15,0-1 1,-18 19-16,-18-1 15,18-17-15,0 0 16,-18-1-16,1 18 16,0-35-16,-2 36 15,19-19-15,-17-17 16,17 17-16,0 2 31,17-19-15,2 0-1,-2 0-15,18 0 0,-17 0 16,0 0-16,16 0 16,-15 0-16,-2 0 0,18-19 0,-18 19 15,2 0-15,-2 0 0</inkml:trace>
  <inkml:trace contextRef="#ctx0" brushRef="#br0" timeOffset="66094.73">5204 14226 0,'17'34'0,"-17"-15"15,0-2-15,0 1 0,17-1 16,-17 2-16,0-2 0,0 18 16,0-17-16,19 0 0,-19-1 15,0 0-15,0 1 0</inkml:trace>
  <inkml:trace contextRef="#ctx0" brushRef="#br0" timeOffset="66294.33">5116 14420 0,'0'-18'0,"17"18"16,0-18 0,1 18-16,0 0 0,34 0 15,-33-17-15,16 17 0,-18 0 0,19 0 16,-1 0-16,-18 0 0,19 0 15,-19 0-15,1-17 0</inkml:trace>
  <inkml:trace contextRef="#ctx0" brushRef="#br0" timeOffset="66752.22">5750 14260 0,'18'-17'16,"-36"53"0,1-36-1,0 17 1,17 1-16,-19-18 0,19 17 0,-17 2 16,-1-2-1,18 0-15,-17 19 16,34-18-1,-17-1 1,35-17-16,-16 0 16,33 0-1,-52 17-15,17-17 0,2 0 0,-2-17 16,0 17-16,19 0 16,-1 0-16,-18-17 15</inkml:trace>
  <inkml:trace contextRef="#ctx0" brushRef="#br0" timeOffset="66954.89">5892 14279 0,'-18'35'31,"18"-18"-15,0 2-16,0-2 0,-18 0 15,18 19-15,0-18 0,0-1 0,0 0 16,0 1-16,0 0 0,0 0 16,0 16-16,18-15 0</inkml:trace>
  <inkml:trace contextRef="#ctx0" brushRef="#br0" timeOffset="67224.59">6438 14172 0,'0'-17'15,"-17"70"1,17-35-1,-19-1-15,19 0 0,0 2 0,0-2 16,0 1-16,-17-1 0,17 2 16,0 15-16,0-16 0,-17 0 15,17 17 1</inkml:trace>
  <inkml:trace contextRef="#ctx0" brushRef="#br0" timeOffset="67426.7">6226 14438 0,'0'-18'0,"18"0"16,0 18 0,0 0-1,-1 0-15,0-18 16,2 18-16,33 0 15,-35 0-15,2-17 0,-2 17 16,1 0-16</inkml:trace>
  <inkml:trace contextRef="#ctx0" brushRef="#br0" timeOffset="67737.02">6668 14208 0,'-88'18'16,"70"-18"-16,-52 17 16,70 0-16,0 2 31,17 16-31,0-18 16,1 2-16,0-2 0,0 0 15,-18 1-15,17 0 16,-17 0-1,0-1-15,-17-17 0,17 17 16,-18 1-16,0 0 16,-17 0-16,18-1 15,-73 19 1</inkml:trace>
  <inkml:trace contextRef="#ctx0" brushRef="#br0" timeOffset="68559.78">546 14614 0,'54'0'0,"-37"-18"16,2 18-1,-2 0-15,0 0 16</inkml:trace>
  <inkml:trace contextRef="#ctx0" brushRef="#br0" timeOffset="68713.67">529 14738 0,'17'17'0,"2"-17"0,16 0 16,-18 0-1,2 0-15,-2 0 0,0 0 0</inkml:trace>
  <inkml:trace contextRef="#ctx0" brushRef="#br0" timeOffset="69434.69">2188 15090 0,'52'18'15,"-16"-18"1,-19 0-16,54 0 0,-37 0 0,20 0 16,-1 0-16,18 0 0,-1 0 15,-18 0-15,36 0 0,2-18 16,15 18-16,0 0 0,2 0 0,264-35 15,-231 35-15,37-17 16,-18 17-16,370-36 16,-353 36-16,0 0 0,1-18 15,-1 18-15,18-17 0,-17 17 16,316 0 0,-317 0-16,-34 0 0,-1 0 0,123 0 15,-157 17-15,15-17 0,-32 0 16,139 18-1,-194-1-15,-1-17 0,-15 0 0,-2 19 16</inkml:trace>
  <inkml:trace contextRef="#ctx0" brushRef="#br0" timeOffset="72553.97">4145 15531 0,'71'-17'0,"-54"17"0,2 0 0,-2 0 16,0-18-16,1 18 15,18 0 1,-19 18 0,0-1-1,-17 0-15,0 1 0,0 0 16,0 34 0,0-33-16,0 33 15,-17-52-15,17 19 16,0 15-1,0-16-15</inkml:trace>
  <inkml:trace contextRef="#ctx0" brushRef="#br0" timeOffset="72754">4216 15760 0,'17'-17'16,"36"17"0,35-17-1,-70-2-15,70 19 16,-70-17-16,17 17 0,-18 0 0,2 0 16,-2 0-16,1 0 0</inkml:trace>
  <inkml:trace contextRef="#ctx0" brushRef="#br0" timeOffset="73235.44">2452 16624 0,'70'0'0,"-16"0"16,-37 0-16,0 0 0,19 0 15,16 0-15,-33 0 0,-2 0 0,1 18 16,-1-18-16,0 0 0</inkml:trace>
  <inkml:trace contextRef="#ctx0" brushRef="#br0" timeOffset="73451.13">2522 16854 0,'-17'17'15,"34"-17"1,54 0 0,-54 0-1,19 0-15,-1 0 0,36-17 16,-37 17-16,20 0 0,-18-18 0,-2 18 15,20 0-15,-20-17 0,2 17 16,-1 0-16,1-17 0,-1 17 0,1 0 16,-2-19-16,-16 19 0</inkml:trace>
  <inkml:trace contextRef="#ctx0" brushRef="#br0" timeOffset="102191.5">4110 16572 0,'52'-36'0,"-33"19"0,16 17 15,1 17 1,-19 1-16,-17 0 0,17 0 0,1 34 16,-18-34-16,0 17 15,-18 18 1,1-35-16,17 18 0,-17-19 0,-2 18 15,-33 18-15,33-36 16,-15 19 0,34-18-16,-18-1 15,36 0 17,-1-17-17,19 0-15,-19 0 16,18 0-1,1 0-15,-19 0 0,1 0 16,-1-17-16,2 17 16</inkml:trace>
  <inkml:trace contextRef="#ctx0" brushRef="#br0" timeOffset="102362.85">4692 16871 0,'17'-17'47</inkml:trace>
  <inkml:trace contextRef="#ctx0" brushRef="#br0" timeOffset="103969.25">4992 16519 0,'36'0'16,"-2"-17"-16,-16 17 15,0 0-15,0 0 0,-1 0 0,0 0 16,37-19-16,-37 19 16,0 0-1,2 0-15,-19 19 16,0-2-16,17-17 0,-17 17 16,0 1-16,0 0 0,0 17 15,0 36-15,0-54 16,0 19-16,0 35 15,0-37-15,0 37 16,0-54-16,0 1 16,0 18-1,0-19 1</inkml:trace>
  <inkml:trace contextRef="#ctx0" brushRef="#br0" timeOffset="104200.48">5009 16907 0,'53'-17'15,"-35"17"-15,52 0 16,-52 0-16,0 0 0,17-19 15,18 19-15,-18 0 16,-16 0-16,-2 0 0,0 0 0,1 0 16,-1-17-16</inkml:trace>
  <inkml:trace contextRef="#ctx0" brushRef="#br0" timeOffset="104626.7">5733 16890 0,'-17'17'16,"-2"0"-16,-16 19 15,18-18-15,-2-1 0,2 0 16,0 1-16,-54 52 16,54-51-16,-19 16 0,18-18 15,-16 2-15,-2 15 16,18-16-16,1-1 0,0 2 0,17-2 16</inkml:trace>
  <inkml:trace contextRef="#ctx0" brushRef="#br0" timeOffset="104846.84">5821 16960 0,'-36'18'0,"19"-1"0,-1 0 16,-35 37-16,1-20 15,16 2-15,-17-1 0,1 1 0,-2 16 16,20-16-16,-90 69 16,89-69-16,-72 35 15,90-36-15,0-18 16</inkml:trace>
  <inkml:trace contextRef="#ctx0" brushRef="#br0" timeOffset="125636.47">4092 16572 0,'53'0'0,"-36"18"0,37-1 16,-1 0-16,-1 1 0,19 18 0,-1-2 16,142 37-1,-141-52-15,0 15 0,105 1 16,-123-16-16,0-19 16,-18 17-16,0 0 0,1-17 0,-19 18 15,0-18-15</inkml:trace>
  <inkml:trace contextRef="#ctx0" brushRef="#br0" timeOffset="125863.36">4869 16519 0,'0'0'0,"35"17"16,-18 1-16,107 52 15,-36-34 1,-35-1-16,-18-18 0,53 19 16,-52-1-16,-1-16 0,18 15 15,-18-34-15,-17 18 0,17-1 0,-18-17 16,19 19-16,16-19 16</inkml:trace>
  <inkml:trace contextRef="#ctx0" brushRef="#br0" timeOffset="127096.65">8485 14243 0,'0'53'16,"0"18"-1,0-36 1,-19-17-16,19 17 0,0-18 0,0 19 0,0-18 16,-17 35-1,17-18-15,0-18 0,0 2 16</inkml:trace>
  <inkml:trace contextRef="#ctx0" brushRef="#br0" timeOffset="127575.76">8625 14350 0,'0'-19'0,"0"38"16,0-55-16,36 53 31,-36 19-15,17-19 0,-17 1-16,0 0 0,0 0 0,0 16 0,0 2 15,0-18-15,-17-1 16,17 0-16,-17 19 15,17-18-15,-19-18 0,19 17 16,-17-17-16,17-35 31,17-1-15,2 19-16,-2-54 16,0 54-16,-17 0 15,18-1-15,-18-18 0,0 19 0,18 0 16,-18-2-1,0 2-15,-18-1 0,18 1 16,-18 17 0,1 0-16,0 0 0</inkml:trace>
  <inkml:trace contextRef="#ctx0" brushRef="#br0" timeOffset="127804.11">7832 14438 0,'-18'0'0,"1"-18"16,86 18 15,-33 0-31,-18-18 0,18 18 16,-2 0-16,20 0 0,-37 0 15,0 0-15,1 0 0,0 18 16,0-18-16</inkml:trace>
  <inkml:trace contextRef="#ctx0" brushRef="#br0" timeOffset="127959.45">7866 14631 0,'-17'0'16,"53"0"-1,-1 19 1,-18-19-16,2 0 0,15 0 16,37 17-16,-36-17 0,1 17 15</inkml:trace>
  <inkml:trace contextRef="#ctx0" brushRef="#br0" timeOffset="128226.94">8344 15108 0,'88'-18'16,"-71"0"-16,19 18 0,-19 0 0,18 0 15,-18 0-15,19 0 16,-18 0-16,18 0 0</inkml:trace>
  <inkml:trace contextRef="#ctx0" brushRef="#br0" timeOffset="128561.49">8308 15267 0,'36'-19'16,"-19"19"-16,36-17 15,-35 17-15,-1-17 0,0 17 16,2 0-16,-2 0 0,1 0 0,-1-18 16,36 18-1,-35 0-15,-1 0 0,-17 18 0,19-18 16,-2 0-16,0 17 16,1 19-1,-18-19-15,0 1 16,0-1-16,0 0 0,0 2 0,0-2 15,-18 1-15,18-1 0,0 2 0,0-2 16,0 0-16,0 1 16</inkml:trace>
  <inkml:trace contextRef="#ctx0" brushRef="#br0" timeOffset="128774.49">8344 15655 0,'17'-19'15,"0"2"-15,1 17 16,0 0-16,17-17 0,-18 17 16,2-18-16,16 18 0,53-18 15,-71 18-15,19 0 16,-19 0-16,1 0 0</inkml:trace>
  <inkml:trace contextRef="#ctx0" brushRef="#br0" timeOffset="129209.76">7197 16731 0,'52'-36'15,"1"19"1,-35 17-16,0-18 0,0 18 16,-1 0-16,0 0 15</inkml:trace>
  <inkml:trace contextRef="#ctx0" brushRef="#br0" timeOffset="129391.54">7214 16854 0,'-17'0'0,"17"17"0,17-17 32,37 0-1,-20 0-31,-16 0 0,18 0 0,-19-17 16,19 17-16,-1 0 0,-1-18 0,20 18 15</inkml:trace>
  <inkml:trace contextRef="#ctx0" brushRef="#br0" timeOffset="129739.81">7797 16483 0,'35'-17'0,"-18"17"32,0 0-32,2 17 15,-2 2-15,-34-2 0,17 0 0,0 1 16,-19 0-16,2 0 0,0 16 16,-1-16-16,1 0 0,-2 0 0,19-1 15,-17 0-15,0-17 0,17 19 0,-18-19 16,18 17-16,-18-17 0,18 18 15,0-1 1,18-17 0,17 0-16,18-17 15,-35 17 1,16-18-16,-15 18 16</inkml:trace>
  <inkml:trace contextRef="#ctx0" brushRef="#br0" timeOffset="129855.5">8132 16660 0,'17'0'31</inkml:trace>
  <inkml:trace contextRef="#ctx0" brushRef="#br0" timeOffset="130575.53">8466 16343 0,'19'-19'16,"-2"2"-16,-53 53 47,2-19-31,16 1-16,0-1 15,18 0-15,-18 2 16,18-2-1,18-17-15,-18 18 0,18-1 16,0 2 0,-1 15-16,0-34 15,-17 18-15,19-18 0,-19 18 0,0 0 16,0-1-16,0 18 16,-19-35-16,19 18 15,-17 0-15,-18 16 16,17-34-16,0 19 15,1-19-15,0 17 0,-2-17 0,19 18 0,-17-18 16,-1 0-16,1 0 0</inkml:trace>
  <inkml:trace contextRef="#ctx0" brushRef="#br0" timeOffset="130835.06">8608 16360 0,'17'-17'0,"2"17"32,-2 17-32,0-17 0,-17 18 15,18-1-15,-18 0 0,18 2 16,-18-2-16,18 1 0,-18-1 15,0 2-15,17-2 0,-17 0 0,0 1 16,0 0-16,17 0 0,-17-1 0,0 0 16,0 1-16,0 0 0,0 0 15</inkml:trace>
  <inkml:trace contextRef="#ctx0" brushRef="#br0" timeOffset="131010.16">8625 16766 0,'53'-35'31,"-35"35"-31,0 0 0,0 0 0,-1-19 16,0 19-16,19 0 0,-18-17 0,-1 17 15</inkml:trace>
  <inkml:trace contextRef="#ctx0" brushRef="#br0" timeOffset="131204.42">9261 16536 0,'-36'18'0,"19"-18"0,17 18 0,-18 0 16,0-1-16,-17 0 0,18 19 0,-54 16 15,35 2-15,-16-18 16,-1 16-16,18-16 0,-18 16 0,17-16 15,1-2-15,0 2 0,-1-1 16,-17 18-16,36-35 16,17-1-16,-18-17 0,1 19 0</inkml:trace>
  <inkml:trace contextRef="#ctx0" brushRef="#br0" timeOffset="131392.42">9154 16766 0,'-34'36'16,"-2"16"-1,1-16-15,-1-2 0,1 2 0,-123 104 16,104-104 0,2 18-16,-1-20 0,17 1 0,1 18 15,-1-35-15,-16 18 0,35-2 16</inkml:trace>
  <inkml:trace contextRef="#ctx0" brushRef="#br0" timeOffset="132009.73">8784 16695 0,'0'36'15,"0"-19"-15,0 1 0,0-1 0,0 19 16,0-19-16,0 18 0,-18 1 0,18-1 16,0 1-16,-17-2 0,17 54 15</inkml:trace>
  <inkml:trace contextRef="#ctx0" brushRef="#br0" timeOffset="135026.5">17586 7418 0,'194'-36'15,"-158"36"-15,-2 0 0,2 0 0,-18 0 16,16 0-16,-15 0 0,-2 0 0,1 0 16,-1 0-16,0 0 0,2 0 15,-2 17-15,1 2 0,-1-2 0,-17 0 16,19 1-16,-19 18 0,17 16 0,0 1 15,-17 0-15,0-1 0,18 19 16,-18 0-16,18 17 0,-18 1 0,0-1 16,18 0-16,-18 0 0,17 17 0,0-15 15,1 15-15,0-17 0,0 17 16,16-15-16,-15-2 0,-2 17 0,1-17 16,-1 0-16,2 1 0,-2-19 15,0 19-15,1-18 0,-1 17 0,2-18 16,-19 1-16,17-2 0,-17-15 15,17-1-15,-17 0 0,18-1 0,-18 55 16,0-72-16,0-1 0,0 2 16,0-1-16,0 1 15,-18-19-15,18 19 0,-17-18 0,0 16 0,-2-16 16,2 0-16,-1 0 0,1-18 0,-19 17 16,1 0-16,-1-17 0,2 19 15,-2-2-15,-16-17 0,-19 18 0,18-18 16,-35 17-16,17-17 0</inkml:trace>
  <inkml:trace contextRef="#ctx0" brushRef="#br0" timeOffset="135985.92">12524 7399 0,'-264'36'0,"228"-19"16,1-17-16,-1 18 0,1-1 15,-1-17-15,19 19 0,-18-2 0,17 0 16,-17 1-16,18 0 0,-19 34 16,18-16-16,18 16 0,-17 2 15,17-1-15,0 0 0,0-1 16,0 19-16,0 0 0,17 17 0,-17 0 16,0 1-16,18-1 0,-18-17 15,0 34-15,0-17 0,-18 0 0,18 19 16,-17-2-16,17 0 0,-17-17 0,-2 19 15,2-2-15,-1-17 0,1 19 16,-19-19-16,19 17 0,-19-17 0,1 2 16,18-2-16,-19-18 0,1 18 0,-1-17 15,19 0-15,-18-1 16,16-18-16,2 2 0,-18 16 16,35-35-16,-17-16 0,17-2 0,0 18 0,0-18 15,17 2-15,1-2 16,-1 0-16,19-17 0,-19 18 15,18-18-15,18 0 0,18 18 0,0-36 16,105 18-16,-70-18 16,0 1-16,-1 0 0,2-2 0,122 2 15,-124-1-15,19 1 16,-18 0-16,18-2 0</inkml:trace>
  <inkml:trace contextRef="#ctx0" brushRef="#br0" timeOffset="141768.57">13158 12727 0,'18'17'0,"-18"1"0,0-1 16,0 0-16,0 2 16,0-2-16,0 18 0,0-16 15,-18-2-15,18 0 0,0 1 16,0 0-16,-17 17 0,17 0 16,0-17-16,-17-18 0,17 18 15,0-1-15</inkml:trace>
  <inkml:trace contextRef="#ctx0" brushRef="#br0" timeOffset="142028.89">13336 13008 0,'17'0'0,"0"0"16,-17 18-16,18 0 15,-36-18-15,18 18 0,0-1 16,0 0-16,0 2 16,-17-2-16,17 1 0,-17-1 0,17 2 15,-19-2-15,19 0 0,-17-17 16,17 18-16,-18-18 0</inkml:trace>
  <inkml:trace contextRef="#ctx0" brushRef="#br0" timeOffset="142468.38">13741 12832 0,'17'35'16,"-34"18"15,17-35-31,0 0 0,-17 0 0,17-1 16,0 0-16,-19 19 15,19-18-15,-17-1 0,17 0 0</inkml:trace>
  <inkml:trace contextRef="#ctx0" brushRef="#br0" timeOffset="142768.59">14058 13044 0,'0'18'31,"0"-36"-31,-17 53 0,17-18 0,-19 2 0,19-2 16,-17 1-16,17-1 0,-17 2 16,-1-2-16,18 0 0,-17 1 15,17-1-15,-19 2 0</inkml:trace>
  <inkml:trace contextRef="#ctx0" brushRef="#br0" timeOffset="143565.66">14464 12815 0,'88'0'0,"-70"0"16,0 0-16,-1 17 16,0 1-16,-17-1 0,0 2 15,0-2-15,-17 0 16,17 1-16,-17 0 0,-1 0 15,0-1-15,0 0 16,1 1-16,0 0 16,-2 0-1,19-1 1,19-17 0,-2 0-16,0 17 15,19-17-15,-18 0 16,-1 0-16,0 0 15,1 0-15,18 0 16,-19 0-16</inkml:trace>
  <inkml:trace contextRef="#ctx0" brushRef="#br0" timeOffset="143800.82">14905 13026 0,'17'0'0,"1"0"16,0 18-1,-18 0 1,0-1-16,-18 54 31,0-54-31,-16 19 16,15-19-1,2 18 1</inkml:trace>
  <inkml:trace contextRef="#ctx0" brushRef="#br0" timeOffset="144707.06">15276 12920 0,'17'-17'0,"18"17"0,-17 0 16,17 0-1,-18 0-15,2 17 0,-2-17 16,1 18-1,-1 0-15,-17 0 0,0-1 16,-17 0-16,17 1 16,-18-18-16,1 18 0,17 0 0,-19-18 15,2 17-15,0 0 0,-1-17 16,0 19-16,0-2 16,18 1 15,18-1-16,0-17-15,0 0 0,-1 0 16,0 19-16,2-19 0,-2 0 16,1 0-16,-1-19 15</inkml:trace>
  <inkml:trace contextRef="#ctx0" brushRef="#br0" timeOffset="144912.39">15734 13115 0,'0'0'16,"18"17"-16,-1-17 16,-17 18-16,0-1 15,17 2-15,-34-19 16,17 17-16,0 18 0,-17-18 16,17 2-16,-18-2 0,0 0 0,18 1 15,-18 0-15,-16 0 0,16-1 16,18 0-16,-18-17 15</inkml:trace>
  <inkml:trace contextRef="#ctx0" brushRef="#br0" timeOffset="145789.31">16193 12886 0,'0'-19'0,"17"19"16,1 0-16,-1 0 15,-17 19-15,19-19 16,-19 17-16,-19 0 16,19 1-1,-17 0-15,-1 0 16,1-18-16,17 17 0,-19-17 16,2 17-16,34 1 46,19 0-30,-18 0-16,-1-18 16,-17 17-16,19 0 15,-19 2 1,0-2-16,-19-17 16,2 18-16,-1-1 15,1-17-15,-2 19 16,2-19-16,17 17 15</inkml:trace>
  <inkml:trace contextRef="#ctx0" brushRef="#br0" timeOffset="146000.62">16404 13079 0,'70'17'0,"-70"2"16,19-2-16,-38 18 16,2 1-1,0-1-15,-1-18 16,-18 19-16,2-1 16,34-17-16,-19-18 0,19 18 0</inkml:trace>
  <inkml:trace contextRef="#ctx0" brushRef="#br0" timeOffset="146719.18">17181 12920 0,'17'0'16,"-17"-17"-1,-17 52 16,-2-17-15,2-18-16,0 18 16,17-1-16,-18 0 15,18 1-15,0 0 16,0 0 0,18-1-1,-1-17-15,0 0 0,37 17 16,-37-17-16,19 0 15,-19 0-15,1 0 0,18 0 16,16 0-16,-35 0 0,19 0 16,-19-17-16,1 17 0,0 0 15,0-17-15,-1 17 16</inkml:trace>
  <inkml:trace contextRef="#ctx0" brushRef="#br0" timeOffset="146939.92">17428 12886 0,'0'17'31,"0"0"-31,0 1 0,0 0 16,0 0-16,0-1 0,0 0 15,0 19-15,0-18 0,0 16 16,0-15-16,0-2 0,0 1 15,0-1-15,0 2 0,0-2 16,0 0-16,0 1 0,0-1 16</inkml:trace>
  <inkml:trace contextRef="#ctx0" brushRef="#br0" timeOffset="147214.65">17833 13115 0,'17'17'16,"-17"1"-16,-17 18 15,17-19-15,0 0 16,-17 1-16,17-1 0,0 2 16,-18-2-16,18 0 0,-18 1 0</inkml:trace>
  <inkml:trace contextRef="#ctx0" brushRef="#br0" timeOffset="147743.39">18433 12886 0,'-71'17'15,"54"-17"1,-2 0-16,-15 17 0,16-17 15,-35 18 1,53 0-16,-17-18 16,17 18-16,17-1 15,0-17 1,1 0-16,-18 17 0,36-17 16,-19 18-16,0-18 15,2 18-15,-2-18 0,1 18 0,-1-1 16,2-17-16,-19 17 0,0 2 15,-19-2-15,19 1 16,-17-1-16,-1 2 0,1-19 16,-19 17-16,19 0 0,-19 1 15,18-18-15,-16 17 0,-20 19 16,1-19-16,18 1 0,-1 0 16</inkml:trace>
  <inkml:trace contextRef="#ctx0" brushRef="#br0" timeOffset="150366.88">13017 13415 0,'0'-19'0,"19"19"16,15 0-1,-16 0 1,0 0-16,17 0 0,-18 0 0,54 0 16,0 0-16,-18 0 15,-18 0-15,18 0 0,0 0 16,18 0-16,-19 0 0,19 0 0,-18 0 15,0 0-15,-1 0 0,2 0 16,-1 0-16,-18 0 0,18 0 16,-18 0-16,18 0 0,18 0 0,-37 0 15,-16 0-15,0 0 16,17 0-16,-18 0 0,2 0 0,-2 0 16,1 0-16,-1 0 0,2 0 15,-2 0 1,0 0-16,1 0 15,-1 0-15</inkml:trace>
  <inkml:trace contextRef="#ctx0" brushRef="#br0" timeOffset="151294.53">16298 13467 0,'106'0'0,"-88"0"15,17 0-15,1 0 0,-1 0 0,-1 0 16,20 0-16,-18 0 0,34 0 16,0 0-16,0 0 0,1 0 0,70 0 15,-70 0-15,0 0 16,17-17-16,-18 17 0,1 0 15,70 0-15,-70 0 0,0 0 0,-19 0 16,1-18-16,-18 18 0,18 0 16,-17 0-16,-1 0 0,18-17 0,-18 17 15,35 0-15,-52 0 16,52-19-16,-52 19 16,18 0-16,-2-17 15,-15 17-15,-2 0 0,1 0 16,-1 0-16</inkml:trace>
  <inkml:trace contextRef="#ctx0" brushRef="#br0" timeOffset="152641.63">15293 13484 0,'35'0'0,"-17"0"15,0 0 1,-1-17-16,19 17 16,-19 0-16,1 0 15,18-17-15,-19 17 16,0 0-16,-17-18 0,18 18 16,-1 0-16,-17-17 0,19 17 15,-2-19-15,0 19 0,1-17 16,0 0-1,0-1-15,-1 0 16,-17 0-16,17 18 0,-17-17 16,18 17-16,-18-17 0,18-2 15,-18 2-15,18 17 16,-18-35-16,17 35 0,-17-17 16,0-19-16,0 18 0,17 1 15,-17-2-15,0 2 0,0 0 16,0-1-16,0 0 0,0 0 0,0 1 15,0 0-15,-17-1 0,17 0 16,0 0-16,-17 1 0,17 0 16,-18-2-16,18 2 0,-18 17 15,0-35-15,18 16 0,-17 19 16,17-17-16,-17 0 0,-1-1 16,0 1-16,0-2 15,1 19 1,17-17-16,-17 17 0,-19-17 15,18 17-15,-16 0 0,15-18 16,2 18-16,-1 0 16,-18 0-16,19 0 0,0 18 15,-19-18-15,18 0 0,1 17 16,-18-17-16,17 17 0,-17 2 16,18-2-16,-19 18 15,1-18-15,16 19 0,2-18 0,17-1 16,-17 19-16,-1-19 15,1 37-15,-2-37 0,19 18 0,0-17 16,-17 17-16,17 1 16,0-1-16,17-18 0,-17 19 15,19-1-15,-19 1 0,17-19 16,-17 0-16,18 1 0,-1 0 0,0 0 16,2-1-16,16 19 0,-18-19 15,2-17-15,15 18 0,-16-1 16</inkml:trace>
  <inkml:trace contextRef="#ctx0" brushRef="#br0" timeOffset="153406.5">15557 14014 0,'0'-18'16,"19"54"-1,-19-18-15,0-1 0,-19 18 16,19 54 0,0-54-16,0-1 0,0-15 15,0 16-15,0 1 0,0 16 16,0-34-16,0 17 0,0-18 16,0 1-16,0 0 0,0 17 15,0 1-15,0-19 16,0 1-16</inkml:trace>
  <inkml:trace contextRef="#ctx0" brushRef="#br0" timeOffset="153806.42">15417 14490 0,'-19'0'0,"38"36"32,-19-19-17,0 0-15,17 2 0,-17-2 16,0 1-16,0-1 0,18 2 15,-18-2-15,0 0 0,17 1 0,19 18 16,-36-19 0,17-17-16,1 0 15,18 0-15,-19 0 0,0-17 16,19-19-16,-18 36 16,-1-18-16,0 1 0,1 17 15,0-17-15,0 17 0,-18-19 0,17 19 16,0-17-16,2-1 15,-2 18-15</inkml:trace>
  <inkml:trace contextRef="#ctx0" brushRef="#br0" timeOffset="154695.4">15240 15726 0,'88'-36'16,"-70"36"-16,17 0 0,-18 0 16,-17 17-16,19-17 0,-2 19 0,1-19 15,-18 17-15,0 18 16,0 1-16,-18-19 0,18 0 16,-36 19-16,19-1 15,0-18-15,-1 1 0,0 0 16,0 0-16,-16 16 15,16-15-15,0-2 0,18 1 16,18-18 15,17 17-15,-18-17-16,1 0 0,0 0 0,17-17 16,-18 17-16,19 0 0,-18 0 15,-1 0-15,2 0 0,15 0 0,-16 0 16,-1-18-16,19 18 0,-19 0 15,1 0-15,0 0 16</inkml:trace>
  <inkml:trace contextRef="#ctx0" brushRef="#br0" timeOffset="155535.71">14922 16448 0,'176'0'16,"-140"0"-16,35-17 15,105-2-15,-123 19 16,89-34-16,-90 34 15,72-35-15,-54 16 16,-16 19-16,51-34 0,-52-2 16,-1 18-16,55-16 0,-72 15 15,53-33-15,-52 35 16,-2-19-16,-16 18 0,0-18 0,34-16 16,-33 16-16,-2-16 15,1 16-15,-18 2 0,0-2 16,17 18-16,-34-16 0,17-2 15,-18-35-15,1 36 0,-2-1 0,2 2 16,-18-2-16,17 1 16,-17 18-16,-1-19 0,1 1 0,1 16 15,-2 2-15,1-18 0,-18 18 0,-1-2 16,2 2-16,-1 0 0,0 17 16,-70-36-16,52 36 0,1 0 15,16-18-15,-16 18 0,-1 0 0,0 18 16,1-18-16,0 18 0,-19-18 15,18 35-15,-87 1 0,87-1 16,2-1-16,15 2 0,-16-1 16,-36 36-16,70-35 15,2-2-15,-20 20 0,20-1 0,-2-18 16,1 1-16,16 16 0,2-16 16,0 69-16,-1-52 0,18 35 15,0-34-15,18-2 0,-18-16 16,17 16-16,36 37 15,-18-37-15,1-16 0,16-1 0,1 18 16,18-36-16,-18 19 0,18-18 0,52 16 16,-70-16-16,18 0 15,-18 0-15,16-18 0,-15 0 0,-1 17 16,35-34-16,-53 17 0,1 0 16,-2 0-16,2-18 0,-1 18 15,-16-18-15,15 0 0,-16 18 0,18 0 16,-36-17-16,17 17 0,0-17 15</inkml:trace>
  <inkml:trace contextRef="#ctx0" brushRef="#br0" timeOffset="158024.46">24324 8387 0,'194'0'16,"-140"0"-16,-2 0 16,18 0-16,1-17 0,34 17 0,2 0 15,122 0-15,-123 0 16,18 17-16,17-17 0,-18 0 0,18 0 15,0 17-15,35-17 0,-34 0 0,34 0 16,-35 19-16,0-19 0,1 0 0,-1 0 16,-18 17-16,18-17 0,-17 0 15,-1 0-15,142 18 0,-160-18 16,19 0-16,-18 0 0,18 0 16,-19 17-16,0-17 0,2 0 0,-2 0 15,54 0-15,-88 0 16,-1 0-16,1 0 0,0 0 0,-1 19 15,1-19-15,-19 0 0,-16 0 16,52 0-16,-35 0 0,-18 0 16,1 0-16,-1 0 0,1 0 0,-2 0 15,-16 0-15,18 0 0,-19 0 0,0 0 16,1 0-16,0-19 16,-71 19 15</inkml:trace>
  <inkml:trace contextRef="#ctx0" brushRef="#br0" timeOffset="158590.87">25118 8634 0,'282'0'0,"-124"0"0,-68 0 16,15 18-16,18-18 0,1 0 0,0 0 15,-2 0-15,214 18 16,-160-18-16,-34 0 0,34 0 0,-35 0 15,35 0-15,-35 0 0,1 0 16,-1 0-16,0 17 0,123-17 16,-140 0-16,-1 0 0,177 17 15,-212-17-15,53 0 16,-87 0-16,-20-17 0,2 17 16,-1 0-16,1 0 0,-1 0 15,-1 0-15,-15 0 0,-2 0 16,1 0-16,-1 0 15,2-17-15,-2 17 0</inkml:trace>
  <inkml:trace contextRef="#ctx0" brushRef="#br0" timeOffset="161870.75">24306 12815 0,'0'35'15,"0"-18"-15,0 2 16,0 33 0,-17-16-16,17-19 0,0 0 15,-17 19-15,17-1 16,0-18-16,0 2 0,0-2 16</inkml:trace>
  <inkml:trace contextRef="#ctx0" brushRef="#br0" timeOffset="162147.41">24589 13062 0,'17'17'16,"-17"19"0,-17-19-16,17 1 15,-17-1-15,-2 2 16,19-2-16,-17 0 0,-1 1 16,1-1-16,-2 2 0,19-2 0,-17 0 15,0-17-15,17 18 0,-18-18 16</inkml:trace>
  <inkml:trace contextRef="#ctx0" brushRef="#br0" timeOffset="162802.85">25082 12850 0,'0'36'32,"-17"16"-17,17-34-15,0 0 0,0-1 16,-17 0-16,17 1 0,-19 0 15,19 0-15,0-1 0,-17-17 0,17 17 16,0 2-16</inkml:trace>
  <inkml:trace contextRef="#ctx0" brushRef="#br0" timeOffset="163015.21">25206 13079 0,'35'36'0,"-35"-19"15,-17 18 1,17-16-16,0 15 16,-18 1-16,18-16 15,0-2-15</inkml:trace>
  <inkml:trace contextRef="#ctx0" brushRef="#br0" timeOffset="163446.71">25770 12920 0,'18'0'0,"0"-17"0,0 34 15,-1 1 1,-17 0-1,-35 52 1,17-52-16,0-18 16,1 35-16,0-35 0,17 17 15,-19 2-15,2-2 16,17 1 0,0-1-1,17-17 1,2 0-16,-2 0 15,0 0-15,1 19 16,0-19-16,0 0 0,16-19 16</inkml:trace>
  <inkml:trace contextRef="#ctx0" brushRef="#br0" timeOffset="163630.65">26088 13079 0,'17'0'0,"2"0"15,-19 17 17,0 2-32,0-2 15,-19 37 1,19-37-16,-17 18 16,17-18-16</inkml:trace>
  <inkml:trace contextRef="#ctx0" brushRef="#br0" timeOffset="164151.39">26688 12815 0,'70'0'0,"-52"0"16,-1 17-16,-17 1 16,-17 35-1,-18-18 1,16-17-16,19 0 0,-17-18 15,0 17-15,-1 0 0,18 1 16,-17-18-16,17 18 16,0 0-1,17-18 1,1 0-16,-1 0 0,36 0 16,-35 0-16,-1 0 15,2 0-15,33 0 16,-34 0-16</inkml:trace>
  <inkml:trace contextRef="#ctx0" brushRef="#br0" timeOffset="164335.5">27129 13008 0,'17'0'0,"1"18"15,-18 18 1,-18-2-1,18-15-15,-17 16 16,0-18-16,17 2 0,-19-2 16,2-17-16,17 17 0,-18 1 0,18-1 15</inkml:trace>
  <inkml:trace contextRef="#ctx0" brushRef="#br0" timeOffset="164909.43">27852 12832 0,'36'-17'0,"-72"34"0,106-17 16,-52 0 0,-36 35-1,1-16 1,0-2 0,-2 0-16,2 1 15,34-18 16,-17 18-31,19-18 0,-19 18 0,17-18 16,0 17-16,-17 0 16,18-17-16,-18 18 15,0 0-15,-18 0 16,18-1-16,-17 0 0,0-17 16,17 19-16,-19-19 15,19 17-15,-17-17 0</inkml:trace>
  <inkml:trace contextRef="#ctx0" brushRef="#br0" timeOffset="165075.51">28152 13026 0,'17'89'16,"-34"-72"-1,-1 18-15,1-16 16,17-2-16,-19 0 0,2 1 16,17-1-16</inkml:trace>
  <inkml:trace contextRef="#ctx0" brushRef="#br0" timeOffset="165635.24">29052 12903 0,'-18'35'15,"0"-17"-15,0-18 16,-16 35-16,15-18 16,2-17-16,-1 18 0,1 0 15,-2 0-15,2-18 0,-18 17 0,35 0 16,-17 2-16,17-2 15,-19-17-15,19 18 16,19-18-16,-19 17 0,35-17 16,-1 19-1,-15-19-15,-2 0 0,1 0 0,18 0 16,-19 0-16,0 0 0,37 0 16,-37-19-16,0 19 0,1 0 15,0-17-15</inkml:trace>
  <inkml:trace contextRef="#ctx0" brushRef="#br0" timeOffset="165828.45">29193 12938 0,'0'-18'16,"0"72"15,0-37-31,-19 36 16,19-35-16,0 16 0,-17 2 15,17-1-15,-17 1 16,-1-19-16,18 18 16,0 1-16</inkml:trace>
  <inkml:trace contextRef="#ctx0" brushRef="#br0" timeOffset="166043.35">29440 13132 0,'17'0'0,"-17"18"15,0-1-15,0 2 16,0-2-16,-17 0 16,17 1-16,-247-318 0,494 617 0,-265-281 15,0-36-15,18 17 0,0 1 0,-18 0 16,18 0-1</inkml:trace>
  <inkml:trace contextRef="#ctx0" brushRef="#br0" timeOffset="166478.68">29933 12974 0,'-35'0'0,"17"17"15,0-17-15,1 0 16,17 17-16,-17-17 0,-1 18 16,36 0-1,-1 0 1,36 16 0,-35-15-16,-1-2 15,-17 1 1,0-1-16,0 2 15,-17-2-15,-1-17 16,18 17-16,-18 1 0,0-18 0,-16 17 16,16 2-16,0-19 15,0 17-15,1 0 0,0-17 16</inkml:trace>
  <inkml:trace contextRef="#ctx0" brushRef="#br0" timeOffset="169060.64">25753 13415 0,'35'0'46,"1"0"-46,-2 0 16,37 0-16,-35 0 0,16 0 16,89 0-16,-87 0 15,16 0-15,72 0 0,-73-19 16,2 19-16,-1 0 0,1 0 16,70 0-16,-87 0 0,-2 0 15,18-17-15,-16 17 16,-37 0-16,2 0 0,-2 0 0,-70 0 31</inkml:trace>
  <inkml:trace contextRef="#ctx0" brushRef="#br0" timeOffset="169705.82">24272 13626 0,'476'0'31,"-354"-18"-15,-86 18-16,-1 0 0,1 0 0,-19 0 15,1 0-15,18 0 0,-19 0 16,0 18-16,-17-1 16,18-17-16</inkml:trace>
  <inkml:trace contextRef="#ctx0" brushRef="#br0" timeOffset="170328.42">25594 14684 0,'-17'-17'0,"17"69"16,0-33-16,0 69 16,0-71-16,0 19 0,-19-19 15,19 1-15,0-1 0,0 0 16,0 19-16,0-18 0,-17-1 15,17 2-15,0-2 16,0 0-16,-17 1 16</inkml:trace>
  <inkml:trace contextRef="#ctx0" brushRef="#br0" timeOffset="170842.68">25594 14650 0,'35'-19'16,"-16"19"-16,-73 19 0,142-55 15,-70 36-15,-1 0 16,2 0-16,-19 17 0,17-17 0,-17 19 16,0-2-1,-17 0-15,17 1 0,-19-1 16,19 2-16,-17-19 0,17 17 15,-18-17-15,18 17 0,-17 1 16,34 0 0,-17 0-16,18-18 0,-18 17 15,17-17-15,2 36 16,-19-19-16,17-17 0,-17 18 16,0 16-16,0-15 0,0-2 15,-17 18 1,-2 1-16,2-19 0,-1 1 15,1 0-15,0-18 0,-2 18 16,2-18-16,-1 17 0,1-17 16,-2 0-1</inkml:trace>
  <inkml:trace contextRef="#ctx0" brushRef="#br0" timeOffset="171025.75">25894 14860 0,'35'36'0,"-35"-18"0,0 35 16,0-36 0,0 1-16,0-1 0,-17 19 15,17-19-15,-18 1 0,18 0 16</inkml:trace>
  <inkml:trace contextRef="#ctx0" brushRef="#br0" timeOffset="171173.73">25894 14755 0,'-18'-17'0</inkml:trace>
  <inkml:trace contextRef="#ctx0" brushRef="#br0" timeOffset="172011.67">26229 14843 0,'0'36'15,"0"-19"1,-17 1-16,17-1 0,0 0 15,0 19-15,0-18 16,0-1-16,-18 2 0,18-2 16,0 0-16,35-34 47,-35 0-47,17 17 15,-17-19-15,19 2 0,16-1 31,-1 1-15,-15 17-16,-2 17 16,1-17-1,-1 18 1,-17-1 0,19-34 30,-2 17-30,0 0 0,1 0-1,-1 0-15,2 17 16,-2-17-16,0 0 16,-17 19-16,18-19 15,0 0-15</inkml:trace>
  <inkml:trace contextRef="#ctx0" brushRef="#br0" timeOffset="172304.61">26741 14914 0,'0'34'31,"0"-15"-31,17 16 16,-17-18-16,18-17 15,-18 19-15,17-2 16,2-17-16,-2 0 16,0 0-1,1-17 1,-18-2-16,0 2 16,-18 17-16,18-35 15,-17 35-15,0-19 16,-2 19-16,2 0 15,-1 0 1</inkml:trace>
  <inkml:trace contextRef="#ctx0" brushRef="#br0" timeOffset="172722.62">27200 14579 0,'17'17'16,"-34"-34"-16,34 69 0,-17-33 15,0 15-15,0-16 0,0-1 16,0 2-16,0-2 0,0 36 16,0-35-16,0-1 0,0 0 15,0 2-15,0-2 0,0 1 16,17-18-16,-17 17 15,-34-34 32,15 17-31,2 17-16,-1-17 16,1 17-16,0-17 0,17 19 15,-19-19-15,19 17 0,0 1 16,0-1-1,19 2 1,-2-2-16,0-17 16,1 0-16,-1 0 15,2 0-15,-2 0 0,0-17 0,1 17 16</inkml:trace>
  <inkml:trace contextRef="#ctx0" brushRef="#br0" timeOffset="173458.54">27693 14879 0,'-17'-19'16,"-19"19"-1,18 19 1,1-2-1,0-17 1,17 18-16,-19-18 16,19 17-16,0 0 31,19 2-15,-2-19-16,0 0 15,1 0 1,0 0-16,0 0 15,-1 0 1,-17-19-16,17 19 0,2-17 16,-19 0-16,17 17 15,-17-18-15,18 18 16,-18-17-16,17 17 16,0 17 15,-17 1-16,0-1-15,19 0 16,-19 2 0,17-19-16,18 0 31,-35-19-31,36 2 0,-19 0 16,1-1-16,0 1 0,0-19 15,-1 19-15,0-19 0,1 1 0,0-18 16,17 1-16,-18 16 0,2-18 15,-2 2-15,1-1 0,-1 18 0,0-18 16,2 0-16,-19 35 0,0 1 16,17 17-16,-17-19 0,-17 73 31,-2-18-31,19-2 0,-17-16 16,17 18-16,-35 69 15,35-88-15,0 19 16,0-18-16,0 18 0,0-19 0,0 0 15,0 1-15,0-1 0,0 2 16,0-2-16,0 0 0,-17 1 16,17 0-16,-19 0 15</inkml:trace>
  <inkml:trace contextRef="#ctx0" brushRef="#br0" timeOffset="173801.91">25788 15531 0,'36'-17'0,"-2"17"16,2-18-16,35 18 0,88-18 16,-54 0-16,0 18 0,2-17 15,-2 0-15,337-37 16,-337 54-16,-17-17 16,1-2-16,-18 19 0,-2-17 15,-15 0-15,-18 17 0,-2 0 0,-16 0 16,-1-18-16,2 18 0,-2 0 0</inkml:trace>
  <inkml:trace contextRef="#ctx0" brushRef="#br0" timeOffset="174102.64">25912 15690 0,'158'17'15,"-87"-17"-15,0 0 0,-1 0 0,1-17 16,17 17-16,17-18 0,-17 18 16,19-17-16,-19 17 0,0-19 0,-17 19 15,-1-17-15,1 17 0,-19-17 0,1-1 16,1 18-16,-20-18 0,-15 18 15,16 0-15,-1-18 16,2 1-16,-18 17 0,-1 0 0</inkml:trace>
  <inkml:trace contextRef="#ctx0" brushRef="#br0" timeOffset="176098.83">24518 16483 0,'0'53'31,"0"-35"-31,-17 52 16,-2-52-16,19 0 15,0 0-15,-17-1 0,17 0 0,0 19 16,-17-18-16,17-1 16,0 2-16,0-2 0,0 0 15,0 1-15</inkml:trace>
  <inkml:trace contextRef="#ctx0" brushRef="#br0" timeOffset="176316.87">24765 16748 0,'17'18'16,"-34"18"0,17-19-16,-17 0 15,17 1-15,-18-1 0,18 2 16,-18-2-16,18 0 0,-18 1 15,18 0-15,0 0 0,-17-1 0,0 0 16,17 1 0</inkml:trace>
  <inkml:trace contextRef="#ctx0" brushRef="#br0" timeOffset="176607.44">25082 16519 0,'18'-17'0,"-18"34"31,0 18-31,0 35 15,-18-52 1,18 0-16,0 17 16,0-18-16,-17 2 0,17 16 15,0-18-15,0 2 0,0-2 0,-17 0 16,17 1-16</inkml:trace>
  <inkml:trace contextRef="#ctx0" brushRef="#br0" timeOffset="176819.22">25294 16766 0,'18'0'16,"-1"17"-1,-34 19 1,17-19-16,-18 18 15,1-16-15,17-2 16,0 0-16,-19 1 0,19 0 16</inkml:trace>
  <inkml:trace contextRef="#ctx0" brushRef="#br0" timeOffset="177572.55">25717 16448 0,'36'-17'0,"-1"17"16,-17 17-1,0 1 1,-18-1-16,0 2 0,0-2 15,-18 0-15,18 1 16,0 0-16,-18 0 0,18-1 0,-18-17 0,18 17 16,0 1-16,-17-18 0,17 36 15,-17-19 1,34 0 0,0-17 15,1 0-31,0 0 0,0 0 15,16 0 1,-16 0-16,-18-17 0,18 17 16,0 0-16</inkml:trace>
  <inkml:trace contextRef="#ctx0" brushRef="#br0" timeOffset="177748.42">26070 16607 0,'18'0'15,"18"35"16,-36-17-31,0 0 0,0-1 16,0 0-16,-19 2 16,19-2-16,0 1 0,-17-1 15,-1 19-15,18-248 0,0 441 16,-17-211-16,34-1 16</inkml:trace>
  <inkml:trace contextRef="#ctx0" brushRef="#br0" timeOffset="178268.5">26458 16395 0,'35'-17'0,"-16"17"0,15 34 31,-16-34-31,-18 36 0,-18-18 16,18-1-16,-34 19 15,15-1-15,-16 1 0,18-19 16,0 0-16,17 1 15,-19 0-15,2 0 0,-1-1 16,18 0 15,18-17-31,-1 19 0,19-19 16,-19 0 0,1 0-16,-1 0 15,2 0-15,15 0 0,-16 0 16</inkml:trace>
  <inkml:trace contextRef="#ctx0" brushRef="#br0" timeOffset="178451.4">26846 16624 0,'18'36'16,"-36"-18"-16,18-1 0,0 0 15,-17 19-15,-19 35 32,19-36-32</inkml:trace>
  <inkml:trace contextRef="#ctx0" brushRef="#br0" timeOffset="179062.6">27410 16324 0,'36'19'0,"-18"-2"15,-18 1 1,17-18-16,-34 34 0,17-15 15,0-2-15,-18 1 0,1 18 16,-2-2-16,2-16 16,0-18-16,-1 36 15,1-19-15,-2 0 16,38 1 15,-2-18-31,1 0 16,16 0-1,-15 0-15,-2 0 16,1 0-16,-1 0 16</inkml:trace>
  <inkml:trace contextRef="#ctx0" brushRef="#br0" timeOffset="179263.92">27746 16536 0,'18'36'16,"-18"-18"0,0-1-16,0 0 0,0 1 15,-18-124-15,18 212 0,0-88 16,0 0-16,-36 16 0,19-15 16,17-2-16,-17-17 15,17 18-15,-18-18 0</inkml:trace>
  <inkml:trace contextRef="#ctx0" brushRef="#br0" timeOffset="180364.45">28310 16272 0,'18'-18'0,"0"36"16,-18 17-1,0-18 1,-18 2-16,0-2 0,18 1 15,-17-18-15,0 34 0,-2-34 16,2 19-16,17-2 16,0 1-1,36-1 1,-19 2 0,0-19-16,1 17 15,0 0-15,0 1 16,-18 18-1,0-19-15,-18-17 0,18 17 16,-36 1-16,19 0 16,0-18-16,-2 0 0,2 18 15,-18-18-15,16 0 32</inkml:trace>
  <inkml:trace contextRef="#ctx0" brushRef="#br0" timeOffset="180588.29">28645 16572 0,'19'0'16,"-19"18"-16,0-1 15,0 0-15,-19 37 16,-16-37-1,18 19-15,-19-1 16,19-18 0,-1 2-16,1-19 0,17 17 15</inkml:trace>
  <inkml:trace contextRef="#ctx0" brushRef="#br0" timeOffset="180984.25">29298 16324 0,'-36'36'31,"19"-36"-31,0 18 0,-1-1 16,-18 0-16,19 2 0,0-2 15,-19 18 1,18-16 0,1-2-16,17 0 15,0 1-15,17 0 16,1-18-1,0 0-15,17 18 0,-18-18 16,2 0-16,16 0 16,18 0-16,-36 0 15,1 0-15,-1 0 0,2-18 16</inkml:trace>
  <inkml:trace contextRef="#ctx0" brushRef="#br0" timeOffset="181222.02">29352 16395 0,'-19'17'0,"19"19"15,0-18-15,0 18 16,-17 16-16,17-34 0,0 17 15,36-247-15,-72 441 0,36-211 0,-18 35 16,18-36-16,0 2 16,0-2-16,0 1 15,18-1-15</inkml:trace>
  <inkml:trace contextRef="#ctx0" brushRef="#br0" timeOffset="181486.13">29721 16607 0,'19'17'31,"-19"1"-16,-19-53-15,19 106 0,0-54 16,0 0 0,-17 2-16,-1-2 15,18 1 1</inkml:trace>
  <inkml:trace contextRef="#ctx0" brushRef="#br0" timeOffset="181932.42">30145 16360 0,'-17'0'0,"-2"0"16,-16 0-16,18 0 0,0 0 16,-19 0-1,18 18-15,18-1 31,0 0-15,18-17-16,-18 19 0,17-2 16,-17 1-16,19-1 0,-19 2 15,0 15 1,0-16-16,0 0 0,-19 0 16,19-1-16,-35 0 15,18 1-15,-36 0 16,53 0-16,-18-18 0,0 17 15,-34-17-15,16 0 16,18 17-16</inkml:trace>
  <inkml:trace contextRef="#ctx0" brushRef="#br0" timeOffset="185634.88">22948 16960 0,'18'-18'0,"0"18"16,-1 0-16,0 0 15,2 0-15,-2 0 0,1 0 0,16 0 0,-15 0 16,52 0 0,-37 18-16,2-36 0,-1 18 0,-18 0 15,19 0-15,-1 0 0,-18 0 0,19 0 16,-18 0-16,-1 0 0,2 0 16,-2-18-16,0 18 0,1 0 15,-18-17-15</inkml:trace>
  <inkml:trace contextRef="#ctx0" brushRef="#br0" timeOffset="185916.87">23513 16731 0,'17'0'16,"1"0"-16,18 17 15,-19-17-15,0 0 16,1 18-16,0-1 0,0-17 16,-18 19-16,17-19 0,-17 17 15,17 0-15,-17 1 0,0-1 16,0 2-16,0-2 0,-17 0 16,0 19-16,-1-18 0,18-1 15,-36 18-15,2 1 16,34-19-16,-19-17 0,2 17 15</inkml:trace>
  <inkml:trace contextRef="#ctx0" brushRef="#br0" timeOffset="190403.22">25912 16890 0,'-18'0'15,"53"0"32,-18 0-47,2 17 0,33-17 16,36 17 0,1-17-16,17 18 15,18 0-15,-72 0 16,160-1-1,-159-17-15,-18 0 16,18 0-16,-18 0 0,1 0 0,16 0 16,-16 0-16,-2 0 0,2 0 15,-18 17-15,18-17 0,-2 0 0,-16 0 16,35 0-16,-36-17 0,19 17 16,-1 0-16,-18 0 15,2 0-15,-2 0 0,1 0 0,-1 0 16,19 0-16,-19 0 15,1 0-15,-1 0 16,19 0-16,-19 0 0,1 0 0,-18 17 16,17-17-16,2 0 0,-2 0 15,0 0-15,19 0 16,-18 0-16,-1-17 16,0 17-16,2 0 15,-2 0-15,18 0 16,-35-17-16,17 17 0,2 0 15,-2-18 1,1 18-16,-18-18 0,17 18 0,2-18 16,-2 1-1,-17 0 1,17-2-16,-17 2 16,18-1-1,-18 1-15,0 0 16,0-2-1,0 2-15,0-1 16,0 1 0,0-2-16,0 2 0,0 0 15,-18 17-15,18-18 0,0 0 16,-17 18-16,17-18 0,0 1 0,-17 0 16,-2-1-16,19 0 15,-17-17 1,-1 35-16,1-36 0,-2 19 15,2-1 1,17 1-16,-17 17 0,17-19 0,-18 2 16,1 0-16,-2-1 15,2 1-15,17-2 16,-35 2-16,35 0 0,-18 17 16,0-18-16,1 0 0,17 0 15,-17 18-15,-2-17 0,2 0 16,-18-2-1,18 2-15,-2 17 16,19-18-16,-17 18 0,-1 0 16,1-17-16,-2 17 0,2 0 15,0 0-15,-1-17 0,1 17 0,-2 0 16,2 0-16,-18-19 16,17 19-16,-17 0 0,18 0 15,-19 0-15,-16-17 16,33 17-16,-16 0 0,18 0 15,-2 0-15,-33-18 0,34 18 16,-17 0-16,18 0 0,-1 0 0,-18 0 16,2-17-16,-2 17 15,18 0-15,-52 0 16,52 0-16,1 0 0,-19-19 16,19 19-16,-37 0 15,-16 0-15,35 0 0,18 0 16,-19 0-16,18 0 15,-18 0-15,-16 0 0,16 0 0,19 0 16,-18 0-16,-1 19 0,19-19 16,-19 0-16,19 0 0,-18 0 15,-18 17-15,18-17 0,-1 0 16,1 0-16,17 18 16,0-18-16,1 0 0,-36 17 15,18-17-15,18 0 16,-2 19-16,2-19 0,-1 0 0,1 17 15,-19-17-15,19 17 0,-1 1 16,1-18-16,-2 17 0,19 2 0,-17-19 16,0 17-16,-1 18 15,0-17-15,18 0 0,-18-1 16,18 19-16,-17-1 0,17-1 16,-17-15-16,17 16 0,0-18 15,0 36-15,0 1 16,0-37-16,0 0 0,0 1 15,17 35-15,0-17 16,-17-19-16,36 18 16,-18-16-16,16-2 0,2-17 15,-18 17-15,18-17 16,-2 18-16,1-18 0,1 17 0,17-17 16,53 19-16,-53-19 0,-1 17 15,19 0-15,-18-17 0,0 18 16,53 0-16,-53 0 15</inkml:trace>
  <inkml:trace contextRef="#ctx0" brushRef="#br0" timeOffset="193079.25">26564 17595 0,'0'-17'0,"-18"69"31,18-35-15,0 19 0,0-19-1,0 1-15,0 0 0,0 0 16,-17-1-16,17 0 16,0 19-1,0-18 1,0-1-1,0 0 1,17-34 62,-17 0-62,18-1-1,-18 1 1,0-36-16,18 35 0,-18 0 16,0-17-1,18 18 1,-1 34 15,-17 0-15,17 1-16,-17 0 15,19 0-15,-2-1 32,1-17-17,-1 0 1,0 0-16,2 0 16,-2 0-1,1 17 1,-1-17-16,2 0 15,-2 19-15,36-38 32,-35 2-32,-1 17 0</inkml:trace>
  <inkml:trace contextRef="#ctx0" brushRef="#br0" timeOffset="193360.74">27093 17666 0,'0'34'15,"0"-16"1,0 18 0,0-19-16,0 0 0,0 2 0,19-19 15,-19 17-15,0 1 0,17-18 16,0 17-16,1 0 0,-1-34 16,2 17-1,-2-17-15,-17-1 16,0 1-16,-17-2 15,17 2-15,-19 17 0,19-17 16,-17-1-16,-1 0 0,18 0 0,-53-16 31,36 34-31,-1 0 16</inkml:trace>
  <inkml:trace contextRef="#ctx0" brushRef="#br0" timeOffset="194146.19">27605 17295 0,'0'35'15,"0"-17"1,0 0-16,0-1 0,0 0 15,17 71 1,-17-52-16,0-18 0,0 18 0,0-19 16,18 35-16,-18 1 15,0-35 1,0 0-16,18-18 0,-36 0 31,-17 0-15,35-18-16,-17 18 15,-2 0-15,2 0 16,-1 0-16,18 18 0,-17-18 16,0 18-16,-2-18 0,19 17 15,-17 0-15,-1-17 16,18 19-16,0-2 0,-17-17 0,17 18 16,0-1-16,17 0 0,-17 2 15,18-19-15,-18 17 16,17-17-16,2 0 0,-2 0 15,0 0-15,1 0 0,-1 0 0,19 0 16,-19-17-16,19 17 0,16-36 16,-16 36-16,-18-17 0,16-1 15,-15 1-15,-2-2 0,1 2 0,-1 0 16,2-1-16,-2 0 16,-17 0-16,17 18 0,-17-17 15,0 0-15,-17 34 47,0 0-31,17 1-16,0 0 0,0 0 15,0-1-15,17-17 0,-17 17 0,17 2 16,1-2 0,18 1-1,-19-18-15,-17 17 16</inkml:trace>
  <inkml:trace contextRef="#ctx0" brushRef="#br0" timeOffset="195190.99">27093 18335 0,'53'0'0,"-35"0"0,18 0 16,-19 0-16,18 0 0,1 0 15,-2 0-15,20 0 0,-1-17 0,-1 17 16,1 0-16,1-18 0,-2 18 15,18-17-15,-16 0 0,-1 17 0,-1-19 16,1 2-16,1-1 0,-20 1 0,20-2 16,-20 2-16,2 0 0,-18-1 15,16 18-15,-15-18 0,16-17 0,-18 18 16,36-19-16,-35 18 0,0 1 16,0-19-16,-1 19 0,0-1 15,-17 1-15,18-2 0,-18 2 0,18-35 16,-18 16-1,0 19-15,0-1 0,-18 0 0,18 0 16,0 1-16,-18 0 0,18-19 16,-17 18-16,17 1 0,-17 0 0,-1-19 15,0 18-15,0 1 16,18-2-16,-17 2 0,0 0 0,-2-1 16,19 1-16,-35-19 0,-18 19 15,36-1-15,-1 0 16,-18 0-16,19 18 0,-18-17 15,-1 17-15,19-17 0,-18 17 0,17-19 0,-17 19 16,18-17-16,-19 17 0,18 0 16,-18-18-16,2 18 0,16 0 15,-18-17-15,19 17 0,-18 0 0,-35 0 16,51 0-16,-16 0 16,1 0-16,-2 0 0,18 0 0,-18 0 15,2 0-15,-1 0 0,-1 0 0,1 0 16,-1 0-16,-34 0 15,52 17-15,-16-17 0,-2 0 0,1 0 16,-1 0-16,19 0 0,-19 18 0,1-18 16,18 0-16,-37 17 15,1 2-15,36-2 0,-1 0 16,1-17-16,-2 18 0,2 0 16,0-18-16,-1 18 0,1-1 0,-2 0 15,2-17-15,0 36 16,-1-18-16,18-1 0,-18 0 0,0 2 15,18-2-15,-17 1 0,17-1 16,-17 19-16,-2-19 0,19 1 16,0 18-16,-17-19 0,17 0 0,-18 1 15,18 18-15,0-2 16,0-15-16,-17-2 0,17 1 0,0-1 16,0 19-16,17-19 0,-17 1 15,0-1-15,18 2 0,-18-2 16,17 36-16,19-18 15,-19 0-15,1-17 0,35 17 16,-36-18-16,19 2 16,-18-2-16,16 1 0,2-18 0,-18 17 15,18 2-15,-2-19 0,2 17 16,16 0-16,-16-17 0,-18 18 16,16-18-16,2 0 0,-18 0 15,18 17-15,-19-17 0,0 0 0,1 0 16,-1 0-16,2 0 0,-2 0 15,18 0-15,-17 0 0,0 0 16,-1 0 0</inkml:trace>
  <inkml:trace contextRef="#ctx0" brushRef="#br0" timeOffset="198717.28">9066 15707 0,'54'-17'0,"-37"-1"0,0 18 0,19-17 16,-18 17-16,16-19 0,56-33 16,-56 34-16,1-17 15,1 18-15,-1-19 0,1 1 0,-2-1 16,2 1-16,-18-1 0,16-16 15,-15 16-15,-19-16 0,17 16 0,-17 2 16,-17-37-16,17 18 0,-53-89 16,35 54-16,-35 18 0,18-1 15,-18 0-15,-88-105 0,70 123 16,18-18-16,-17 19 0,0-1 16,-89-35-16,88 53 0,-87-18 15,68 36-15,21 17 0,-20 0 16,18 0-16,-34 17 0,17 0 0,-18 19 15,17-1-15,1 0 16,17 1-16,-17 17 0,18-1 0,18 19 16,-2-18-16,1 18 0,1-1 0,33 1 15,-15 0-15,16 17 0,0 0 16,18 0-16,0-18 0,0 18 16,18-17-16,17 0 0,1-1 0,16 1 0,1-19 15,18 1-15,17 1 0,0-20 16,17 20-16,-15-20 0,120 20 15,-103-18-15,-2-19 0,2 0 0,-2 1 16,-17-1-16,-17-17 0,0 19 16,-1-19-16,1 0 0,70-19 15,-106 2-15</inkml:trace>
  <inkml:trace contextRef="#ctx0" brushRef="#br0" timeOffset="213583.14">23689 7240 0,'36'159'16,"-36"-106"-16,0 35 0,17 0 16,-17 19-16,0-19 0,18 0 15,-18 17-15,0-15 0,0 15 16,0 54-16,0-18 0,-18-89 15,18 1-15,0-17 0,0-1 16,0 1-16,0 16 16,0-35-16,0 2 15</inkml:trace>
  <inkml:trace contextRef="#ctx0" brushRef="#br0" timeOffset="-214259.99">23442 7418 0,'35'-19'0,"-16"2"16,15 17-16,-122 36 0,194-72 0,-53 18 15,0 18-15,-1-17 0,19 17 16,124-19-16,34-15 0,-106 34 16,1-18-16,34 1 0,18-2 15,2 19-15,174-34 0,-176 34 16,212-18-16,-194 18 0,1 0 16,16-18-16,-17 18 0,0 0 0,0-18 15,0 18-15,0 0 16,-18-17-16,0 17 0,-34 0 0,-1 0 15,106 0-15,-141 0 0,124-17 16,-160 17-16,1 0 16,-2 0-16,-33 0 0,18 0 0,-37 0 15,18 0-15,-17 0 0,0 0 0,-1-19 16,0 19-16,1 0 0,0 0 16,0 0-16,-1 0 15,0 0-15,2 0 16,-2-17-16,1 17 31,-1 17-15,0-17-1,2 0 1,-2 0 0,1 0-1,-1 0 48,19 19-48,-1-19 1,18 0-16,-36 0 16,54 17-16,-35-17 15,-1 0-15,1 17 0,16-17 0,-16 0 16,-2 0-16,37 18 0,-36-18 15,-17 18-15,17-18 0,-18 0 16,19 18-16,-18-18 16,-1 0-16,2 17 0,15-17 15,-16 0-15,-1 0 0,2 17 16,-2-17 0,0 0-16,1 0 15,0 19 1,0-2-1,-18 1-15,17-18 16,-17 17-16,17 0 0,-17 2 16,19-2-16,-19 18 0,17-16 0,-17 15 15,18-16-15,-18 18 0,17-2 16,-17 2-16,17 35 0,-17-36 0,0-1 16,0 2-16,0 35 15,0-36-15,0 1 0,0-2 0,-17 2 16,17-1-16,0 1 0,0 35 15,0-37-15,-17 1 16,17 1-16,0 35 0,0-54 0,0 19 16,0-19-16,0 18 0,0-18 0,0 2 15,-18 16-15,18-18 16,0 2-16,0-2 0,0 0 16,0 1-16,0-1 0,0 2 15,0-2-15,0 0 16,0 1-1,-17-18 1,-2 0-16,19 18 16,-17-18-1,0 0-15,-1 0 0,0 0 0,0 0 16,-35 0-16,36 0 0,-35 0 16,-38 0-16,38 0 15,-18-18-15,-1 18 0,-53 0 16,53 0-16,-17-18 0,0 18 15,-17 0-15,-90-17 0,107 0 0,0 17 16,-106-19-16,88 19 16,1-17-16,16-1 0,-122 1 15,123 17-15,-124-36 16,105 36-16,2-17 0,-107-1 16,107 18-16,-90-36 0,107 36 15,17-17-15,-69 0 16,70 17-16,-54-18 15,18 1-15,70 17 0,2 0 16,-20 0-16,37 0 0,-19 0 0,1 0 16,-35 0-16,35 0 15,-1 17-15,1-17 0,-1 0 0,-34 0 16,18 18-16,-19-18 16,35 0-16,19 17 15,-19-17-15,-16 0 0,16 17 16,18-17-16,-16 0 0,-20 19 15,37-19-15,-19 0 0,19 0 16,-18 17-16,16-17 0,2 0 16,-18 0-16,17 0 0,-34 18 15,-2-18-15,20 0 0,-2 0 16,-18 0-16,-15 0 16,-2 0-16,18 0 15,17 0-15,-33 17 0,33-17 16,1 0-16,-1 0 15,1 0-15,17 19 0,-17-19 0,-18 17 16,18-17-16,18 17 0,-2-17 16,2 18-16,-18-18 0,18 17 0,-2-17 15,-16 36-15,18-36 16,-2 17-16,2 1 16</inkml:trace>
</inkml:ink>
</file>

<file path=ppt/ink/ink17.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09:52.774"/>
    </inkml:context>
    <inkml:brush xml:id="br0">
      <inkml:brushProperty name="width" value="0.05292" units="cm"/>
      <inkml:brushProperty name="height" value="0.05292" units="cm"/>
      <inkml:brushProperty name="color" value="#0070C0"/>
    </inkml:brush>
  </inkml:definitions>
  <inkml:trace contextRef="#ctx0" brushRef="#br0">8277 5129 0,'-105'-18'0,"86"18"0,2 0 15,-18-18 1,87 36 31,55-18-32,-37 0-15,-18-18 0,19 18 0,0 0 16,-18 0-16,18 0 0,-19-18 16,18 18-16,-16 0 0,16 0 0,-16-17 15,-2 17-15,1 0 0,-18 0 0,1 0 16,-2-17-16,-15 17 15,33 0-15</inkml:trace>
  <inkml:trace contextRef="#ctx0" brushRef="#br0" timeOffset="272.26">9000 4794 0,'36'17'0,"-2"1"0,-16-1 16,18 0-16,-2 2 0,2 16 0,-1-18 15,-16 19-15,-2-1 0,18 35 0,-35-34 16,0-18-16,0 35 15,-18-1-15,-16 1 0,15-18 0,-33 36 16,16-18-16,-52 35 0</inkml:trace>
  <inkml:trace contextRef="#ctx0" brushRef="#br0" timeOffset="8745.85">1926 5939 0,'36'19'31,"35"-19"-15,-36 0-16,1 17 16,-2-17-16,37 0 0,0 18 0,-1-18 15,72 17-15,-54-17 0,0 0 16,0 19-16,18-19 0,-18 0 16,18 0-16,-1 0 0,2 0 0,-19 0 15,124 17-15,-107-17 0,-17 0 16,19 0-16,-2 0 0,-17 0 15,0 17-15,-17-17 0,17 0 0,-18 0 16,18 18-16,-17-18 0,0 0 0,17 0 16,-18 0-16,1 0 0,0 0 15,17 0-15,-18 0 0,1 0 0,0 0 16,-18 0-16,88 0 0,-89-18 16,19 18-16,36 0 15,-55 0-15,36-17 0,-52 17 16,-2 0-16,20 0 0,-20 0 15,56-17-15,-56 17 0,1-19 16,1 19-16,-1 0 0,1-17 16,-2 17-16,2 0 0,-1-18 0,1 18 15,-1 0-15,1-17 0,-19 17 16,54-19-16,-37 2 0,-16 17 16,35-17-16,-17-1 0,-19 18 15,1-17-15,18 17 16,-2-19-16,20 2 15,-20 0-15,-16-1 0,0 18 0,0-18 16,16 0-16,-15 18 0,-2-17 16,18 0-16,1-1 0,-19 0 15,18 0-15,-16 1 0,-2 0 16,0-2-16,1 2 0,-1 17 16,-17-18-16,36 1 0,-36-2 15,17 2-15,-17 0 0,0-1 16,18 1-16,-18-2 0,0 2 0,0 0 15,0-1-15,0 0 0,0 0 16,0-35-16,0 36 0,-18-18 16,18 18-16,0-19 0,-17 18 0,0-18 15,17 19-15,-19-18 0,2 17 16,-1-17-16,1 18 0,-19-19 16,1 18-16,-1 1 0,2-19 0,-1 19 15,-1-1-15,-17 1 0,18-2 16,-18 2-16,1 0 0,-2-1 0,1 1 15,0 17-15,-70-36 0,70 36 16,-18-17-16,19 17 0,-19-18 0,1 18 16,-1 0-16,18-18 0,-18 18 15,19-18-15,-19 18 0,18 0 16,-18-17-16,-53 17 0,54 0 16,0-17-16,0 17 0,-1 0 15,-70 0-15,53-18 0,-54 18 16,72 0-16,-72 0 0,72 0 15,-1 0-15,0 0 16,1 0-16,0 0 0,0 0 0,-1 18 16,0-18-16,1 0 0,-72 0 15,72 0-15,-1 17 0,0-17 16,-69 0-16,51 17 0,1-17 16,17 18-16,1-18 0,-18 18 0,17-18 15,-34 0-15,34 18 0,-17-18 16,-53 17-16,70 0 15,-52 2-15,53-19 0,16 17 16,-16-17-16,16 18 0,-16-1 16,18-17-16,-19 17 0,18 2 0,-18-19 15,19 17-15,-1-17 0,-54 35 16,55-35-16,16 19 0,-16-19 16,-19 17-16,1 18 15,52-17-15,-18-18 0,-17 18 0,36-1 16,-18 0-16,-1 1 0,1 18 15,18-19-15,-36 19 0,17-1 16,18-18-16,-16 19 0,15-19 16,-16 18-16,18-16 0,0 15 0,-37 20 15,37-20-15,-2-15 16,2 16-16,0-18 0,17 19 0,-18-1 16,18 1-16,-17-19 0,17 18 15,17 1-15,-17-2 0,18 37 16,-1-35-16,19 16 0,-19-16 15,1-1-15,52 53 0,-52-70 16,18 17-16,-2 0 0,2 1 16,-1-2-16,18-15 0,-18-2 15,53 37-15,-35-37 0,1-17 0,-2 17 16,1 1-16,-17-18 16,16 17-16,-16-17 0,16 0 0,37 0 15,-54 0-15,36-17 0,-18 17 16,-1-18-16,19 18 0,-18-17 15</inkml:trace>
  <inkml:trace contextRef="#ctx0" brushRef="#br0" timeOffset="21908.54">10817 4458 0,'-36'17'0,"19"2"15,-1-19-15,18 17 16,-17-17-16,0 18 0,-2-1 15,2 2-15,-1-19 16,18 17-16,-17 18 0,-2-17 16,19 0-16,-17-1 0,17 0 15,-17 1-15,17 18 0,-18-19 0,18 0 16,0 19-16,-18-18 0,18-1 0,0 36 16,0-35-16,0-1 15,18 2-15,-18-2 0,0 0 16,0 1-16,18 18 0,-1-19 15,0 0 1,2 1-16,-2-18 0,1 0 16,-1 0-16,2 0 15,-19-18 1,0 1-16,0 0 16,0-1-16,-19 0 15,2 18 1,17-18-16,-35 18 0,16 0 15,2 0 1,0 0-16,-1 0 16</inkml:trace>
  <inkml:trace contextRef="#ctx0" brushRef="#br0" timeOffset="22214.4">10905 4741 0,'17'17'31,"-17"0"-31,0 2 0,0-2 16,0 1-16,0-1 0,0 19 15,0-1-15,0-18 16,-17 2-16,17 33 0,-17-34 16,17 0-16,0-1 0,0 0 15</inkml:trace>
  <inkml:trace contextRef="#ctx0" brushRef="#br0" timeOffset="22644.83">11293 4899 0,'-35'-36'16,"-18"55"-1,17-19-15,1 17 16,1 1-16,-2-1 16,18 2-16,1-2 15,-2 0-15,19 1 0,-17 0 16,34 0 0,2-1-1,-2-17-15,1 0 0,-1 0 0,19 0 16,-19 0-16,18 0 15,-16 0-15,33-17 0,-16 17 16,-19 0-16,0 0 16,-17-18-16,36 18 0,-18 0 15,-1 0 1,0 0-16,-17 18 16,19-1-16,-19 0 15,0 1 1,0 0-16,17-18 15,-17 18-15,18-18 16</inkml:trace>
  <inkml:trace contextRef="#ctx0" brushRef="#br0" timeOffset="22790.8">11576 4917 0,'-18'-18'0</inkml:trace>
  <inkml:trace contextRef="#ctx0" brushRef="#br0" timeOffset="23355.9">11769 4794 0,'-17'52'31,"17"-35"-31,0 2 0,0 16 16,0-18-16,-18 2 0,18-2 15,18 18-15,-18-17 16,0 0-16,0-1 0,0 0 15,17-17-15,-17 18 0,19-18 16,-2 18-16,0-36 16,-17 0 15,0 1-15,-17 0-16,0 17 31,-19 17-16,18-17-15,18 17 0,-17-17 16,-2 18-16,19 0 16,19 0-1,-2-18-15,1 0 16,18 0-16,-19-18 16,18 18-16,1-18 0,-19 18 15,36-35-15,-18 18 16,-18 17-16,2-18 15,-2 0-15,1 18 16,-18 18 15,17 17-15,0-18 0,37 1-1</inkml:trace>
  <inkml:trace contextRef="#ctx0" brushRef="#br0" timeOffset="24029.73">13181 4882 0,'-53'-36'15,"35"36"-15,-18 17 16,19 2-16,17-2 16,-17 1-16,17-1 15,0 2 1,17-19-16,0 17 16,1-17-1,18 0 1,-19 0-16,0-17 0,2 17 15,-19-19 1,17 19-16,1-17 16,-18 34 15,17 2-31,-17-2 16,0 0-16,19 1 15,-2 0-15,0 0 16,1-18-1,-1 17-15,2-17 16,15 0-16</inkml:trace>
  <inkml:trace contextRef="#ctx0" brushRef="#br0" timeOffset="24613.21">13569 4899 0,'-19'0'0,"38"0"0,-55 0 16,19 0 0,-1 18-1,18-1 1,0 2-16,18-2 15,-18 0-15,17 1 16,0 18-16,2-19 16,-2 0-16,-17 1 0,18 0 0,-18 0 15,0-1-15,17 0 0,-17 2 16,0-2-16,0 1 0,-17-1 16,-1 2-16,1-2 15,17 0-15,-19-17 0,2 0 16,0 18-1,-1-36 17,36 1-32,-1 0 0,0 17 15,2-19-15,-2 2 0,1-1 16,18-18-16,-2 19 16,-16 0-16,35-37 15,-53 37-15,17 0 0,1-1 16,-18 0-16,0 0 31,-18 36 0,1 0-31,17 17 32,17-35-32,1 17 15,0-17-15,0 0 0,16 0 16</inkml:trace>
  <inkml:trace contextRef="#ctx0" brushRef="#br0" timeOffset="25025">14116 4987 0,'0'-17'16,"-18"17"-16,0 0 15,0 17-15,1-17 16,17 18-16,-17-18 0,17 18 15,-19-18-15,19 18 0,0-1 16,0 0 0,19-17-16,-2 0 15,0-17 1,1 0-16,0 17 0,0-18 16,-1-18-16,0 2 15,1 15-15,0 2 0,-18-1 16,18 1-16,-1-2 15,-17 2-15,0 53 47,0-19-47,0 37 32,0-37-32,0 0 0,17 1 15,-17 0-15,19-18 0,-19 18 16,17-1-16,1-17 0,-1 17 15,2-17-15,15 0 16,1 0-16,-16 0 16</inkml:trace>
  <inkml:trace contextRef="#ctx0" brushRef="#br0" timeOffset="25311.14">15385 4653 0,'-17'34'32,"-1"37"-1,1-18-31,17-35 15,-19 35-15,19-36 0,0 1 16,0 18-16,0-19 16,0 0-16,0 1 15,19 0 1</inkml:trace>
  <inkml:trace contextRef="#ctx0" brushRef="#br0" timeOffset="25912.66">15562 4705 0,'18'0'31,"-1"18"-15,-17 17-1,0-18 1,0 2-1,-17-2-15,17 1 16,-18-18-16,18 17 16,18 0-1,-18 2 1,17-19-16,-17 17 16,17-17-16,-17 18 15,0-1-15,0 2 16,0-2-16,-17-17 15,0 17-15,-1 1 16,0-18-16,0 18 0,-16 0 16,15-1-16,2-17 0</inkml:trace>
  <inkml:trace contextRef="#ctx0" brushRef="#br0" timeOffset="28642.72">10693 5781 0,'36'0'16,"-19"-18"-16,1 18 15,-1 0 1,-52 18 31,-18 0-32,36-18-15,-1 0 16,1 18-16,-2-18 16,19 17-16,-17-17 0,17 17 15,17 2 1,37 16-1,-37-18 1,2 0-16,-19 2 16,17-19-16,0 17 0,-17 1 15,18-1-15,-18 2 0,0-2 16,-18 18-16,1-35 16,-19 36-16,19-19 15,-1-17-15,1 17 0,-2 1 0,2-18 16,0 18-16,-1-18 0,0 18 15,0-18-15</inkml:trace>
  <inkml:trace contextRef="#ctx0" brushRef="#br0" timeOffset="29358.4">11417 5781 0,'0'-18'0,"-19"36"32,19 0-17,0 0-15,0-1 0,0 0 0,0 19 16,0-18-16,0-1 16,0 0-16,-17 73 15,17-73-15,0 0 0,0 1 0,-17 0 16,17 0-1,0-1-15,0 0 16,0-69 15,17 52-31,-17-18 16,17 0-16,19 1 16,-18 17-16,-18-17 0,17 17 15,2 0-15,-2 0 0,0 17 16,19-17-16,-36 17 15,0 1-15,0 0 16,0 0-16,-18-18 16,18 17-16,-18 0 0,1-17 0,0 18 15,-2-18-15,2 18 0,-1-18 16,-18 18-16,19-18 16,0 0-16,-1 0 0,1 0 15</inkml:trace>
  <inkml:trace contextRef="#ctx0" brushRef="#br0" timeOffset="29849.79">11788 6010 0,'-36'19'47,"36"-2"-31,-18 0-16,18 1 15,18 0 1,18-18 15,-19-18-15,0 0 0,-17 1-1,18 17 1,-18 17 15,0 1-31,0 18 16,17-19-1,-17 0 1,0 1 0,19-18-16,-2 0 15</inkml:trace>
  <inkml:trace contextRef="#ctx0" brushRef="#br0" timeOffset="30496.81">12086 5905 0,'-17'17'47,"0"19"-31,17-19-16,-18-17 15,18 18-15,0-1 0,0 2 16,-17-19-16,17 17 16,35-17 15,-1-17-16,2 17 1,-1 0 0,-16 0-1,-19 17-15,17-17 16,-17 17-16,0 1 0,-17 0 16,-2-18-16,2 18 15,-1-1 1,1 0-16,-19 1 15,19 0-15,-1-18 16,1 0 0,34-18-1,1 0 1,-1 1-16,19-18 16,-19 17-16,18 0 0,1-16 15,-19 15-15,1 2 16,18-1-16,-19 1 15,0 17 1,1 17 0,0 1-16,-18-1 15,0 2-15,0-2 0,0 0 16,0 19 0,0-18-16,0-1 15,-18 0 1,18 1-16</inkml:trace>
  <inkml:trace contextRef="#ctx0" brushRef="#br0" timeOffset="30642.6">12369 5939 0,'0'-17'0,"17"17"16</inkml:trace>
  <inkml:trace contextRef="#ctx0" brushRef="#br0" timeOffset="30993.11">12634 6046 0,'0'-17'0,"0"34"0,-18-53 16,0 55 15,18-2-31,-17-17 0,17 35 16,0-17-1,0 0 1,0-1-16,17 0 16,1-17-16,0 0 15,0 0-15,16 0 16,-16 0-16</inkml:trace>
  <inkml:trace contextRef="#ctx0" brushRef="#br0" timeOffset="32539.06">12898 6029 0,'-17'0'0,"17"17"15,17 18 1,1-17-16,-1 0 16,-17-1-16,19-17 15,-19 17-15,0 1 0,0 0 16,-19-18-1,2 18-15,-1-1 0,1-17 16,-2 17-16,2-17 0,-18 19 16</inkml:trace>
  <inkml:trace contextRef="#ctx0" brushRef="#br0" timeOffset="33943.62">13745 5922 0,'-17'0'0,"-1"0"0,0 0 16,18 17-16,-18-17 15,1 19-15,17-2 16,-17-17-16,17 18 0,0-1 0,-19-17 15,19 36-15,0-19 16,0 1 0,36-18-1,-19-35 1,1 35 0,-18-17-16,18 17 0,0-19 31,-18 38-16,0-2 1,17-17-16,-17 17 0,0 1 16,17 0-16,19 17 15,-18-35 1,-1 0-16</inkml:trace>
  <inkml:trace contextRef="#ctx0" brushRef="#br0" timeOffset="34539.82">14080 5975 0,'-18'-17'0,"1"17"16,-19 0 0,19 0-16,-1 17 15,-18 1 1,36-1-1,0 2 1,19-19-16,-19 17 0,17-17 16,1 17-16,-1 1 0,2-18 15,-19 18-15,17 0 0,-17-1 16,17-17-16,-17 17 0,0 1 16,0 0-16,0 0 0,0-1 0,-17 0 0,17 2 15,-17-19-15,17 17 0,-19 1 16,2-1-16,17 2 0,-18-19 15,1 17 1,52-34 15,-18-2-31,2 2 16,-2-1-16,18 18 0,-17-17 16,0-2-16,-1 2 0,0 0 15,19-19-15,-1 1 16,-35 18-16,17-1 0,-17 0 15,19 0-15,-19 1 16,0 0-16,-19 34 31,2 18-15,17-17 0,0 0-16,0-1 15,0 0-15,17 1 16,2-18-16,-19 18 0,17-18 0,1 0 15,-1 0 1,2 0-16,15 0 0,-16 0 16,-1 0-16</inkml:trace>
  <inkml:trace contextRef="#ctx0" brushRef="#br0" timeOffset="35126.87">14716 5834 0,'0'36'15,"0"-1"-15,-19-18 16,19 0-16,0 19 15,0-18-15,0-1 16,0 19-16,0-19 16,0 1-16,0 0 31,-17-18-15,-18 0-16,16-18 31,-15 36-31,-2-18 15,18 0-15,18 18 0,-34-1 16,16 0-16,0 1 16,18 0-1,0 0-15,18-18 16,0 0-16,-18 17 16,17-17-16,0 0 0,1 0 0,18 0 15,-2-17-15,-15 17 16,33-18-16,-16 18 0,-1-18 15</inkml:trace>
  <inkml:trace contextRef="#ctx0" brushRef="#br0" timeOffset="35472.93">15844 5675 0,'0'36'16,"17"-18"-1,-17 16-15,0-16 0,0 0 16,0 34-16,0-33 16,0 16-16,0 18 0,0-36 15,0 18-15</inkml:trace>
  <inkml:trace contextRef="#ctx0" brushRef="#br0" timeOffset="38221.61">15297 5182 0,'71'-19'16,"-54"19"-16,19 0 0,-19 0 16,18-17-16,1 17 0,35 0 15,-1-17-15,-35 17 16,1 0-16,-1-18 0,-18 18 0,19 0 16,-1 0-16,-18 0 15,2-18-15,-2 18 0</inkml:trace>
  <inkml:trace contextRef="#ctx0" brushRef="#br0" timeOffset="38555.82">15209 5253 0,'-17'0'0,"51"0"31,-16 0-31,0 0 0,17 0 16,18 0-16,-18 0 0,1 0 16,-1 0-16,1 0 0,-2-19 0,2 19 15,16 0-15,-16 0 16,-1-17-16,-18 17 0,37 0 16,-18 0-16,-19 0 0,0 0 15,1-18-15,-1 18 0,2 0 16,-2 0-16,0 0 15,1 0-15,0 0 32</inkml:trace>
  <inkml:trace contextRef="#ctx0" brushRef="#br0" timeOffset="40150.72">15668 6310 0,'88'0'0,"-52"0"16,-19-17-16,18 17 0,-18 0 0,19 0 15,-1 0-15,-17 0 0,17 0 0,1 0 16,-19-18-16,18 18 15,-18 0-15,19 0 0,-18 0 0,-1 0 16,2 0-16,-2 0 0</inkml:trace>
  <inkml:trace contextRef="#ctx0" brushRef="#br0" timeOffset="40351.67">15756 6469 0,'70'0'0,"-52"0"15,-1 0-15,2 0 0,15 0 0,-16-18 16,35 18-16,-36 0 16,37 0-16,-37 0 0,0 0 0,54 0 15</inkml:trace>
  <inkml:trace contextRef="#ctx0" brushRef="#br0" timeOffset="43300.86">3092 7898 0,'17'35'15,"-34"1"1,17-19-16,0 0 0,-19 37 15,2-20-15,-1 20 16,18-18-16,-17-19 0,17 0 16,-19 18-16,19 1 0,-17-1 15,17-17-15</inkml:trace>
  <inkml:trace contextRef="#ctx0" brushRef="#br0" timeOffset="43671.43">3585 8039 0,'0'52'15,"0"2"-15,0-37 0,0 2 16,0 15-16,0 37 16,-17-54-16,17 1 0,0 0 15</inkml:trace>
  <inkml:trace contextRef="#ctx0" brushRef="#br0" timeOffset="43892.48">3409 8215 0,'-19'-17'15,"38"17"17,33 17-17,-33-17-15,15 0 0,2 0 16,-18 0-16,16 0 0,-16 0 15,0 0-15,0 0 0,16 0 16,-15 0-16</inkml:trace>
  <inkml:trace contextRef="#ctx0" brushRef="#br0" timeOffset="44168.52">4097 8110 0,'-19'17'32,"19"1"-32,0-1 15,0 19-15,-17-19 0,17 1 16,0 18-16,0-2 0,0 2 15,-17-1-15,17-18 16,0 2-16,0-2 16,0 1-16</inkml:trace>
  <inkml:trace contextRef="#ctx0" brushRef="#br0" timeOffset="44781">4432 8145 0,'17'53'15,"-17"-36"-15,0 1 0,0-1 0,0 2 16,17 15-16,-17-16 0,0 18 15,0-19-15,-17 0 0,17 19 16,0-18-16</inkml:trace>
  <inkml:trace contextRef="#ctx0" brushRef="#br0" timeOffset="44955.94">4344 8410 0,'17'-19'16,"36"19"-1,-18 0 1,-18 0-16,2-17 16,33 17-16</inkml:trace>
  <inkml:trace contextRef="#ctx0" brushRef="#br0" timeOffset="45166.12">4890 8127 0,'0'35'32,"0"1"-32,0 16 15,0-33 1,0-2-16,-17 0 0,17 1 0,0 0 15,0 0-15,0-1 0,0 0 0,-19 2 16,19-2-16,0 1 16,0-1-16,0 0 0</inkml:trace>
  <inkml:trace contextRef="#ctx0" brushRef="#br0" timeOffset="45427.51">5261 8145 0,'0'36'16,"0"-19"-1,0 0-15,0 18 0,0-16 16,0-2-16,0 36 16,0-35-16,0-1 0,0 0 0,0 2 15,0-2-15</inkml:trace>
  <inkml:trace contextRef="#ctx0" brushRef="#br0" timeOffset="45666.83">5102 8391 0,'18'0'0,"16"-17"16,-15 17-1,-2 0-15,1-17 16,-1 17-16,19 0 0,16-18 16,-16 0-16</inkml:trace>
  <inkml:trace contextRef="#ctx0" brushRef="#br0" timeOffset="46011.77">5878 8110 0,'-17'17'15,"17"1"-15,0 52 16,0-35 0,0 1-16,0-1 15,0-17-15,0 0 0,-19-1 16,19 0-16,0 2 0,0-2 15,0 1-15,19-1 16</inkml:trace>
  <inkml:trace contextRef="#ctx0" brushRef="#br0" timeOffset="46747.7">6301 8162 0,'0'-17'0,"17"53"16,-17-19-1,0 18-15,0-18 0,0 19 16,0-19-16,0 1 16,0 18-16,0-19 0,0 0 15,0 2-15,0-2 0,0 1 16,0-1-1</inkml:trace>
  <inkml:trace contextRef="#ctx0" brushRef="#br0" timeOffset="46937.82">6178 8339 0,'0'0'31,"35"0"-15,-18 0-16,2-18 16,-2 18-16,1 0 0,-1 0 15,0 0-15,2-18 0,-2 18 16,1 0-16</inkml:trace>
  <inkml:trace contextRef="#ctx0" brushRef="#br0" timeOffset="47127.64">6654 8127 0,'0'18'31,"0"-1"-31,0 2 16,0-2-16,0 0 0,0 1 16,0 18-16,0-19 0,18 0 15,-18 1-15,0 0 0,0 0 16,0-1-16,17 19 15,-17-19-15</inkml:trace>
  <inkml:trace contextRef="#ctx0" brushRef="#br0" timeOffset="47926.84">7394 8091 0,'19'36'16,"-19"-18"-16,0-1 15,0 2-15,0-2 0,0 18 16,0 1-16,0-2 16,0 2-16,-19-1 0,19-18 15</inkml:trace>
  <inkml:trace contextRef="#ctx0" brushRef="#br0" timeOffset="48091.89">7254 8321 0,'18'-18'0,"-1"18"0,88-17 32,-51 17-32,-18 17 0,-2-17 15,20 0-15</inkml:trace>
  <inkml:trace contextRef="#ctx0" brushRef="#br0" timeOffset="48449.38">8401 8127 0,'0'-17'15,"0"69"1,-19-33-1,19 50 1,0-50-16,0 15 0,0-16 0,0 0 16,0 17-16,0-18 0,0 2 15,0-2-15,-17-17 0,17 18 16,17-1-16</inkml:trace>
  <inkml:trace contextRef="#ctx0" brushRef="#br0" timeOffset="49025.37">8594 8145 0,'18'-18'0,"0"18"0,0 0 16,-1 18-1,-17-1 1,-35 2 0,35-2-16,-18 0 15,0 1-15,18-1 16,18 2 15,-18-2-31,18 0 16,17 1-1,-35 0-15,0 0 16,0-1-16,-17 0 16,-1 2-16,18-2 0,-18-17 15,0 18-15,18-1 0,-17-17 16,0 0-16,-2 17 0,2 2 15,-1-19 1</inkml:trace>
  <inkml:trace contextRef="#ctx0" brushRef="#br0" timeOffset="49253.81">8965 8162 0,'17'-17'16,"1"34"0,0 19-1,-18-19-15,0 1 16,0 18-16,0-2 16,18-16-16,-18 0 15,0 0 1,-18-1-16,18 0 15</inkml:trace>
  <inkml:trace contextRef="#ctx0" brushRef="#br0" timeOffset="49438.63">8894 8286 0,'35'-17'0,"-16"-2"0,-2 19 16,0 0-16,1 0 16,0-17-16,0 17 0,-1 0 15,0 17-15,1-17 0,0 0 16,0 0-16</inkml:trace>
  <inkml:trace contextRef="#ctx0" brushRef="#br0" timeOffset="49922.37">9812 8127 0,'0'-17'0,"17"52"16,-17 18-1,0-18 1,0 1-1,0-2-15,0-16 0,0 0 0,0 0 0,0-1 16,0 0-16,0 2 16,0-2-16,0 1 0,0-1 15</inkml:trace>
  <inkml:trace contextRef="#ctx0" brushRef="#br0" timeOffset="50571.98">10058 8145 0,'36'17'15,"-36"2"1,0-2-1,-18 18-15,18-18 16,-18-17-16,18 19 0,-17-2 16,34 0-1,1 1 1,0 0 0,0-18-16,-18 18 15,17-1-15,0 0 0,-17 2 16,18-19-16,-18 17 0,-18 1 15,18-1-15,-17 0 16,17 2-16,-17-19 0,-1 17 16,-18 1-16,19-18 15,0 17-15,-2-17 16</inkml:trace>
  <inkml:trace contextRef="#ctx0" brushRef="#br0" timeOffset="50813.06">10534 8145 0,'18'0'16,"0"17"-1,-18 2 1,18 15-16,-18 37 15,0-36 1,0-17-16,0 0 0,0-1 16,0 0-16,0 2 0,-18-2 15,18 1-15,0-1 16</inkml:trace>
  <inkml:trace contextRef="#ctx0" brushRef="#br0" timeOffset="50991.83">10429 8339 0,'17'-18'16,"1"18"-16,-18-18 0,18 18 0,0 0 16,-1 0-16,18 0 0,-17 0 15,0 0-15,16 0 0,2 0 16,-18 0-16,18 0 0</inkml:trace>
  <inkml:trace contextRef="#ctx0" brushRef="#br0" timeOffset="51364.78">11558 8215 0,'18'-34'16,"-18"86"-1,0-35-15,0 2 16,0-2-16,0 0 0,0 1 16,-18 0-16,18 0 0,0-1 0,0 0 15,0 2-15,0-2 0,0 1 16</inkml:trace>
  <inkml:trace contextRef="#ctx0" brushRef="#br0" timeOffset="51874.69">11822 8091 0,'18'0'16,"-18"19"15,-18-2-31,18 1 0,-17-18 16,0 17-16,17 2 15,0-2 1,17 18-1,-17-18 1,17 2-16,-17-2 16,0 0-16,18 1 0,-18 0 15,-18 0-15,18-1 16,0 0-16,-17-17 0,17 19 16,-17-2-16,-2-17 0,2 18 15,17-1-15,-18-17 16</inkml:trace>
  <inkml:trace contextRef="#ctx0" brushRef="#br0" timeOffset="52099.56">12457 8162 0,'17'0'16,"-17"19"0,0-2-16,0 0 15,0 1-15,0-1 0,0 19 16,0-19-16,0 1 16,-17 0-16,17 0 0,0-1 15,0 0-15</inkml:trace>
  <inkml:trace contextRef="#ctx0" brushRef="#br0" timeOffset="52304.62">12245 8269 0,'89'-19'0,"-54"19"16,-18 0-16,2-17 0,-2 17 16,1 0-16,16 0 0,-15 0 15,16 0-15</inkml:trace>
  <inkml:trace contextRef="#ctx0" brushRef="#br0" timeOffset="52757.63">13233 8091 0,'0'0'0,"0"36"15,19 18 1,-19-37-16,0 0 16,0 1-16,0-1 15,0 2-15,0-2 0,0 0 0,0 1 16,0 0-16,0 0 0,0-1 15</inkml:trace>
  <inkml:trace contextRef="#ctx0" brushRef="#br0" timeOffset="53274.68">13640 8039 0,'17'0'0,"0"0"0,-51 0 0,86 0 0,-34 18 16,-18-1 0,0 0-1,0 2 1,-18-19-16,18 17 0,-18 1 15,18-1-15,0 2 16,18-2 0,-18 0-16,18 1 15,0-1-15,-18 2 16,17-19-16,-17 17 16,-17 18-16,17-17 15,-18-18-15,18 18 16,-18-1-16,0-17 0,18 17 15,-17-17-15,0 19 0,-2-19 16,2 0-16</inkml:trace>
  <inkml:trace contextRef="#ctx0" brushRef="#br0" timeOffset="53484.12">14098 8057 0,'35'17'0,"-18"0"15,-17 2-15,0 52 16,18-71-16,-18 17 16,-18 18-16,36-18 15,-18 2-15,0-2 16</inkml:trace>
  <inkml:trace contextRef="#ctx0" brushRef="#br0" timeOffset="53644.89">14080 8250 0,'18'0'0,"-18"-17"0,18 17 0,-1 0 16,36-18-1,-35 18-15,16 0 16,-15 0-16,-2 0 0</inkml:trace>
  <inkml:trace contextRef="#ctx0" brushRef="#br0" timeOffset="54027.56">14856 7951 0,'0'0'0,"18"35"16,-18 18 0,0-35-1,0-1-15,0 0 0,0 2 16,0-2-16,0 18 0,0 18 15,0-35-15,0-1 0,0 2 16,0-2-16</inkml:trace>
  <inkml:trace contextRef="#ctx0" brushRef="#br0" timeOffset="54775.55">15121 8003 0,'17'-17'0,"1"17"31,0 0-31,0 0 16,-1 17 0,-17 2-1,0-2 1,0 1-16,-17-18 16,17 17-16,-18 0 15,36 2 16,-1-2-15,0-17-16,-17 18 16,18-1-1,0-17-15,-18 19 0,0-2 16,0 0-16,-18 1 16,18-1-1,-18-17-15,18 19 0,-17-19 16,-36 34-1,35-34-15</inkml:trace>
  <inkml:trace contextRef="#ctx0" brushRef="#br0" timeOffset="55993.46">15650 7915 0,'0'18'16,"0"0"-16,0 0 15,0-1-15,18-17 0,-18 17 16,0 2-16,0-2 0,0 1 16,0-1-16,0 0 15,17-17-15,-17 36 0,0-18 16</inkml:trace>
  <inkml:trace contextRef="#ctx0" brushRef="#br0" timeOffset="56162.39">15562 8145 0,'18'-18'0,"-1"18"15,0 0-15,1 0 0,0-17 16,0 17-16,16 0 0,2-19 16,-18 19-16,-1 0 0</inkml:trace>
  <inkml:trace contextRef="#ctx0" brushRef="#br0" timeOffset="56370.64">16090 7915 0,'-17'36'16,"17"-18"-1,0-1-15,-17 0 0,17 2 16,0-2-16,0 1 16,0-1-16,-18 0 15,18 2-15,18-2 0,-18 1 16</inkml:trace>
  <inkml:trace contextRef="#ctx0" brushRef="#br0" timeOffset="56967.51">16338 7862 0,'18'19'16,"-1"-2"0,-17 0-1,0 1 17,0 0-32,0 0 15,17-1-15,-17 0 16,19 2-16,-19-2 15,0 1-15,0-1 16,0 0-16,-19 2 16,2 16-16,0-18 15,-1 2-15,18-2 16,-18-17-16,0 17 0,1-17 0,17 18 16,-17-18-16,-2 0 0,2 17 15</inkml:trace>
  <inkml:trace contextRef="#ctx0" brushRef="#br0" timeOffset="60228.73">3356 8938 0,'34'-17'16,"-15"17"-16,-2 0 16,1 0-16,-1 0 0,36 0 15,-17 0-15,-18-18 0,16 18 16,20 0-16,34 0 15,-54 0-15,37 18 0,0-18 0,-18 0 16,71 0-16,16 0 16,-69 0-16,-1 0 0,1 0 15,0 0-15,-1 0 0,18 0 16,54 0-16,-54 17 0,-18-17 16,1 0-16,17 0 0,-17 0 15,70 19-15,-70-19 0,-1 0 16,18 0-16,-17 0 0,0 17 0,-1-17 15,1 0-15,-19 0 0,19 0 16,-1 0-16,-16 17 0,16-17 0,-18 0 16,55 0-16,-55 0 15,-16 0-15,17 0 0,-18 0 0,0 18 16,18-18-16,-17 0 0,-1 0 16,1 0-16,-2 0 0,-16 0 15,52 0-15,-34 0 0,52 0 16,-53 0-16,-18 0 15,19 0-15,-18 0 0,18 0 16,-19 0-16,18 0 0,1 0 0,16 0 16,-16 0-16,-2 0 0,2 0 15,-1 0-15,1 0 0,16 18 16,-16-18-16,17 0 0,35 0 16,-53 0-16,18 0 0,-18 0 0,18 0 15,-18 0-15,18 0 16,-17 0-16,16 0 0,2 0 0,34 0 15,-52 18-15,16-18 0,-16 0 16,16 0-16,-16 0 0,17 0 16,35 0-16,-53 0 0,18 0 15,70 17-15,-87-17 16,17 0-16,-18 0 0,18 0 16,18 0-16,-19 0 0,18 0 0,1 0 15,53 17-15,-53-17 0,-1 0 16,0 0-16,-17 0 0,0 0 15,18 0-15,17 0 0,-17 0 16,-1 0-16,-18 0 16,90 0-16,-89 0 0,18 0 0,-18 0 15,70 0-15,-87 0 0,86 0 16,-68 0-16,-1 0 16,-1 0-16,19 0 0,-1 0 15,-16 0-15,16 0 0,1-17 0,-19 17 16,1 0-16,18 0 0,-18 0 15,-1 0-15,2 0 0,-1 0 0,-1 0 16,1 0-16,18 0 0,-18 0 16,18 0-16,0 0 0,-19 0 0,18 0 15,54 0-15,-53-17 16,-19 17-16,19 0 0,-18 0 0,0 0 0,-18 0 16,18 0-16,-1 0 15,2 0-15,-1 0 0,0 0 0,70 0 16,-35 0-16,-35-18 15,1 18-15,-20 0 0,20 0 16,-20 0-16,54 0 0,-34 0 16,-18 0-16,-2 0 0,1 0 0,1 0 15,-1 0-15,1 0 16,-2 0-16,37-18 0,-35 18 0,-1 0 16,1 0-16,-2 0 0,54 0 15,-70 0-15,18 0 0,-2 0 16,2 0-16,35-18 0,-36 18 15,53 0-15,-52 0 16,-2 0-16,2 0 0,35 0 16,-36 0-16,-18 0 0,19 0 15,-1 0-15,1 0 0,-2 0 16,-16 0-16,18 0 0,-2-17 0,2 17 16,-18 0-16,16 0 0,20 0 15,-18 0-15,-2-17 0,-16 17 16,18 0-16,-19 0 0,54 0 15,-54-19-15,54 19 0,-54 0 16,19 0-16,16 0 0,-16 0 16,-1 0-16,1-17 0,-19 17 15,18 0-15,1 0 0,17 0 16,18-18-16,-54 18 0,18 0 16,1 0-16,34 0 15,-35-17-15,-18 17 0,19 0 0,16 0 16,-16 0-16,-18 0 15,18 0-15,-19 0 0,0-17 0,18 17 16,-16 0-16,-2 0 16,0 0-16,1 0 0,0 0 15,0-19-15,-1 19 0,0 0 16,2 0 0</inkml:trace>
  <inkml:trace contextRef="#ctx0" brushRef="#br0" timeOffset="61135.24">9053 9591 0,'17'35'0,"-17"-16"16,0-2-16,0 0 16,-17 1-16,17 0 0,0 17 15,0-18-15,0 1 0,0 0 16,-17 0-16,17-1 0,0 0 0,0 2 15,0-2-15</inkml:trace>
  <inkml:trace contextRef="#ctx0" brushRef="#br0" timeOffset="61346.04">9406 9486 0,'18'52'0,"-18"-35"0,0 2 16,0-2-16,0 1 0,0-1 0,0 2 15,0 15-15,-18 20 16,18-37-16,0 0 0,0 1 16,-18 18-16,18-19 0,0 0 15,0 2-15</inkml:trace>
  <inkml:trace contextRef="#ctx0" brushRef="#br0" timeOffset="62031.56">17132 8462 0,'34'0'0,"-15"0"15,69-17 1,-71 17 0,18 0-16</inkml:trace>
  <inkml:trace contextRef="#ctx0" brushRef="#br0" timeOffset="62231.92">17061 8745 0,'17'0'15,"-34"0"-15,70 0 0,-35 0 0,16 0 16,20 0-16,16 0 16,-35 0-16,1 0 0,-1 0 0,-17 0 15,17 0-15,18 0 16</inkml:trace>
  <inkml:trace contextRef="#ctx0" brushRef="#br0" timeOffset="86264.39">18332 8145 0,'-19'0'15,"55"-18"17,-1 18-17,-18 0-15,19-17 0,-19 17 0,19-19 16,-18 19-16,16-17 0,-15 17 15,-2 0-15,1 0 0,-1 0 16,-17-17-16,36 34 0,-1 0 16,-35 2-16,17-2 15,-17 37-15,0-37 16,19 18-16,-19-18 0,0 19 16,0 17-16,0-18 0,0-18 15,0 19-15,0-18 0,0 16 0,0-15 16,0-2-16,0 1 0,0-1 15,17 2-15,-17-2 0,0 0 16,0 1-16</inkml:trace>
  <inkml:trace contextRef="#ctx0" brushRef="#br0" timeOffset="86458.44">18578 8569 0,'18'-19'0,"35"2"15,-18 17 1,-18-18-16,2 18 0,-2 0 16,0-17-16,1 17 0,18 0 0</inkml:trace>
  <inkml:trace contextRef="#ctx0" brushRef="#br0" timeOffset="86627.84">19108 8391 0</inkml:trace>
  <inkml:trace contextRef="#ctx0" brushRef="#br0" timeOffset="87039.38">19425 8162 0,'-36'19'31,"1"15"-15,18-34-16,-2 18 15,19-1 1,0 2-16,0-2 16,19-17-16,-19 17 0,17-17 15,-17 18-15,18 0 16,-1 0-16,2-1 0,-19 0 16,17 2-16,-17 16 15,-17-18-15,17 0 16,-19 2-16,19-2 0,-17 1 15,-1-1-15,1 2 0,-19 15 32,19-16-32,17 0 0</inkml:trace>
  <inkml:trace contextRef="#ctx0" brushRef="#br0" timeOffset="87264.56">19725 8339 0,'-19'18'16,"2"16"0,0-15-16,-1 16 0,0-1 15,-17 2-15,18-1 0,-1 1 0,-35 17 16,36-35-16,-2 16 0,2-16 15,-1 0-15,18 0 0,-17-18 16,17 17-16</inkml:trace>
  <inkml:trace contextRef="#ctx0" brushRef="#br0" timeOffset="87478.68">19830 8374 0,'0'-17'0,"-17"87"16,0-52-16,-2 16 0,-16 2 15,-35 35-15,52-36 16,-52 53-16,34-52 16,1 17-16,18-18 0,-19 1 0,1-2 15,18 1-15,-2-16 0,2 15 16</inkml:trace>
  <inkml:trace contextRef="#ctx0" brushRef="#br0" timeOffset="93419.51">18984 8991 0,'105'71'0,"-69"-54"0,-19-17 16,19 19-16,-1-19 0,36 35 16,-18-35-16,-18 0 0,18 17 15,88-34 1,-89 17-16,19 0 0,-18-18 0,53 1 16,-70 17-16,-2-19 0,2 19 15,-1-17-15,1 0 0,-1 17 16,-1-18-16,2 0 0,-1 0 0,1 1 15,-19 0-15,19-19 0,-1 18 0,-18-16 16,19 15-16,-1-16 0,-18 18 16,2-19-16,16 19 0,-18-1 0,2-18 15,-19 19-15,17 0 0,0-1 16,-17 0-16,18 0 0,-18-16 0,0 15 16,17 2-16,-17-18 0,19-1 15,-19 19-15,17-18 0,-17 16 0,0-15 16,0 16-16,0-18 0,0 2 15,0 15-15,0-16 0,-17 1 0,-2-2 0,19 18 16,-17-35-16,-1 18 0,-16-1 16,15 2-16,-16-2 0,18 1 15,-19-1-15,1 1 0,-1 1 0,2 15 16,-2-16-16,1-1 0,-36-16 16,35 16-16,2 19 0,-1-18 15,-1 17-15,1 0 0,-1 1 16,2-19-16,-2 19 0,1-1 0,-1 1 0,-16 0 15,16-2-15,1 19 16,-1-17-16,2-1 0,-20 1 0,20 17 16,-2-19-16,1 19 0,-1-17 0,1 17 15,-1-17-15,2 17 0,-20-18 16,20 18-16,-2 0 0,1-18 0,-1 18 16,1 0-16,-1 0 0,2 0 0,-1 0 15,-1 0-15,1 0 0,-1 0 16,2 18-16,-2-18 0,18 0 0,-16 0 15,-2 0-15,18 18 0,-18-18 0,19 17 16,-18-17-16,-1 17 0,19 2 16,0-2-16,-19-17 0,18 18 0,-16-1 15,15 2-15,2-2 0,-18 0 0,18 1 16,-2 18-16,2-19 0,-1 0 16,1 1-16,-2 0 0,2 17 0,0-18 15,-1 1-15,18 18 0,-18-19 16,-17 54-16,18-35 0,-1 33 15,0-50-15,18 15 16,-18 2-16,18-1 0,-17 1 0,17-19 16,0 18-16,-17 1 0,17-1 0,0-18 15,0 19-15,0-1 0,0-18 16,0 19-16,0-19 0,0 19 0,17-1 16,-17-18-16,0 19 0,17-1 0,1-18 15,-18 19-15,18-1 16,0-16-16,-18 15 0,17-16 0,0 18 0,1-19 15,0 18-15,-18-17 0,18 17 0,-1-18 16,0 2-16,19 16 16,-18-18-16,18 2 0,-2-2 0,1 0 15,1 18-15,-1-35 0,1 19 0,-2-2 16,2 0-16,-1-17 0,-18 18 16,19 0-16,-18-18 0,18 0 0,-19 18 15,0-18-15,1 17 0,0-17 0,0 0 16,-1 0-16,-17 17 0,17-17 15,1 0-15,0 19 0,0-19 16,-1 0-16,0 0 16</inkml:trace>
  <inkml:trace contextRef="#ctx0" brushRef="#br0" timeOffset="94371.71">19354 9379 0,'-36'54'0,"36"-37"16,-17 19-16,0-1 0,17 18 0,-18-1 0,0 1 15,-34 159 1,16-141-16,-16 70 16,33-71-16,2 0 0,-18 1 0,16-18 15,2 1-15,0-2 0,-1-16 0,1 17 16,-19-18-16,19 53 16,-1-71-16,18 2 0,-18-19 15,18 17-15</inkml:trace>
  <inkml:trace contextRef="#ctx0" brushRef="#br0" timeOffset="94823.43">19442 9379 0,'-17'0'0,"-36"36"15,35-36-15,1 18 0,-2-1 16,-15 0-16,-2 19 0,18-18 0,-16 16 15,-2-15-15,18 16 0,-16-18 0,15 2 16,2-2-16,-1 0 0,1 1 16,-2 0-16,2 0 0,0-1 0,-1 0 15,1 1-15,-2 0 16</inkml:trace>
  <inkml:trace contextRef="#ctx0" brushRef="#br0" timeOffset="95090.31">19284 9379 0,'17'0'15,"0"0"-15,2 0 0,-2 0 16,1 0-16,-1 18 0,2-18 15,-2 18-15,18 0 0,-18-18 0,2 17 16,-2 0-16,0 2 0,19-2 0,-18 1 16,-1-1-16,0-17 0,1 17 15,0 2-15,-18-2 0,18-17 0,-1 18 16,-17-1-16,17-17 0,-17 19 0,19-19 16,-19 17-16,17-17 15</inkml:trace>
  <inkml:trace contextRef="#ctx0" brushRef="#br0" timeOffset="96661.95">15544 12395 0,'-18'0'0,"1"0"16,70-17 15,-18 17-15,-18 0-1,1-17-15,18 17 0,-2 0 0,-15-18 0,16 18 16,-18-18-16,19 18 0,-19-18 16,1 18-16,-1-17 0,19 0 15,-19 17-15,-17-18 16,18 0 0,-18 54 15,0-19-31,0 0 0,0 19 15,18 35 1,-18-36-16,0 1 0,18 69 16,-18-52-1,0-35-15,0 52 16,-18-35-16,-18 18 16,19-35-16,0-1 0,17 2 15,-19-19-15,2 17 0,-1-17 16,1 0-16,0 17 0,-19-17 15,1 0-15,16-17 16,2 0 0</inkml:trace>
  <inkml:trace contextRef="#ctx0" brushRef="#br0" timeOffset="97099.46">16038 12502 0,'0'-17'16,"0"69"15,0-35-31,18 2 16,-18-2-16,0 0 0,17 19 15,-17-18 1,36-1 0,-36 0-16,17-17 0,1 0 15,-1-17-15,2 17 16,-2 0-16,0-35 16,1 17-16,-18 0 0,17 1 15,-17 0 1,19 17-16,-19-19 15,17 38 1,-17-2 0,0 0-16,0 1 0,17-18 15,-17 18-15,0 0 0,0-1 16,18 0-16,18 19 16,-2-36-1</inkml:trace>
  <inkml:trace contextRef="#ctx0" brushRef="#br0" timeOffset="97630.53">16532 12485 0,'0'34'16,"0"-16"0,0-1-16,0 2 15,0-2-15,0 0 16,0 1 0,17-36 30,2 1-30,-2 17 0,18 0-1,-35 17 1,18-17 0,0 18-1,-18 0-15,17-18 16,0 0 15,-17-18-15,18 18-16,-18-18 15,18 18-15,0 0 16,-1 0 0,0 18-1,2-18 1,-19 18-16,17-18 15,1 0-15</inkml:trace>
  <inkml:trace contextRef="#ctx0" brushRef="#br0" timeOffset="98154.42">16973 12185 0,'-17'34'31,"17"-16"-31,0 35 16,0-36-16,0 19 16,0-18-16,0 16 0,0 20 0,0 16 15,0-35-15,0 1 0,0 17 0,0-18 16,17 0-16,-17 1 0,0-19 15,0 19-15,0-1 0,0-18 0,0 2 16,0-2-16,0 0 0,0 1 0,0-1 16,0 2-16,0-2 15,0-53 17,17-33-17,1 33-15,-18-18 0,18 20 16,-18-2-16,18 1 0,-1 18 0,-17-19 15,17 18-15,2 1 0,-2 0 16,1-2-16,-1 2 0,0 17 0,2 0 16,-19-18-16,17 18 0,1 18 15,-1-18-15,-34 36 16,17-19 0,-35 18-1,16-17-15,2 0 0,0-1 0,-1 0 16,1 1-16,-2 0 0,2-18 0,17 18 0,-35-1 15,17-17 1,18 17-16</inkml:trace>
  <inkml:trace contextRef="#ctx0" brushRef="#br0" timeOffset="98335.27">17344 12378 0,'17'17'0,"-17"2"0,0 16 16,0-18-16,0 2 15,0-2-15,0 18 0,-17-18 0,-2 19 16,19-19-16,-17 1 16,17 0-16</inkml:trace>
  <inkml:trace contextRef="#ctx0" brushRef="#br0" timeOffset="98470.38">17256 12290 0,'0'-17'16,"0"34"-16</inkml:trace>
  <inkml:trace contextRef="#ctx0" brushRef="#br0" timeOffset="99050.39">17485 12343 0,'17'18'0,"-17"-1"16,0 0-16,18-17 0,-18 19 15,0-2-15,0 1 16,17-1-16,-17 2 0,0-2 0,0 0 15,0 18 1,0-16 0,17-38 15,2 2 0,-2-1-31,1 18 16,-1-17-1,2 17-15,-2 0 16,0 0-16,1 0 0,0 0 16,0 0-1,16 0-15,-16-17 0</inkml:trace>
  <inkml:trace contextRef="#ctx0" brushRef="#br0" timeOffset="99346.39">17908 12361 0,'0'-18'16,"-18"18"-16,18 18 16,0 35-1,0-36-15,0 18 16,0-16-16,0-2 0,-17 0 0,17 18 16,-36 36-1,36-35-15,-17-19 0,17 0 0,-36 37 16,18-54-1,18 17-15,-17-17 0,17 17 0,-17-17 16,17-34 0,34-2-1,-16 18 1,18-16-16,-19 34 16,0-18-16,19 0 0,-18 0 0,16 1 15,-15 17-15,16-36 0</inkml:trace>
  <inkml:trace contextRef="#ctx0" brushRef="#br0" timeOffset="100043.56">18737 11973 0,'-53'17'0,"35"0"15,18 2-15,-17 16 0,-19 35 16,36-52-16,-17 18 0,17-19 16,0 18-16,-18 18 15,36-36-15,-18 1 16,17 18-16,0-36 0,-17 17 0,19-17 16,-2 0-16,1 0 0,-1 0 15,2 0-15,-2 0 0,18-17 0,18-19 16,-36 36-16,1-18 15,18-34 1,-19 34-16,-17-17 16,17 35-1,-51 17 17,16 1-17,18 18 1,0-19-1,0 0 1,35-17 0,1-17-1,-19 17-15,-17-17 0,18 17 0,-18-18 16,17 18 0,-17-18-16,17 18 0,2 18 31,-19 0-16,17-1 1,1 0 0,18 1-1</inkml:trace>
  <inkml:trace contextRef="#ctx0" brushRef="#br0" timeOffset="100326.53">19318 12131 0,'-17'0'15,"17"18"-15,-17-18 0,17 36 16,0-2 0,0-16-1,0 0-15,0 17 16,0-18-16,-18 1 15,18 0 1,0 0-16,-18-1 0,18 0 16,-35 2-1,18-2 1</inkml:trace>
  <inkml:trace contextRef="#ctx0" brushRef="#br0" timeOffset="100566.44">19513 11919 0,'0'-34'16,"0"68"-1,0-16-15,0 0 0,0 17 16,-17-18-16,-2 90 15,19-72-15,-17 1 0,-1-2 16,18 37-16,-17-54 0,17 19 16,0-18-16,0 35 15,0-36 1</inkml:trace>
  <inkml:trace contextRef="#ctx0" brushRef="#br0" timeOffset="100766.58">19389 12237 0,'36'0'31,"-1"-18"-31,-18 18 0,2 0 15,15-17 1,-16 17-16,0 0 0</inkml:trace>
  <inkml:trace contextRef="#ctx0" brushRef="#br0" timeOffset="100971.24">19796 11937 0,'0'-18'15,"0"36"-15,-19 0 31,2 34-15,17-16-16,-18-18 0,18-1 16,-17 19-16,17-19 0,0 18 0,-19-16 15,19-2-15,0 18 0,-17-17 16,17 17-16,0-18 16,0 1-16,17 0 15,-17 0-15</inkml:trace>
  <inkml:trace contextRef="#ctx0" brushRef="#br0" timeOffset="101257.98">19918 12361 0,'36'-36'0,"-1"1"16,-35 18-16,17-1 15,2 0-15,-19 0 16,0 1-16,-19 17 16,2 0-1,-18 0-15,35 17 0,-18-17 16,0 18-16,1 0 0,17 0 0,-17-1 16,17 0-16,0 1 15,17-18-15,18 36 16,-17-36-16,0 0 0,35 17 15,-36-17-15,1 0 0</inkml:trace>
  <inkml:trace contextRef="#ctx0" brushRef="#br0" timeOffset="102894.73">17678 13207 0,'106'-17'0,"-70"17"0,-2 0 16,196 0-16,-160 0 16,213 0-1,-178 0-15,-17-19 0,19 19 0,-19-17 16,0 17-16,0-17 0,-17-1 15,-1 1-15,1-2 0,-18 2 0,123-36 16,-122 35 0,-20 1-16,20-19 0,-20 19 0,20-1 15,-20 1-15,-15 0 0,16-2 16,-18 2-16,19-1 0,-19 1 0,18-19 16,1 19-16,-1-19 0,1 18 0,-19 1 15,71-107 1,-71 107-16,2-1 0,-2-16 15,1 15-15,-1 2 0,2-1 16,-2-35-16,0 36 16,-17-1-16,18 18 0,-18-18 0,0 0 15,0 1-15,18-18 16,-18 17-16,0 0 0,0-35 16,0 36-16,0-18 0,0 16 15,0-15-15,0-1 0,0-1 16,-18-69-16,18 86 15,-18-50-15,1 33 0,-19 1 16,19-18-16,-1 35 0,-18-18 16,-69-52-1,70 71-15,-1-19 0,2 19 0,-20-1 16,1-16-16,18 15 0,-18 2 16,0-1-16,1 1 0,-19-2 0,18 2 0,-18 0 15,0 17-15,-51-36 16,51 36-16,0 0 0,1-18 15,-124 1-15,124 17 16,-1 0-16,0 0 0,1 0 0,16 0 16,-16 0-16,-1 0 0,0 0 15,-139 0-15,120 0 16,21 0-16,-20 0 0,-17 0 0,18 0 16,0 0-16,0 0 0,18 0 15,-18 0-15,-19 0 0,19 0 0,0 0 16,-141 17-1,158-17-15,0 0 0,1 0 16,16 0-16,2 18 0,-1-18 0,18 0 16,-18 0-16,17 18 0,1-18 0,1 18 15,-2-18-15,1 17 0,-1-17 16,1 17-16,-35 2 0,16-2 16,20 1-16,-2-18 0,1 17 0,-1 2 15,1-2-15,-18 0 0,18 1 16,-18-1-16,18 2 0,-54 15 15,37 2-15,-1-18 16,35-1-16,-18 0 0,19 1 0,-18 0 16,17 0-16,-17-1 0,-18 36 15,35-35-15,-16-1 0,15 19 16,-16-1-16,18 1 0,-19-2 0,19 2 16,-18-18-16,16 16 0,2 2 15,0-18-15,17 16 0,-18-15 0,0 16 16,0 1-16,1-2 0,17 2 15,-36 70 1,19-72-16,17 37 0,-18-18 0,18 1 16,0-20-16,0 2 0,0-1 15,18 0-15,-18 1 0,17-2 0,2 20 16,15 16-16,-16-35 16,18 1-16,-2-1 0,2 1 0,-1-2 15,1 2-15,-1-18 0,18 16 16,-18-15-16,18-2 0,0 18 0,-1-16 15,19-2-15,-18-17 0,18 17 0,141 18 16,-124-16 0,193-2-1,-191-17-15,-2 17 0,17-17 0,-17 18 16,-17 0-16,141 0 16,-159-18-16,18 17 0,87-17 15,-123 0-15,18 17 16,70-34-1,-87 17-15,16 0 0,-16 0 0,17 0 0,18-17 16,34 17 0,-70-18-16,54 0 15,-54 18-15,-18-18 16,19 18-16,-18 0 0,16-17 16,-15 17-16,-2 0 0,18-17 0,1-2 15,-19 19-15,1 0 16,-1 0-16,2-17 15,-2 17 1</inkml:trace>
  <inkml:trace contextRef="#ctx0" brushRef="#br0" timeOffset="103822.55">14733 12343 0,'-71'0'0,"54"0"16,-2 18-16,-15-18 0,-37 17 15,36 0-15,-54 2 16,54-2 0,1-17-16,-2 18 0,1-18 0,-1 0 15,-17 17-15,35-17 16,1 0-16,0 0 0,-1 0 0,0 0 16</inkml:trace>
  <inkml:trace contextRef="#ctx0" brushRef="#br0" timeOffset="104064.55">14150 12202 0,'-34'17'0,"16"-17"16,-18 36-16,19-18 15,0-1-15,-2 0 0,19 1 0,-17 0 16,-1 0-16,18 35 15,0-36-15,0 1 16,54-1-16,16 2 31,-52-19-31,-1 0 0,88 0 16</inkml:trace>
  <inkml:trace contextRef="#ctx0" brushRef="#br0" timeOffset="105221.3">11364 12343 0,'-18'18'15,"1"-1"1,-2 0-16,2 2 0,0-19 16,-19 17-16,18 1 0,-52 35 15,35-36-15,18 1 16,-19-1-16,18 2 0,1-19 16,-2 17-16,-15 18 15,16-35-15,18 18 0,-17 0 16,34-1-1,1 0-15,-1-17 0,0 0 16,19 18-16,-1-18 16,-16 0-16,15 18 0,-16-18 0,18 0 15,34 0-15,-52 0 16,-1 0-16,0-18 0,19 18 16,-18 0-16,16-18 15,-15 18-15</inkml:trace>
  <inkml:trace contextRef="#ctx0" brushRef="#br0" timeOffset="105472.27">11522 12502 0,'0'-17'0,"0"51"31,18 1-15,-18-16-16,0 15 15,0-16-15,0 0 16,0 0-16,0-1 0,0 0 16,18 1-1</inkml:trace>
  <inkml:trace contextRef="#ctx0" brushRef="#br0" timeOffset="105810.32">11752 12537 0,'-18'0'0,"18"17"31,0 2-31,0-2 16,18 18 0,-18-17-16,17-18 0,-17 18 15,19-18-15,-2 0 0,-17 17 0,17-17 16,1 0-16,-1 0 0,2-17 16,-2 17-1,-17-18-15,0 0 16,-17 0-1,17 1-15,-19 17 0,2-17 16,-1-2 0,1 19-1</inkml:trace>
  <inkml:trace contextRef="#ctx0" brushRef="#br0" timeOffset="107171.67">12281 12395 0,'-17'0'15,"17"19"-15,-19-2 16,19 18 0,19 18-1,-2-35 1,-17-1-16,17-17 0,1 19 16,18-19-16,17-19 31,-36 19-31,1-17 15,-1 17-15,0-18 0,2 18 0,-2-17 16,1 17 0,-1 0-1,2 17 1,-19 1-16,17-1 0,-17 2 16,0 33-1,0-34-15,0 17 0,-17-18 0,17 1 16,0 0-16,-19 0 0,2-1 15,17 0-15,-18 2 16,1-19 0,17-19 15,17-15-15,1 34-16,-1-18 0,-17 0 0,19 0 15,-2 1-15,36-54 16,-53 37-16,18 15 0,-18 2 15,17-1-15,0-35 16,-17 36-16,0-1 16,0 1-16,0-2 15,-17 19-15,0 19 32,17-2-17,0 1 1,0-1-16,0 2 15,17-2-15,-17 0 16,17-17 0,1 18-1,0-18 1,17-18-16,-18 18 0,2 0 16,16-17-1,-35 0-15,17 17 0,0-19 0,2 2 16,-19-1-16,17 18 15,-17-17-15,0-2 16,-36 38 31,36-2-31,0 1-16,0-1 0,-17-17 15,34 19-15,-17-2 16,0 0-16,19-17 15,-2 0 1,1 0 0,-1-17-1,2 0 17,-2 17-32,0 0 15,1 0 1,0 17-1,0 0 1,-18 1 0,34-18 31,-16-35-32,0 18-15,-18-2 16,18 19-16,-1-17 0,0 17 0,-17-18 0,36 1 15,-18 17 1,-1 0 0,-17 17-1</inkml:trace>
  <inkml:trace contextRef="#ctx0" brushRef="#br0" timeOffset="107498.64">11893 13031 0,'53'-36'0,"-35"36"0,123-17 16,-53-19 0,71 1-1,-106 35-15,-1-17 0,1 0 0,1-2 16,-2 2-16,1 17 0,35-35 16,-71 35-16,19-19 0,-18 19 15,-1-17-15,36 17 16</inkml:trace>
  <inkml:trace contextRef="#ctx0" brushRef="#br0" timeOffset="107745.03">11717 13225 0,'-71'17'16,"142"-34"-16,-142 53 0,123-36 15,160-54 17,88-16-32,-229 52 15,212-52 1,-178 16 0,-52 37-16,-1 0 0,2-2 0,-20 2 15,56-18 1,-73 18-16,0-2 0,1 19 15,-18-17-15</inkml:trace>
  <inkml:trace contextRef="#ctx0" brushRef="#br0" timeOffset="108295.86">11522 11937 0,'0'0'0,"54"0"15,-37 0-15,124 0 16,-70-18 0,141 18-1,-143 0-15,2-17 0,0 17 0,17 0 16,106-36-16,-123 36 15,-18-17-15,-1 17 0,2-18 16,-37 18-16,19 0 16,-36-17-16</inkml:trace>
  <inkml:trace contextRef="#ctx0" brushRef="#br0" timeOffset="108502.75">11769 12007 0,'159'0'0,"-89"0"0,142-17 16,-53 0 0,36-1-16,-125 18 15,18 0-15,-17 0 0,-2-18 0,2 18 16,-18 0-16,-17 0 0,-1 0 0,0 18 15,1-18-15</inkml:trace>
  <inkml:trace contextRef="#ctx0" brushRef="#br0" timeOffset="109078.22">13410 12343 0,'-36'0'16,"19"0"-16,0 0 0,17 18 16,-19-18-16,2 0 0,17 17 15,0 0 1,17 19-1,-17-18-15,36-1 16,-36 2-16,0-2 16,0 0-16,0 1 15,0-1 1,-36 2 0,19-2-16</inkml:trace>
  <inkml:trace contextRef="#ctx0" brushRef="#br0" timeOffset="116670.54">19089 7298 0,'19'-17'78,"-19"-1"-62,17 0-1,-17 0-15,35-52 16,-17 35-16,0-18 0,16 18 0,2-36 16,-1 1-16,18 16 0,123-175 15,-88 141-15,0 0 16,2 17-16,-2 1 0,0 16 15,229-104-15,-212 123 16,125-18-16,-124 18 16,0 16-16,-1 19 0,19-17 0,71 17 15,-90 17-15,-17-17 16,0 0-16,-17 19 0,-1-19 0,1 17 0,105 18 16,-140-35-1,52 36 1,-71-36-16,1 0 0,-18 17 0,18-17 0,0 0 15,-18 18-15,17-18 16,-17 18 0</inkml:trace>
  <inkml:trace contextRef="#ctx0" brushRef="#br0" timeOffset="117121.63">21912 5922 0,'36'0'0,"-19"17"0,35 2 15,-33-2-15,-2 1 16,18-1-16,1 19 0,-19-1 0,36 35 16,-35-34-1,-36 87 1,1-87-16,-19 35 0,-17-19 0,18 1 0,-36 0 16,-53 53-16,72-53 15,-18-1-15,-1 1 0,18-17 0,-1 16 16,-122 55-1,106-72-15</inkml:trace>
  <inkml:trace contextRef="#ctx0" brushRef="#br0" timeOffset="124451.41">3321 7105 0,'-71'0'0,"53"0"16,-17 0-16,18 0 15,-37 0-15,1 17 16,18 0-16,-1 1 0,2 0 0,-54 17 16,52-18-16,-52 37 15,53-20-15,-1 2 0,1-18 16,-1 18-16,2 16 0,-2-16 0,1-2 16,0 2-16,-35 104 15,16-69-15,37-18 16,-2-18-16,-15 18 0,16-17 0,1 52 15,-2-53-15,2 18 16,0 1-16,-1 51 16,18-70-16,-18-17 0,18 17 0,0 36 15,0-37-15,0 73 16,0-54 0,0-18-16,0 0 0,0 1 15,18-2-15,-18 2 0,0-1 16,35 89-16,1 0 15,-19-89-15,1-1 16,16 56-16,-15-56 16,16 1-16,-18 1 0,19-1 0,-1 18 15,35 18-15,-16-18 0,-20-18 16,178 123 0,-158-104-16,16-20 15,53 37-15,-70-35 0,18-1 16,17 1-16,229 69 15,-229-70 1,0-17-16,19 0 0,-19-1 0,17 0 0,2 2 16,-2-2-16,1 1 0,212 18 15,-88-19 1,-125 0-16,124 1 16,-105-1-16,246 19 15,-246-36-15,0 17 0,-2-17 0,2 0 16,-1 18-16,125 0 15,-125-18-15,247 18 16,-246-1-16,-1-17 0,-16 17 16,15-17-16,2 19 0,-1-19 0,89 17 15,-88-17-15,-19 18 16,2-18-16,-19 17 0,17-17 0,213 17 16,-212-17-16,17 0 15,-16 0-15,-19 0 0,17 0 16,178 19-16,-178-19 15,-17 0-15,19 0 0,-2 0 0,-17 0 16,107-19 0,-90 19-16,-17 0 0,19-17 0,-2 17 0,0 0 15,213-35-15,-229 35 16,246-36 0,-211 36-16,-2-17 0,2 0 15,-18-1-15,18 0 0,157-17 16,-122 18-16,-35-2 0,0 2 15,16-18-15,-16 18 0,34-19 0,196-35 16,-232 36-16,-34 17 16,19-17-16,176-18 15,-195 35-15,-18-16 0,141-20 16,-158 54 0,1-17-16,-2-19 0,89-16 15,-88 33-15,1-15 16,-2 16-16,36-18 0,-35 2 15,-17 16-15,16 0 0,72-53 16,-71 54-16,-18-1 16,0-18-16,89-16 15,-71 16-15,-18 19 0,71-18 16,-35-18 0,-19 36-16,-16-2 0,-1 2 0,1-1 15,16 1-15,-16-19 0,86-35 16,-86 37-16,-1 16 15,1-18-15,-1 2 0,71-54 16,-71 52 0,0 1-16,54-53 15,-18 35 1,-54 35-16,0 0 0,1-17 16,-1 18-16,2-1 0,-2 0 15,0 0-15,1-16 0,0 15 16,-18-16-16,18 18 0,-18-2 15,34-69 1,-34 71-16,19-18 0,-19 17 0,17 0 0,-17-16 16,18-2-1,-1 18-15,-17-16 0,0 15 0,17 2 0,-17-18 16,19-36 0,-19 54-16,0-2 0,0-15 15,0 16-15,0 0 0,0-17 16,-19 18-16,19-2 0,-17-33 15,0 35-15,17-2 0,-18-16 16,1 18-16,-2-2 16,2 19-16,0-17 0,-37-36 15,20 35-15,-20-16 16,20 16-16,-90-35 16,88 53-16,-16-17 15,-2-2-15,1 2 0,18-1 0,-1 18 0,-16-17 16,-89 0-1,88-2-15,-89 2 16,90 17-16,16-18 16,-16 18-16,-89-17 15,53 17-15,17-19 16,18 19-16,-123-17 16,105 17-16,-35-17 15,36 17-15,17 0 0,-18 0 0,18-18 16,-140 0-1,122 18-15,18 0 0,-18-18 16,0 18-16,1 0 0,-160-17 16,160 17-16,0-17 0,0 17 15,-20 0-15,21 0 0,-160-18 16,139 18-16,21 0 16,-38 0-16,2 0 0,34-18 0,-17 18 15,18 0-15,-18 0 0,-160-18 16,178 18-16,-36 0 15,0 0-15,-71 0 0,72 0 16,17 0-16,-107-17 16,90 17-16,17 0 0,-18 0 15,0 0-15,18 0 0,-18-17 0,-194 17 16,-17-19 0,210 19-16,2-17 15,-19 17-15,19 0 0,-1 0 0,-247-18 16,229 1-1,-228 17-15,228-19 16,19 19-16,-2 0 0,-16-17 0,-1 17 16,-105-17-16,124 17 15,-19 0-15,1 0 0,16-18 0,-227 1 16,228 17-16,0 0 16,0 0-16,-18-19 0,19 19 15,-300-17 1,298 17-16,19 0 0,0 0 15,17 0-15,-34-17 0,34 17 16,-158 0-16,141 0 16,17 0-16,1 0 0,-1 0 0,0 0 15,1 0-15,-1 0 0,0 0 16,-105 0 0,123 0-16,0 0 0,18 0 0,-18 0 0,1 0 15,16 0-15,-18 0 0,2 0 16,16 0-16,-16 0 0,16 0 15,-17 0-15,1 0 0,-1 17 0,-1-17 16,-34 0-16,54 0 0,-37 17 16,18-17-16,-89 19 15,72-2-15,18-17 0,16 18 16,-16-18-16,16 0 0,-18 17 16,20-17-16,-1 17 0,-1-17 0,1 19 15,-18-19-15,0 17 0,18 1 16,-1-18-16,1 17 0,18-17 15,-107 53 1,89-35-16,-18 0 16,36 0-16,-19-1 0,18-17 0,1 17 15,0-17-15,-19 18 0,18-18 0,18 18 16,-17-18-16,-19 0 16,19 0-16</inkml:trace>
  <inkml:trace contextRef="#ctx0" brushRef="#br0" timeOffset="130418.36">8294 7563 0,'-193'194'0,"157"-141"16,19 18-16,-19 17 0,1-18 0,0 18 16,-1-17-16,-17 158 15,53-158-15,0-19 0,0 1 16,19 1-16,103 87 15,-51-106-15,70 35 16,54-35-16,-72-35 0,-17 19 16,34-38-16,19 19 0,18-17 15</inkml:trace>
  <inkml:trace contextRef="#ctx0" brushRef="#br0" timeOffset="131172.43">16038 7598 0,'-17'-17'0,"52"17"15,18 34 1,-18-16-16,1 0 16,52 34-16,-36 2 0,-16-18 15,17 16-15,-36 1 0,54 88 16,-71-89-16,0 2 15,0-1-15,-19 18 0,2-19 0,-18 1 16,-18 18-16,18-18 0,-18 18 16,0-19-16,-18 1 0,19 0 0,-19-18 15,-17 18-15</inkml:trace>
  <inkml:trace contextRef="#ctx0" brushRef="#br0" timeOffset="134353.81">3426 7651 0,'-17'-36'0,"-2"36"0,2 0 0,17-17 16,-17 17-16,-1-17 15,1 17-15,-2 0 16,2 0-16,0 0 0,-19 0 0,18 0 0,-16 0 15,-54 17 1,52-17-16,-18 17 16,2 1-16,16 18 0,-16-19 0,16 0 15,-69 73 1,69-56-16,1-16 0,-1 18 0,2-2 16,16 2-16,-35 35 15,36-54-15,-1 18 0,18 1 0,-36 16 16,36-16-16,0-1 0,-17 1 15,17-2-15,0-16 0,17 71 16,1-54 0,0-1-16,0 2 0,-1-18 0,18 18 0,35 16 15,-34-16-15,16-19 16,38 36-16,-38-35 16,1-1-16,18-17 0,-1 17 0,1 2 15,0-19-15,193 17 16,-106 1-16,-87-18 15,34 0-15,2 0 0,-19-18 0,17 18 16,143 0 0,-142-17-16,-18 17 0,88 0 15,-70-19-15,-18 19 0,0 0 16,142-17-16,-142 17 16,-18-17-16,1 17 0,0 0 15,-1 0-15,-16 0 0,15-18 0,2 18 16,-18 0-16,0 0 0,70-18 15,-87 0-15,-1 18 16,53 0-16,-52-17 16,-2 17-16,2 0 0,-1 0 0,-18-17 15,54 17-15,-52 0 16,15 0-16,-16-18 0,18 18 0,-19 0 16,0 0-16,19 0 0,-18 0 0,52-18 15,-35 18 1,-16-18-16,33 1 15,-35 17-15,19 0 0,17-17 16,-35 17-16,-1-19 0,0 19 0,2 0 16,16-17-16,-18 17 0,0 0 15,2-18-15,-2 18 0,1-17 16,18 17-16,-19-19 16,0 19-16,1-17 0,-1 0 15,2 17-15,-19-18 0,34 1 16,-16-2-16,0 2 15,-18 0-15,18-1 16,-18 0-16,17 0 16,-17 1-16,0 0 15,0-2-15,17 2 16,-17-1-16,-17 1 16,17 0-16,0-2 0,0 2 15,-17-18 1,17 16-16,0-15 0,-18 16 0,0-18 15,18 19-15,-18-18 0,-16-1 0,-54-69 16,52 69 0,1 19-16,-1-18 0,1-1 0,-1 19 15,-16-19-15,16 18 0,-17-16 16,1 16-16,-1-18 0,-1 19 16,2 0-16,-1-2 0,0-16 0,1 18 15,-2 0-15,1-2 0,1 2 0,-19-1 16,18 18-16,-18-17 0,18 17 15,-18-19-15,2 19 0,-2-17 0,1 17 16,16 0-16,-34-17 0,18 17 16,-18 0-16,17 0 0,-34 0 0,34 0 15,-36 0-15,37 0 0,-36 17 0,18-17 16,-18 0-16,18 17 0,-18-17 16,18 19-16,0-19 0,-1 17 0,1 1 15,0-1-15,17-17 0,-17 19 0,0-2 16,18 0-16,-18 18 0,17-16 15,-17-2-15,17 18 0,1-17 16,-1 17-16,0-18 0,1 19 0,-1-1 16,19-18-16,-19 19 0,18-1 15,0-16-15,1 15 0,-2 1 0,1 1 16,18-1-16,-18 1 0,18-2 0,-1 2 16,2-1-16,-2 1 0,1-1 15,-1 1-15,1-19 0,-1 18 0</inkml:trace>
  <inkml:trace contextRef="#ctx0" brushRef="#br0" timeOffset="138401.54">5861 15413 0,'88'-19'0,"-71"19"0,106 0 16,-87-17-16,35 17 16,-18 0-16,16 0 0,-15 0 0,87 0 15,-70 0-15,122-18 16,-122 1 0,-18 17-16,0 0 0,-1-19 0,-16 19 0,18 0 15,-37-17-15,35 17 16,-33 0-1,-2 0-15</inkml:trace>
  <inkml:trace contextRef="#ctx0" brushRef="#br0" timeOffset="138803.98">6089 15501 0,'-17'0'0,"70"0"16,35 0-1,-52 0-15,33 0 0,-15-19 0,16 19 0,1 0 16,141-17-1,-141 17-15,-1-18 0,1 18 16,-19 0-16,72-17 16,-53 0-16,34 17 15,-69 0-15,-1 0 0,-18-19 0,0 19 16,19 0-16,-18 0 0,-1 0 16,19 0-1,-19 0-15,1 0 16,-18 19 46</inkml:trace>
  <inkml:trace contextRef="#ctx0" brushRef="#br0" timeOffset="140894.28">8382 14566 0,'0'-19'15,"0"55"32,0-18-31,0 16-16,0 2 0,0 18 0,0-2 15,0 18-15,0-16 0,0-1 0,0 16 16,0-15-16,19-1 0,-19 0 16,0-1-16,17 55 15,-17-72-15,0-18 0,0 2 0,0 15 16,0-16-16,0-1 15</inkml:trace>
  <inkml:trace contextRef="#ctx0" brushRef="#br0" timeOffset="142471.47">8453 14337 0,'107'-19'0,"-19"19"15,122 0-15,-103 0 16,-2 0-16,2 0 0,122 0 16,-123-17-16,18 17 0,-2 0 15,2-18-15,247 1 16,-266-2-16,19 2 0,-18 0 0,-1 17 16,2-18-16,193-35 15,-195 36-15,-34-1 16,17 0-16,-18 0 0,54 1 15,-72 0-15,126-19 16,-144 36-16,20-18 0,-2 18 0,-16-17 16,-2 17-16,37-17 15,-35-2-15,35 2 16,-19-1-16,-35 18 16,19-17-16,-19 17 0,1 0 0,0-19 15,17 19 1,-18 0-16,2-17 15,-2 17-15,1 0 0,-1 0 16,0 0 0,2 0-16,-2 0 15,1 0 1,-1 0 0,2 17-1,-19 2 1,17 16-16,0-18 15,-17 2-15,18-2 0,-18 0 0,0 18 16,18-16-16,-18 15 0,18 54 16,-1-69-16,-17 16 15,17 18-15,-17-18 0,0 1 16,18-2-16,-18-16 0,18 52 16,-18-52-16,18 18 0,-1 34 15,-17-35-15,17-18 16,-17 2-16,19 52 15,-2-37 1,-17-16-16,18 0 0,-18 0 16,0 34-1,0-34-15,0 0 0,0-1 16,0 19-16,17-19 16,-17 1-16,0 16 15,0-15-15,0-2 16,17-17-1,-17 18-15,0-1 16,0 2 0,0-2-1,0 0 1,-17-17-16,0 18 16,-1 0-1,1 0 1,-2-18-16,2 0 15,0 17-15,-1-17 0,0 17 16,-17 1-16,18-18 0,-37 18 0,1 17 16,1-18-16,-1 2 0,-1-2 15,-16 1-15,-1-1 0,2 2 0,-55-2 16,53 0-16,-141 18 16,124-16-16,17-2 15,1-17-15,-1 17 0,0-17 0,2 18 16,-2-18-16,18 18 0,-18-18 15,18 18-15,-18-18 0,19 0 0,-18 0 16,16 17-16,1-17 0,-16 0 0,15 17 16,-16-17-16,16 0 0,2 19 15,-18-19-15,34 17 0,-16-17 0,16 0 16,1 18-16,-18-18 0,17 0 0,1 17 16,0-17-16,-1 0 15,2 17-15,-2-17 0,1 0 0,-1 0 16,19 0-16,-18 19 0,-1-19 0,19 0 0,-19 0 15,1 0-15,18 0 0,-19 17 16,1-17-16,18 0 0,-19 0 16,1 0-16,-1 0 0,19 0 0,-19 0 15,1 18-15,0-18 0,-1 0 16,19 0-16,-19 0 0,1 0 0,1 17 16,15-17-16,-16 0 0,-1 0 0,19 0 15,-18 0-15,17 0 0,-17 19 16,0-19-16,-1 0 0,19 0 15,0 0-15,-19 0 0,18 0 16,1 0-16,-19 0 0,19 17 0,-1-17 0,1 0 16,-2 0-16,2 0 15,0 0-15,-1 0 0,0 0 16,-17 17-16,18-17 31,-1 0-15,0 0-16,0 0 15,1 18 1,0-18-16,-2 0 16,-16 0-1,18 0-15,-2 0 16,2 0-16,70-18 31,-18 18-31,1 0 0</inkml:trace>
  <inkml:trace contextRef="#ctx0" brushRef="#br0" timeOffset="143814.51">13216 15889 0,'-18'-18'47,"1"0"-47,-2-53 16,-33-52-1,34 87 1,0-16-16,1-106 15,0 122-15,17-70 16,0 88-16,-18-17 0,18 18 16,0-1-16,0 0 0,18 0 15,16 36 1,20 35 0,-37-36-16,0 19 15,2-18-15,16-1 0,18 54 16,-36-54-16,1 2 15,-18-2-15,17 0 0,2 1 0,-19-1 16,17-17-16,0 36 16,1-19-1,-36 1 1,1 0 0,0-18-16,-2 18 0,2-18 0,-18 0 15,18 0-15,-19 17 16,1-17-16,16 0 0,-15 17 0,-2-17 15,18 0-15,-16 0 0,-2 0 0,18 19 16,1-19-16,-19 0 0,19 0 16,-1 0-16,1 0 0,-2 0 15,19-19-15,19-15 16,52-20 0,-37 20-1,2-2-15,-1 1 0,0 18 0,1-19 16,17 1-16,-18-1 0,1 1 15,-2-1-15,1 2 0,-16 16 0,15 0 16,-16 0-16,0 1 0,0 0 16,-1 17-16,0-19 15,-17 2-15,19 17 16,-19 36 0,-19 34-1,2-35-15,0 0 0,-1 18 0,18-17 16,-36 16-16,2 55 15,15-55-15,2 1 0,-18-17 16,-1 33-16,19-33 0,-1-18 0,18-1 16,-17 2-16,17 15 15,17-34 1</inkml:trace>
  <inkml:trace contextRef="#ctx0" brushRef="#br0" timeOffset="144638.95">14186 15606 0,'-36'-141'0,"2"35"16,34 70-16,-18-16 0,18-1 16,-18 0-16,18 18 0,-18-1 15,18 19-15,0-54 16,-17 54-16,17-1 16,17 53-1,1-18-15,-18 2 16,18 16-16,17 1 0,-18-2 15,1 2-15,0 16 0,34 2 16,-33-20-16,-2-15 0,1 16 16,-1-18-16,-17 2 0,19-2 15,-2 0-15,0 1 0,-17-1 16,-17 2 0,-36-19-1,35 0-15,1 0 16,-19 0-16,-35-19 0,54 19 15,-36 0-15,18 0 0,-1 0 16,-16 0-16,16 0 0,1-17 0,-18 17 16,36 0-16,-19 0 0,18-18 15,-34 1 1,52 0-16,-18-2 0,36 2 0,0-18 16,-1 16-16,0-15 0,37-2 15,-20 1-15,2 0 0,-1-1 16,18 2-16,-18-2 0,1 18 0,-19 1 15,19-2-15,-18 2 0,16-18 16,-16 35-16,0 0 16,-18 35-1,0-18-15,-18 73 16,18-56-16,-18 20 16,1-2-16,0-16 0,-1 17 0,0-1 0,0-16 15,1 16-15,0-16 0,-2-1 16,2 35-1,17-51-15,0-2 0,0 1 0</inkml:trace>
  <inkml:trace contextRef="#ctx0" brushRef="#br0" timeOffset="145514.32">13286 16594 0,'-17'-105'0,"17"86"0,0 2 16,0-18-16,0-36 15,0 35-15,0 19 16,17 0-16,-17-1 0,0 0 0,18 18 16,-1 0-1,2 18-15,-2 0 0,18 34 16,-17-34-16,0 0 15,-1-1-15,0 0 0,2-17 16,-19 19-16,17-2 0,-17 1 0,18-18 16,-53 0 15,-1 0-15,19 0-16,-19 0 0,18 0 0,-16 17 15,-2-17-15,18 0 16,1 0-16,0 0 0,-2 0 0,2 0 15,-1-17-15,18-1 16,0 1 0,18-2-16,-18 2 0,17 0 0,2-1 15,-2 0 1,0 0-16,1 18 0,-1 0 0,2 0 16,-2 54-1,-17-37-15,0 19 0,0-1 16,-36 123-1,19-104-15,-1-20 0,-16 20 0,15-20 16,2 20-16</inkml:trace>
</inkml:ink>
</file>

<file path=ppt/ink/ink18.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12:37.550"/>
    </inkml:context>
    <inkml:brush xml:id="br0">
      <inkml:brushProperty name="width" value="0.05292" units="cm"/>
      <inkml:brushProperty name="height" value="0.05292" units="cm"/>
      <inkml:brushProperty name="color" value="#0070C0"/>
    </inkml:brush>
  </inkml:definitions>
  <inkml:trace contextRef="#ctx0" brushRef="#br0">1866 6359 0,'17'-17'0,"-17"34"63,18 18-63,-18-17 16,0 0-16,0 16 0,0-16 15,-18 52 1,18-51-16,0-2 0,0 1 0,-17 18 15,17-19-15,0 0 0,0 1 16,-19-1-16,19 19 16</inkml:trace>
  <inkml:trace contextRef="#ctx0" brushRef="#br0" timeOffset="276.49">2147 6676 0,'0'35'31,"0"-16"-31,-17 33 16,0-34-16,17 0 0,-18-1 0,0 18 16,18-17-16,-35 34 15,18-33-15</inkml:trace>
  <inkml:trace contextRef="#ctx0" brushRef="#br0" timeOffset="686.93">2535 6447 0,'0'35'0,"0"-17"0,-17 17 16,17 1-1,0-19-15,0 18 0,-17-16 0,-1 33 16,18-35-16,-18 2 16,18-2-16</inkml:trace>
  <inkml:trace contextRef="#ctx0" brushRef="#br0" timeOffset="935.84">2677 6659 0,'17'0'0,"-17"17"31,0 1-15,-17 35-1,17-36-15,-35 54 16,16-54-16,19 1 0,-17 0 16,17 0-16</inkml:trace>
  <inkml:trace contextRef="#ctx0" brushRef="#br0" timeOffset="1250.33">3223 6447 0,'-17'35'31,"17"1"-31,-17 17 16,17-36-16,0 1 15,-18-1-15,18 2 0,0 15 0,-18 20 16,18-37 0</inkml:trace>
  <inkml:trace contextRef="#ctx0" brushRef="#br0" timeOffset="1464.32">3401 6711 0,'0'0'0,"-19"36"47,2-1-31,17-17-16,-18 17 0,18-18 0,-17 1 15,17 0-15,-19 0 0,19-1 16,-17 0-16</inkml:trace>
  <inkml:trace contextRef="#ctx0" brushRef="#br0" timeOffset="1797.09">3806 6464 0,'-17'71'16,"17"-35"0,0-19-16,0 1 0,0 18 0,-19-19 0,19 0 15,0 1-15,0-1 0,0 2 16,0-2-16,-17 0 0,17 1 16</inkml:trace>
  <inkml:trace contextRef="#ctx0" brushRef="#br0" timeOffset="2020.7">4035 6730 0,'-17'52'31,"17"-34"-15,-19 0-16,19-1 0,-17 0 16,17 1-16,-17 0 0,-1 0 0,18-1 15</inkml:trace>
  <inkml:trace contextRef="#ctx0" brushRef="#br0" timeOffset="2407.65">4511 6412 0,'0'35'16,"-17"0"-1,17-17-15,0 0 16,0-1-16,-19 19 0,19-19 16,0 1-16,0-1 0,-17 2 15,17-2-15,0 0 0,0 1 0,0-1 16</inkml:trace>
  <inkml:trace contextRef="#ctx0" brushRef="#br0" timeOffset="2854.5">4882 6606 0,'-36'70'32,"36"-52"-32,-17-1 0,-1 19 15,1 17-15,-19-18 16,19 0-16,-1-17 0,0 17 0,0-18 15,1 19-15,0-18 0</inkml:trace>
  <inkml:trace contextRef="#ctx0" brushRef="#br0" timeOffset="3436.67">5429 6412 0,'0'0'0,"0"35"31,0-18-31,-18 19 16,18-1-16,0-18 0,0 19 15,0-18-15,0-1 0,0 2 16,-18-2-16,18 18 0,0-18 16,0 2-16,0-2 0,0 0 15</inkml:trace>
  <inkml:trace contextRef="#ctx0" brushRef="#br0" timeOffset="3903.75">5693 6430 0,'18'-18'16,"0"18"-16,-1 0 15,-17 18 1,0 16-1,-17-16 1,-1 0 0,18 0-1,0-1-15,18 0 16,-1 2-16,-17-2 31,17-17-31,-17 18 0,0-1 16,-17 2-16,0-2 15,-19 0-15,1 1 16,18-1-16,-2-17 16,2 19-16,-1-19 0,1 17 15,-2-17-15</inkml:trace>
  <inkml:trace contextRef="#ctx0" brushRef="#br0" timeOffset="4098.31">5905 6588 0,'34'35'15,"-15"1"1,-19-19-16,0 1 16,0-1-16,0 19 0,-19-19 0,19 1 15,0 0-15,-17 0 0,17-1 16,-17 0-16,-1 19 0</inkml:trace>
  <inkml:trace contextRef="#ctx0" brushRef="#br0" timeOffset="4383.58">6363 6376 0,'0'36'32,"0"-18"-32,0-1 15,0 0-15,0 37 0,0-37 16,-17 19-16,17-1 0,-17 35 15,17-52 1,0-1-16,0 2 0,-19-2 0,19 0 16</inkml:trace>
  <inkml:trace contextRef="#ctx0" brushRef="#br0" timeOffset="4887.76">6698 6359 0,'36'-17'16,"-19"17"-16,-17 17 15,-17 0 1,17 1 0,-17 0-16,17 0 15,-19-1-15,38 0 16,-19 1 0,17 0-16,-17 17 15,17-35-15,-17 17 0,0 2 16,0-2-1,-17 1-15,17-1 0,-17 2 16,-2-2-16,2 0 16</inkml:trace>
  <inkml:trace contextRef="#ctx0" brushRef="#br0" timeOffset="5126.63">7069 6659 0,'17'0'15,"-17"35"1,-17 35 0,17-52-1,0 0-15,-18 0 0,1 52 16,17-52-1,0-1-15,-19 0 16</inkml:trace>
  <inkml:trace contextRef="#ctx0" brushRef="#br0" timeOffset="5403.16">7315 6342 0,'-17'34'31,"34"-16"-31,-34 18 0,17-19 16,0 18-16,0-17 0,0 0 15,0 16-15,0 20 0,0-37 16,0 2-16,0-2 0,0 18 0,0-18 16,0 2-16,0-2 15,0 0-15,0 1 0</inkml:trace>
  <inkml:trace contextRef="#ctx0" brushRef="#br0" timeOffset="5942.59">7563 6430 0,'35'-18'16,"-18"36"-1,-17-1-15,0 0 16,0 1-16,-17-18 16,17 18-16,0 0 0,-17-18 15,17 17-15,17 0 16,-17 2-16,0-2 15,17 1-15,-17-1 16,0 2-16,0-2 0,0 18 16,0-18-1,-17 2-15,17-2 16,-17-17 0</inkml:trace>
  <inkml:trace contextRef="#ctx0" brushRef="#br0" timeOffset="6098.25">7793 6730 0,'0'17'0,"17"0"0,-34 37 16,-2-37 0,19 0-16,-17 1 0,-1 18 15,1-19-15,-2 0 0,2 2 0,0 16 16,-1-35-16</inkml:trace>
  <inkml:trace contextRef="#ctx0" brushRef="#br0" timeOffset="6498.52">8481 6323 0,'-19'19'16,"19"-2"-16,0 0 16,0 1-16,0 0 0,0 0 15,-17 34-15,17-16 16,0-19-16,0 36 0,0-35 15,0-1-15,-18 2 0,18 15 16,0-16-16</inkml:trace>
  <inkml:trace contextRef="#ctx0" brushRef="#br0" timeOffset="6866.84">8691 6359 0,'18'0'0,"-36"35"31,18-17-31,-17-18 0,17 18 0,-17-1 15,17 0-15,0 1 16,0 0-16,17 0 16,-17-1-1,17-17-15,-17 17 0,0 2 16,18-19-16,-18 35 0,0-18 16,0 2-16,-18-2 15,18 0-15,-17 1 0,0-1 16,-1 2-16,0-2 15,0 0 1</inkml:trace>
  <inkml:trace contextRef="#ctx0" brushRef="#br0" timeOffset="7058.29">8833 6676 0,'17'0'15,"2"18"-15,-19-1 16,0 54 0,-19-35-1,19-19-15,-17 0 0,-1 19 16,18-1 0</inkml:trace>
  <inkml:trace contextRef="#ctx0" brushRef="#br0" timeOffset="7296.21">9326 6376 0,'0'36'31,"0"-1"-16,-17 36-15,-1-18 16,18-18 0,-17 1-16,0 33 0,17-50 15,0-2-15,0 0 0,0 1 0,0 18 16,0-19-16</inkml:trace>
  <inkml:trace contextRef="#ctx0" brushRef="#br0" timeOffset="7786.19">9555 6430 0,'36'-18'15,"-18"36"1,-18-1 0,-18 0-16,18 1 15,0 0-15,0 0 16,0-1 0,18 19-1,-1-19-15,-17 1 0,0-1 16,0 2-16,19-2 15,-38 18-15,19-18 16,-17 2 0,17-2-16,-18 0 15,1-17-15</inkml:trace>
  <inkml:trace contextRef="#ctx0" brushRef="#br0" timeOffset="7964.55">9767 6676 0,'18'18'16,"0"18"-1,-18-19-15,0 0 16,-18 19-16,18-18 0,0-1 16,0 18-16,-18-17 15,18 0-15,0-1 16,0 0-16</inkml:trace>
  <inkml:trace contextRef="#ctx0" brushRef="#br0" timeOffset="8340.79">10297 6342 0,'-18'34'31,"18"-16"-15,-17-18-16,17 18 0,0 0 0,-19-1 0,19 0 15,0 19-15,-17-1 16,0 1-16,17-19 16,-18 1-16,18-1 0,-17 2 15,-2-2-15,19 0 0,0 1 16</inkml:trace>
  <inkml:trace contextRef="#ctx0" brushRef="#br0" timeOffset="9365.31">10491 6376 0,'52'0'94,"-52"18"-94,0 0 31,0 0-15,0-1-16,0 0 31,0 19-15,19-18-1,-2 16 1,-17-15-16,-17-2 16,17 1-1,-19-1-15,19 2 0,-17-19 16,0 17-16,-1 0 0,0 1 15,-17-1 1,18 2-16</inkml:trace>
  <inkml:trace contextRef="#ctx0" brushRef="#br0" timeOffset="11869.91">1883 7170 0,'52'-18'78,"-33"18"-62,-2 0-1,1 0-15,-1 0 0,2 0 16,15 0-16,-16 0 0,18 0 16,-2 0-16,20 0 0,-20 0 0,2 0 15,70 0-15,-70 0 0,-2 0 16,20 0-16,-20 0 0,2 0 16,35-17-16,-19 17 15,-16 0-15,-1 0 0,-18 0 16,36 0-16,-17 0 15,-18 0-15,-1 0 0,0 0 16,2 0-16,-2 0 16,1 0-16,-1 0 15,0 0 17,2 0-17,-2 0 1,-17-17 109,18 17 0,-1 0-78,2 0-32,-2 0-15,18 0 32,1 0-17,-19 0-15,18-19 16,1 19-16,-19 0 0,0 0 15,2 0-15,-2 0 0,1 0 16,-1 0-16,2 0 0,-2 0 16,0 0-1,1 0 1,-1 0 0,2 0 15,-2 0 94,0 0-94,1 0-31,0 0 16,0 0-1,34 0-15,1 0 16,-17 0 0,-1 0-16,1 0 15,-19 0 1,0 0-1,1 0-15,-1 0 16,2 0 0,-2 0 15,0 0 0,1 0 16,0 0-16,0 0-31,-1 0 16,19 0-16,69 0 16,-87-17-16,18 17 15,-2 0-15,20 0 16,-2 0-16,-16 0 15,-2 0-15,-15 0 16,-2 0-16,1 0 0,-1 0 16,0 0-16,2 0 31,-2 0-31,1 0 31</inkml:trace>
  <inkml:trace contextRef="#ctx0" brushRef="#br0" timeOffset="14095.43">10826 7047 0,'-53'0'62,"35"0"-46,1 0 0,0 0-1,-19 0-15,18 0 16,-18 0-16,19 0 15,0 0-15,-1 0 16,1 0-16,-19 17 16,19-17-16,-1 0 0,0 0 15,0 0-15,1 0 0,-19 0 0,19 0 0,-1 0 16,1 0-16,-19 0 16,1 18-16,-18-18 0,36 0 15,-18 0-15,16 0 0,2 0 16,0 0-16,-37 0 15,20 0-15,15 17 0,2-17 16,-1 0-16,1 0 0,0 0 16,-2 0-16,2 0 15,-1 0-15,1 0 0,-2 0 16,2 19 0,0-19-16,-1 0 15,0 0 1,0 0-1,1 0 17,0 0 15,-1 0 78,18-19-110,-18 19 1,-17 0-1,18 0-15,-19 0 16,18 0-16,1-17 16,-19 17-16,19 0 0,-1 0 0,-18 0 15,-34 0-15,52 0 16,-52-18-16,35 18 0,-1 0 16,1 0-16,-1 0 0,19 0 15,-18 0-15,18 0 0,-19 0 0,1 0 16,17 0-16,0 0 15,1 0-15,0 0 16,-2 0-16,2 0 16,-1 0-1,18-17 1,-17 17 0,0 0 30,-2 0 1,-16 0-15,18 0-32,-2 0 0,2 0 15,-71 17 16,53-17-31,-106 0 16,124 0-16,-2 0 16,2 0-16,-18 0 0,16 0 15,2 0 1,0 0-16,-1 0 16,0 0-1,0 0 1,1 0 15,-18 0 0,-71 0-15,52 0-16,20 0 16,-20 0-16,-16 0 0,-1 0 0,2 0 15,-73 18-15,1-18 16,70 0-16,18 0 0,18 0 15,-1 0-15,2 0 0,-2 0 16,18-18-16,-16 18 0,16 0 0,0 0 16,0 0-16,1 0 15,0 0-15,-2 0 16,2 18 0</inkml:trace>
  <inkml:trace contextRef="#ctx0" brushRef="#br0" timeOffset="14966.79">5622 7030 0,'71'-36'0,"-35"18"16,-19 18-16,0-17 15,1-2-15,35 2 16,-36 0-16,2-1 15,-2 0-15,1 18 0,-1-35 16,19 0-16,-19 17 16,-17 0-16,18 1 0,-1 0 0,-17-2 15,19-16-15,-2 18 0,0-36 16,-17 35-16,18 1 16,-18-2-16,0 2 0,18-36 15,-18 35-15,0 1 0,0 0 16,-18-1-16,18 0 0,0-17 0,-35-1 15,18 19-15,-19-37 16,1 37-16,-18-35 16,18 33-16,16 2 0,-15 17 15,-37-35-15,36 35 0,-1-18 16,2 18-16,-2 0 0,1 0 0,-1 0 16,1 18-16,-53 0 15,-1-1-15,1 36 16,53-35-16,-1 16 0,2-15 0,-1 16 15,16 1-15,-15-2 0,16-16 16,18 18-16,-18-2 0,18-16 16,-18 18-16,18-2 0,0 20 0,0-37 15,18 19-15,-18-1 16,18 18-16,0-36 0,-1 19 16,54 34-16,-54-34 15,19-19-15,-19 0 0,18 19 16,1-1-16</inkml:trace>
  <inkml:trace contextRef="#ctx0" brushRef="#br0" timeOffset="15227.23">5605 7099 0,'0'53'0,"0"-35"16,0 0-16,0-107 0,0 230 16,0-53-16,0-52 0,0 18 15,0-2-15,0 1 16,0 0-16,0 70 0,0-87 16,0 35-16,0-37 15,0-16-15,0 18 0,0-19 0,17 18 16,-34 1-16,17-19 15,0 0-15,0 2 0</inkml:trace>
  <inkml:trace contextRef="#ctx0" brushRef="#br0" timeOffset="15607.32">5341 7876 0,'-19'35'31,"19"-18"-31,19 1 0,-19 0 16,0 0-16,17-1 0,-17 19 15,17 35-15,1-19 16,0-16-16,-18-19 0,35 36 15,-35-35-15,36-1 16,-36 0-16,35 2 16,-18-19-16,0 0 0,2 0 15,-2-19-15,37-15 16,-2-20-16,-16 37 16,-2-19-16,20-16 0,-37 16 15,0 19-15,2-1 16,-2 1-16,1-2 0,-1 2 15</inkml:trace>
  <inkml:trace contextRef="#ctx0" brushRef="#br0" timeOffset="16134.99">5217 9992 0,'0'-17'0,"-18"52"15,18 1 1,0-19-16,0 18 0,0-17 16,0 17-16,-17 1 0,17-1 0,0-1 15,0 37-15,0-35 0,-19-1 16,19 18-1,0-36-15,0 19 16,0-18-16,19-1 0</inkml:trace>
  <inkml:trace contextRef="#ctx0" brushRef="#br0" timeOffset="16443.91">5199 10046 0,'18'17'47,"-1"0"-32,2 19 1,-2-18-16,-17-1 16,17 0-16,1 2 0,-18-2 15,17-17-15,-17 18 16,19-18-16,-2 17 16,0-17-16</inkml:trace>
  <inkml:trace contextRef="#ctx0" brushRef="#br0" timeOffset="16683.12">5570 10098 0,'-19'0'16,"2"0"-16,0 18 15,17 0-15,-18-1 0,1 19 16,-2-19-16,19 1 16,-17-1-16,0 0 0,17 2 0,-18-2 15,0 18-15,0-16 0,18-2 16,0 0-16,-17-17 0,17 18 16,0 0-16</inkml:trace>
  <inkml:trace contextRef="#ctx0" brushRef="#br0" timeOffset="16907.36">5534 10134 0,'0'-18'16,"0"36"-16,17-1 31,-17 0-31,0 2 0,0-2 16,-17 18-16,17 18 0,0-35 15,-17 18-15,17 16 16,-18-34-16,18 34 0,0-16 16,0-18-16,0-1 0,18 0 15,-18 2-15,17-2 0,19 18 16</inkml:trace>
  <inkml:trace contextRef="#ctx0" brushRef="#br0" timeOffset="17349">5993 10575 0,'17'-19'16,"-17"2"-16,-17 53 0,34-89 0,-17 35 15,-17 0 1,17 0-1,-35 18 1,16 36 0,19-18-1,0-1-15,-17 0 0,17 2 0,0-2 16,17 1-16,-17 18 16,19-36-16,-19 17 0,17 0 15,1-17-15,-1 18 0,2-18 16,-2 0-16,0 0 0,1 0 15</inkml:trace>
  <inkml:trace contextRef="#ctx0" brushRef="#br0" timeOffset="17867.33">6558 10134 0,'0'-18'0,"-19"53"31,2-18-31,0 37 16,17-20-16,-18 2 0,18 18 16,-18 16-16,18-52 15,0 16-15,-18-16 0,18 18 0,0-19 16,0 0-16,18 2 0,-18-2 16,0 1-16,18-1 15,-18-52 16,-18 18-15,-17-2 0,18 19-16,-2 0 15,2 19-15,-1-19 0,1 17 0,0 1 16,-2-18-16,2 17 0,-1 2 16,1 15-16,-2-16 0,19-1 15,19 2 1,-19-2-16,17-17 0,1 0 0,-1 0 15,36-17-15,-18 17 16,18-36-16,-17 36 0,-1-18 16,18-16-16,-35 34 15,-1 0-15,0-19 0,2 2 16,-2 17 0,1 17-16,-1-17 15,-17 19-15,0-2 16,19 0-1,-19 1-15</inkml:trace>
  <inkml:trace contextRef="#ctx0" brushRef="#br0" timeOffset="18586.58">7139 10486 0,'-17'-18'0,"0"36"15,-2-18 1,2 18-16,-1 0 0,-18 35 15,36-36 1,-17 18 0,17-16-16,17-2 15,2-17-15,-2 0 16,1 0-16,-1 0 16,-17-17-16,19 17 0,-2-19 15,0 2-15,1-1 16,-18 1-16,18 17 0,-18-19 15,18 2-15,-18 53 47,0-19-47,0 18 16,0-16-16,0-2 16,17 0-1,-17 1 1</inkml:trace>
  <inkml:trace contextRef="#ctx0" brushRef="#br0" timeOffset="18912.12">7457 10468 0,'-18'54'16,"18"-37"-16,-17 19 16,34-19-1,18-34 32,-16 17-47,-2 0 0,0 0 16,1 0-16,0 0 15,0 0-15,-1 0 16,0 0-16,1 0 16,0-19 15</inkml:trace>
  <inkml:trace contextRef="#ctx0" brushRef="#br0" timeOffset="19104.21">6963 10222 0,'-36'0'0</inkml:trace>
  <inkml:trace contextRef="#ctx0" brushRef="#br0" timeOffset="19780.57">6187 11244 0,'123'0'0,"36"19"16,-89-38-16,37 19 0,210-17 15,-194 0-15,-16 17 16,15-18-16,-15 0 0,-2 0 16,1-16-16,-17 16 0,-1 0 0,0-17 15,-17-1-15,-1 1 0,53-35 16,-70 35-16,1-1 0,-20 1 15,2-18-15,-1 17 0,1 1 0,16-70 16,-33 52 0,-2-1-16,-17 2 0,17-1 0,-34-18 0,0-87 15,-19 87-15,18 0 16,-18 1-16,-52-89 0,36 88 16,-108-105-16,55 88 15,0 0-15,-2 18 0,-16-1 0,-1 0 16,2 1-16,-20-1 0,1 18 0,-18 1 15,1-2-15,-1 18 0,0 19 16,-18 0-16,-16 17 0,15 17 0,-15 0 16,-2 2-16,2 33 0,-195 72 15,193-53-15,-34 53 0,70-36 16,1 34-16,16-15 0,2 33 16,34-16-16,-53 159 0,106-161 15,35-15-15,18-2 0,36 37 16,16-18-16,19-19 0,36-17 0,15 0 15,178 71-15,71-35 16,-176-71-16,15-1 0,-15-16 0,17-19 16,-19 1-16,2-18 15,157-18-15,-176 1 0</inkml:trace>
  <inkml:trace contextRef="#ctx0" brushRef="#br0" timeOffset="23102.43">9098 10522 0,'299'0'0,"-229"0"15,18 0-15,2 0 0,139-18 16,-106 18-16,1-18 0,17 18 0,18-18 16,34 1-16,2 17 0,-2-17 15,19-1-15,17 0 0,230-34 16,-230 33-16,265-16 0,-246 18 15,-2-19-15,248 1 16,-248 18-16,-16-2 0,211 2 16,-229 0-16,-19-1 0,-15 18 15,-37 0-15,-1 0 0,-33-18 16,15 18-16,-51 0 0,17 0 0,-35 0 16,1 0-16,-2 0 0,-34 0 15,0 0-15,-1 0 0</inkml:trace>
  <inkml:trace contextRef="#ctx0" brushRef="#br0" timeOffset="23551.88">15306 9604 0,'36'18'15,"-19"-1"1,18-17-16,72 36 0,-55-1 0,160 54 16,-159-72-1,88 54-15,-18 17 16,-87-71-16,35 71 0,-54-52 15,0-1-15,-17 1 0,-17 33 16,-19 2-16,1-18 16,-18 1-16,-18 16 0,-34 1 0,0 0 15,-19 17-15,0-18 0,-16 1 0,-126 69 16,125-87-16,-18 18 16,1 0-16</inkml:trace>
  <inkml:trace contextRef="#ctx0" brushRef="#br0" timeOffset="43070.43">3841 4154 0,'-52'0'15,"104"0"-15,-123-18 0,124 18 32,-18 0-17,36 18-15,-1-18 0,1 0 16,246-18-16,-193 18 15,0 0-15,16-17 0,2 17 16,16-17-16,-16 17 0,-1-19 0,-17 19 16,-1 0-16,1 0 0,-2-17 15,-15 17-15,104 0 16,-51 0-16,-108 17 0,1-17 16,-18 0-16,1 0 0,-2 19 0,2-19 15,-36 17-15</inkml:trace>
  <inkml:trace contextRef="#ctx0" brushRef="#br0" timeOffset="43379.19">4705 4507 0,'53'0'0,"-36"0"16,37 0-16,16 0 0,89-17 15,-35 17-15,-1 0 0,142-19 16,-142 19-16,194 0 16,-140 0-16,-35-17 0,-2 17 15,-16 0-15,0 0 0,-2 0 0,-15 0 16,-2 0-16,-17 0 0,0 0 15,-17 0-15,36 0 0,-55 0 16,-16 0-16,-2 0 0,2 0 16</inkml:trace>
  <inkml:trace contextRef="#ctx0" brushRef="#br0" timeOffset="47863.32">10297 3802 0,'-18'0'32,"53"-19"30,36 2-31,-54-1-31,19 1 0,-1 17 0,18-19 16,0 2-16,70-18 0,-52 18 16,106-19-16,-108 19 15,109-19-15,-90 36 16,-18-18-16,89 18 0,-71 0 16,0 0-16,19 0 0,51 18 15,-87 0-15,17-18 0,-17 18 16,69-1-16,-70 0 0,1 2 15,0-2-15,35 18 16,-54-18-16,36 2 0,-69-2 16,16 1-16,1-1 0,-19 2 15,0-2-15,1-17 16,-18 17-16,0 1 16,0 0-1,-18-18 1</inkml:trace>
  <inkml:trace contextRef="#ctx0" brushRef="#br0" timeOffset="48358.16">12713 3519 0,'0'0'16,"-18"17"15,18 1-15,18 0-16,-18 0 0,18-1 15,-18 0-15,18 2 0,16 33 16,-15-35-16,52 37 15,-54-37-15,0 2 16,1-2-16,-1 0 0,2 1 16,-2 0-16,-17 0 0,17-18 0,1 34 15,-18-16-15,18-18 16,-36 36-16,18-19 16,-52 36-16,16-18 15,-35 1-15,-105 87 0,105-87 16,-87 34-16,-1 1 15,71-36-15</inkml:trace>
  <inkml:trace contextRef="#ctx0" brushRef="#br0" timeOffset="49583.56">14865 3819 0,'0'35'16,"0"1"-16,0-19 0,0 36 0,0-18 16,0 18-16,0 1 0,0-20 0,0 1 15,0 18-15,0 18 0,-18-54 16,18 19-16,0-18 0,0 16 16,0-15-16,0-2 0,0 1 0,0-1 15,0 2-15</inkml:trace>
  <inkml:trace contextRef="#ctx0" brushRef="#br0" timeOffset="50025.49">14671 3766 0,'18'-35'0,"-1"16"15,-17 2-15,19 17 16,51-17-1,-18 17-15,-16 17 16,70 19-16,-70-1 0,-2-18 16,37 72-16,-36-54 0,-17 18 15,0-18-15,-18 18 0,17-18 0,-34 1 16,-1 52-16,0-53 16,-17 54-16,-18-20 15,35-50-15,-16 16 0,15-18 16,-16 2-16,18-2 0,-2 0 0,-15 1 15,16-18-15,0 17 0,-17-17 16,18 19-16,-1-19 0,0 0 16,0 0-1</inkml:trace>
  <inkml:trace contextRef="#ctx0" brushRef="#br0" timeOffset="50263.24">15501 4154 0,'17'36'16,"-17"-19"-1,0 18-15,0-17 0,0 0 16,0-1-16,-17 19 15,17-19-15,0 18 0,-19-18 0,19 2 16,0-2-16,0 1 0,-17-1 16,17 2-16</inkml:trace>
  <inkml:trace contextRef="#ctx0" brushRef="#br0" timeOffset="50454.49">15571 3924 0,'-18'0'16,"18"-17"-16,18 34 0,-18 1 31</inkml:trace>
  <inkml:trace contextRef="#ctx0" brushRef="#br0" timeOffset="50783.56">15818 4083 0,'-53'0'15,"35"36"1,18-19-16,0 1 0,0-1 16,0 19-16,18-1 0,-18-17 15,17 17-15,2-18 0,-19 19 0,17-18 16,0 16-16,-17-15 16,0-2-16,18 1 0,-18-1 0,0 2 15,-18-2-15,18 0 16,-17-17-16,0 18 15,-2-18-15,2 17 0,-1-17 16,1 0-16,-2 0 0,2 0 16,0 0-16,-1 0 15,1 0 1</inkml:trace>
  <inkml:trace contextRef="#ctx0" brushRef="#br0" timeOffset="51378.99">16365 4171 0,'0'-17'0,"-18"17"16,-35 53-1,18-18 1,35-17-16,-36 34 16,36-33-16,-17-2 0,17 18 15,-17 1-15,17-19 16,17-17-16,-17 18 0,17-1 15,1-17-15,0 0 16,0 0-16,-1 0 0,0 0 0,19 0 16,-18-17-16,16-1 15,2 18-15,-18-17 0,35-19 16,-36 53 15,1-17-31,-18 19 16,17-2-1,2 1-15,33-1 16,-34 2 0,0-19-16,-1 0 0,0-19 15,2 19-15,-2-17 16,-17-1-16,0 1 16,0-2-16,0 2 15,-17 17-15,-2-17 16,2-1-16,-18 18 0,-1 0 15,19 0-15,0 0 16,-2 18-16,-16-18 0,18 17 0,-19 0 16,19-17-16</inkml:trace>
  <inkml:trace contextRef="#ctx0" brushRef="#br0" timeOffset="51763.4">15113 4948 0,'229'-18'0,"-158"0"0,-2 18 15,2 0-15,18 0 0,-20-17 0,2 17 16,18 0-16,-19 0 0,19-17 16,-20 17-16,2 0 0,0-19 0,-18 19 15,0 0-15,-18 0 0,-18 0 0,19 0 16,-1-17-16,-87 34 31,33-17-15,-15 19-16,-2-19 0</inkml:trace>
  <inkml:trace contextRef="#ctx0" brushRef="#br0" timeOffset="51974.14">15218 5159 0,'71'17'0,"-142"-34"16,230 17-16,-106 0 0,18 0 15,-1 0-15,18 0 0,142-17 16,-160 17-16,18-18 0,-36 18 16,19 0-16,-18-17 0,1 17 15,-2-19-15,-34 2 0,0 17 16,-1-17-16,-17-19 15</inkml:trace>
  <inkml:trace contextRef="#ctx0" brushRef="#br0" timeOffset="52361.01">14547 3643 0,'-34'176'16,"34"-88"-16,-36 71 15,36-71-15,-18 18 16,1-18-16,0 106 0,-2-106 16,2 1-16,-18 51 0,18-33 15,-19-2 1,18-52-16,18-18 15,-17-18-15,17 2 0</inkml:trace>
  <inkml:trace contextRef="#ctx0" brushRef="#br0" timeOffset="52618.91">14635 3836 0,'19'335'15,"-19"-246"-15,-19 246 16,2-264-16,17-1 0,0 1 15,-17-19-15,17 1 0,0 1 0,0-37 16,17 18-16</inkml:trace>
  <inkml:trace contextRef="#ctx0" brushRef="#br0" timeOffset="53076.66">17405 3712 0,'-18'107'0,"1"-72"16,0 71-16,-1-54 0,18 2 15,-18-1-15,0 18 0,-16 34 16,15-34-16,-16 17 16,35-52-16,-17 16 0,-2-35 15,19 2-15,0-2 0</inkml:trace>
  <inkml:trace contextRef="#ctx0" brushRef="#br0" timeOffset="53256.41">17723 3924 0,'18'36'0,"-36"-72"15,36 143-15,-36-55 0,18 1 0,-18 1 16,18 16-16,-18 1 15,-52 140-15,52-141 0,-16 1 16,-2-18-16,18-1 0,1 2 16,-2-18-16</inkml:trace>
  <inkml:trace contextRef="#ctx0" brushRef="#br0" timeOffset="56943.18">7051 5635 0,'-53'-17'0,"36"17"0,17-18 0,-18 18 15,1 0-15,-2 0 16,19-17-16,-17 17 0,0 0 16,-1 0-16,0 0 0,0-17 0,-52 17 15,52 0-15,-52 0 16,35-19-16,-1 19 0,1 0 15,-1 0-15,2 0 0,-20 0 16,20 0-16,-2 0 0,-52 0 16,53 0-16,-1 0 15,19 0-15,-19 19 0,1-19 16,18 0-16,-19 17 0,18-17 16,1 0-16,0 17 0,-19-17 0,18 0 15,1 18-15,-2-18 0,-15 0 16,16 17-16,1-17 0,-19 19 15,1-2-15,17-17 0,-17 17 16,18-17-16,-19 18 0,1-18 0,18 18 16,-19-18-16,18 18 0,-18-1 15,19-17-15,0 17 0,-18-17 0,-1 19 16,19-2-16,-1-17 0,-18 18 16,19-1-16,-19 0 15,19 2-15,-1-19 0,18 17 16,-17 1-16,0-18 0,17 17 0,-19-17 15,19 19-15,-17-2 16,-18 18-16,35-17 16,-19 0-16,19-1 0,-17-17 15,17 17-15,0 1 0,-17 0 16,-1 0-16,1 16 0,-2-15 16,19 16-16,-17-18 0,0 0 0,-1 19 15,0-18-15,18 18 0,-18-19 16,18 18-16,-17-17 0,17 0 0,-17-1 15,17 18-15,-19-17 0,19 17 16,0-18-16,-17 19 0,17-18 16,0 35-16,0-18 0,0 18 15,0-18-15,17 1 16,-17 16-16,19-16 0,-2-2 16,-17 2-16,17-18 0,19 52 15,-1-16-15,-18-37 16,19 18-16,-18 1 0,52-2 15,-16 20-15,15-20 16,-33-15-16,17-2 0,53 1 16,-53-1-16,-18-17 0,89 19 15,-19-19-15,-52 0 16,-1 17-16,19-17 16,53 0-16,-71 0 0,-1 17 15,19-17-15,-18 0 0,53 18 16,-53-18-16,-17 0 0,69 18 15,-51-18-15,-20 0 0,54 18 16,-34-18-16,-1 0 0,-1 0 0,19 0 16,53 0-1,-54 0-15,1 0 0,-19 0 0,19 0 16,-1 0-16,54 0 0,-72 0 16,19 17-16,-18-17 0,71 0 15,-72 0-15,55 0 16,34 0-16,-89 0 15,2 0-15,51 0 0,-69 0 16,87 0-16,-53 0 16,-16 0-16,-20 0 0,37 0 0,-18 0 15,35 0-15,-34 0 16,34 0-16,-35 0 0,52 0 16,-70-17-16,18 17 0,-17 0 15,-1 0-15,18 0 0,-18-18 16,53 18-16,1-18 15,-1 18-15,-53-18 0,18 18 16,35 0 0,-17-17-16,-18 17 0,-18 0 0,1 0 15,-1-17-15,53 17 16,-52 0-16,33-19 0,-33 19 16,52-17-16,-52 17 15,33-18-15,-15 18 16,16-17-16,18-2 15,54-15 1,-108 34-16,37-18 16,-52 1-16,15-2 0,37 2 15,-18-18-15,-1-1 16,-16 2-16,-18 15 0,35-50 16,-36 33-1,18-70-15,-16 36 16,-2 34-16,-17 1 15,17-18-15,-17-53 16,0 53-16,0 18 16,-17-18-16,0-18 15,-2 54-15,19-19 0,-35 1 16,18-1-16,-19 2 0,-52-37 16,35 36-16,-17-18 15,-19 18 1,37 17-16,-89-34 0,70 33 15,18 2-15,-18-1 16,-88-18-16,71 36 0,-88-34 16,35 16-16,0-18 15,70 36-15,-122-34 16,122 16-16,-53 0 16,19 0-16,-2 1 15,55 0-15,-36 17 16,-19-19-1,55 19-15,-37-17 0,-16 17 16,51 0-16,-104-18 16,87 18-1,-17-17-15,0 17 16,0 0-16,53 0 16,-54 17-16,-34-17 15,70 0-15,18 18 16,-18-18-16,17 0 0,1 0 15,-53 17-15,0-17 16,52 0-16,-52 19 0,54-19 16,-2 0-16,1 17 15,-1-17-15,-35 17 0,37-17 16,-37 18-16,36 0 0,-1-18 16,-69 18-16,69-1 15,1 0-15,-1-17 0</inkml:trace>
  <inkml:trace contextRef="#ctx0" brushRef="#br0" timeOffset="78166.78">1901 6059 0,'-18'-35'15,"1"17"1,-2 18 0,-15 0-1,16 0-15,0 0 0,0 18 16,1-18-16,0 0 0,-19 18 16,18-1-16,1-17 0,0 17 0,-37 19 15,37-18-15,-2-1 0,2 19 16,0-19-16,-1 1 0,1 16 0,-19 20 15,36-18-15,-17-19 16,-1 36-16,0 17 16,18-17-16,0-36 15,0 37-15,18-1 16,-18-18-16,18-18 0,-18 19 16,34 17-16,-15-18 0,-2 0 15,1-17-15,35 34 0,-18-16 16,-18-18-16,19 18 0,17-2 15,17 1-15,-34-16 16,17 15-16,35 2 16,0-18-16,-53-1 15,1-17-15,52 36 0,-54-36 16,56 17 0,-2 18-16,0-18 15,-18 2-15,-18-2 16,-16-17-16,70 18 0,-53-1 15,35-17-15,53 19 16,-53-19-16,-34 0 16,-2 0-16,-16 0 15,17 0-15,35 0 0,17 0 16,1-19-16,-53 19 16,35 0-16,-52-17 15,-1 17-15,106 0 0,-105-18 16,33 18-16,-15-17 15,-18 17-15,86-36 16,-51 19-16,-35 17 16,-1-18-16,-1 18 0,37-17 15,0-2-15,-18 2 16,0 0-16,-18-1 16,-18 18-16,37-18 15,-18 0-15,16-16 16,-16 15-16,16-16 15,1 1 1,-36 15-16,-17 2 0,36-1 16,-1-35-16,-18 36 0,2-1 15,-19 0-15,17-17 16,1 0-16,-1-1 16,2 2-1,-19 15-15,0-33 0,0 16 16,-19-16-16,19 16 15,-35-35 1,18 37-16,-2 16 16,2 0-16,-18-34 0,-18 16 15,36 18-15,-1 1 0,-18-2 16,-17-15-16,-16-20 16,-2 2-16,18 34 0,-53-52 15,70 52 1,-17 0-16,1 1 0,-1 0 15,-1-2-15,-51-16 0,-19 18 16,72-2-16,-19 2 0,1 17 16,-54-17-16,-18-1 15,72 1-15,0 17 0,17 0 16,-88-19-16,70 19 16,-17 0-16,-53 0 15,70 19-15,-17-19 0,-17 17 0,17 1 16,-2-18-16,2 34 0,0-15 15,0-2-15,-88 37 0,18 16 16,68-35-16,-86 53 16,-70 53-16,122-35 15,1 0 1,87-54-16</inkml:trace>
  <inkml:trace contextRef="#ctx0" brushRef="#br0" timeOffset="80476.25">7105 5900 0,'-107'18'15,"90"-18"-15,-1 0 16,-18 17-16,2-17 16,-2 19-16,-16-19 15,34 17-15,0-17 16,-34 17-16,33-17 0,-16 18 15,18-18-15,-2 18 16,2-18-16,0 0 16,-1 18-16,1-18 0,-2 17 15,2-17 1,17 17-16,-17-17 16,-1 0-16,18 18 15,-18-18-15,0 18 16,1-18-1,17 18-15,-17-18 16,-2 17 0,19 0-16,-17 2 15,-1-2 1,1 18-16,17-18 16,-17-17-1,17 36-15,-19-18 16,19-1-1,0 2-15,0-2 16,-17 18 0,17-17-16,0 0 15,0 16 1,-18-16-16,18 18 16,0-19-1,0 36 1,-17-35-1,17 18 1,0-19 0,0 0-16,0 18 0,0-16 15,0 15 1,0-16-16,17 0 16,-17 17-16,35 0 15,1 1 1,-1-2-1,18 2-15,18-1 16,-37-16-16,2-2 16,35 0-16,-36-17 0,53 35 15,18 1 1,-54-36-16,2 17 16,-1-17-16,52 36 0,71-18 15,2-1 1,-108 0-16,-18-17 15,126 19-15,-126-2 16,125 1-16,-72-18 16,-51 0-16,68 0 15,-15 0-15,-2 0 16,19-18-16,-72 18 16,178-17-1,-160 17-15,37 0 16,16-19-16,-35 19 15,-35-17-15,-18 17 16,106-17-16,-70 17 16,-35 0-16,34 0 15,-35 0-15,70 0 16,-34 0-16,0-18 16,-1 18-16,-34 0 15,35 0-15,-2 0 16,-33 0-16,35-18 15,-19 18-15,-16 0 16,17-18-16,-18 18 16,53-17-16,-52 0 15,-1 17-15,18-19 16,-36 19-16,71-35 16,0 1-1,-52 15-15,-1 2 0,18-1 16,18-35-1,-18 36-15,-1-19 16,-34 18-16,0 18 0,0-17 16,16-18-16,2 17 15,-1-34 1,-16 33-16,-2-16 16,-17-18-1,0-18-15,-17 1 16,-19 0-1,1 0-15,-18-1 16,-18 0-16,18 35 16,-18-34-16,-52 18 15,70 16-15,-52-16 16,34 33-16,-70-33 0,-1-1 16,72 35-16,-141-52 15,87 34 1,71 36-16,-35-18 0,-71-16 15,71 15-15,0 19 16,0-17-16,-89-1 0,89 18 16,17 0-16,-70-17 0,70 17 0,-88 0 15,89 0-15,0 0 16,-71-17 0,70 17-16,1 0 0,-1 0 0,18 0 0,1 0 15,-2 0-15,1 0 0,1 17 16,16-17-16,-52 0 0,35 17 15,1-17-15,-2 0 0,1 18 0,0-1 16,1-17-16,-2 19 0,1-2 16,-16 0-16,33 1 0,-18 0 15,20 0-15,-54 16 0,34-34 16,20 19-16,-20 16 16,1-18-16,1 0 0,16 2 0,-17-2 15,1 1-15,-55 18 0,72-19 16,-70 36-16,16-1 15,54-34-15</inkml:trace>
  <inkml:trace contextRef="#ctx0" brushRef="#br0" timeOffset="82242">6487 8035 0,'0'-19'0,"18"55"31,-18 18-15,0-37-16,0 0 15,0 1-15,0-1 0,0 2 0,0-2 16,0 18-16,0-17 0,17 0 15,-17-1-15,0 0 16,0 2-16,0-2 0</inkml:trace>
</inkml:ink>
</file>

<file path=ppt/ink/ink19.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13:48.650"/>
    </inkml:context>
    <inkml:brush xml:id="br0">
      <inkml:brushProperty name="width" value="0.05292" units="cm"/>
      <inkml:brushProperty name="height" value="0.05292" units="cm"/>
      <inkml:brushProperty name="color" value="#0070C0"/>
    </inkml:brush>
  </inkml:definitions>
  <inkml:trace contextRef="#ctx0" brushRef="#br0">5702 1998 0,'-17'0'16,"-2"0"-16,55 17 31,-19-17-31,19 18 16,-1-18-16,0 0 0,18 17 0,71-17 15,-53 0-15,-1 0 16,18 0-16,18 0 0,-18 0 16,18 0-16,124 0 0,-125 0 15,0 0-15,125 0 0,-106 0 16,0 0-16,245 0 15,-140 0 1,-105 0-16,106 19 0,-106-19 0,-19 0 16,19 0-16,-19 17 0,107-17 15,-106 0-15,18 0 16,86 17-16,-103-17 0,-2 18 16,1-18-16,88 17 0,-88-17 15,0 19-15,0-19 0,52 17 16,-70-17-16,54 17 15,-54-17-15,18 0 0,-18 18 0,0-18 16,0 0-16,0 0 0,90 0 16,68 18-1,-175-18-15,34 0 0,1 0 0,-17 0 16,16 0-16,-17 0 0,-17 0 16,34 18-16,-34-18 0,36 0 0,-37 0 15,106 0-15,0 0 16,-88 0-16,-17 0 0,106 17 15,-89-17-15,0 0 16,71 0-16,-88 0 0,17 0 16,-18 0-16,1 0 0,0 0 15,51 0-15,-51 0 16,-18 0-16,1 0 0,-20 17 0,54-17 16,-52 0-16,-1 0 0,1 0 15,-1 0-15,-1 0 0,-15 0 0,16 0 16,-18 0-16,2 0 15</inkml:trace>
  <inkml:trace contextRef="#ctx0" brushRef="#br0" timeOffset="16162.73">5825 5578 0,'-35'0'0,"18"0"0,-19 0 16,36 17-16,-18 2 16,1-2-16,-71 142 15,69-124-15,-33 159 16,35-140-16,-2-2 16,19 18-16,-17-16 0,17 16 15,0-18-15,0 2 0,0-1 0,17 0 16,2-18-16,16 53 15,-1-52-15,2-1 0,-1-1 0,1-15 16,17-2-16,17-17 0,-17 18 16,106-18-16,-71-18 0</inkml:trace>
  <inkml:trace contextRef="#ctx0" brushRef="#br0" timeOffset="16746.52">9670 5102 0,'19'-17'0,"-2"17"0,0 17 16,1-17-16,18 17 0,52 19 15,-35-1-15,18 1 0,-19 16 0,1-16 16,18 16-16,-18 1 0,-1 1 16,-16-2-16,16 18 0,-16-16 0,17 70 15,-35-72-15,-18 1 0,17 18 16,-34-18-16,-1 18 0,0-2 16,-17 2-16,-1-18 0,-16 18 0,16-1 15,-16-16-15,-19-2 0,18 1 16,-18 0-16,1-18 0,-18 18 15</inkml:trace>
  <inkml:trace contextRef="#ctx0" brushRef="#br0" timeOffset="22791.46">5861 6619 0,'-36'0'0,"18"0"15,36 18 32,52-18-31,-51 0 0,16 0-16,1 17 0,-2-17 0,1 0 15,18 0-15,-17 0 0,16 0 0,-16 0 16,-1 0-16,18-17 15,18 17-15,-54 0 0,18 0 16,-16 0-16,-2 0 0,0 0 16,1 0-16,0 0 0</inkml:trace>
  <inkml:trace contextRef="#ctx0" brushRef="#br0" timeOffset="23570.8">8823 6637 0,'90'0'16,"-56"0"-16,1 17 15,36-17-15,-18 0 0,0 17 16,18-17-16,-19 0 0,19 0 15,-18 0-15,0 0 0,-1 0 16,2 0-16,-20 0 0,2 0 0,-1 0 16,36 0-16,-53 0 15,0 0-15,-1 0 0,0 0 0,1 0 16,0 0-16</inkml:trace>
  <inkml:trace contextRef="#ctx0" brushRef="#br0" timeOffset="24342.77">6690 5913 0,'-19'36'31,"19"-19"-31,0 90 15,0-55-15,0 1 16,-17 0-16,17-1 0,0 72 16,-17-70-16,17 68 15,0-104-15,0 18 0,0-19 16,0 19-16,17-19 0,-17 18 0,0-18 16,0 2-16</inkml:trace>
  <inkml:trace contextRef="#ctx0" brushRef="#br0" timeOffset="25432.56">6742 5843 0,'19'0'16,"-2"0"-16,0-18 0,1 18 16,0 0-16,17 0 15,-18 0-15,54-18 0,-35 18 16,16 0-16,1-17 0,159 0 15,-141 17-15,0-19 16,-2 19-16,20-17 0,70 17 16,-88-18-16,-19 18 0,18 0 15,-34 0-15,16-17 0,-16 17 0,35 0 16,-54 0-16,18 0 16,-16 0-16,15 0 0,2-19 15,-1 19-15,-18 0 0,1 0 0,0 0 16,0 0-16,35 0 15,-36 0-15,1 0 16,-1 0-16,2-17 16,-2 17-16,0 0 15,1 0 1,-1 17 15,-34 2 0,17-2-31,0 1 0,0-1 0,-18 19 16,18-19-16,-17 71 16,17-17-1,0-18-15,-17 35 16,17-53-16,0 1 0,0-1 0,-19 106 16,19-105-1,0-19-15,0 18 0,0-16 16,19 15-16,-19 2 0,0-18 0,0-1 15,0 0-15,0 1 0,0 0 16,0 17-16,0-18 16,0 2-16,0-2 15,0 1-15,-19-18 16,2 17 0,-1-17-1,1 0-15,-19-17 16,1 17-16,-1 0 0,2 0 0,16 0 15,-35 0-15,0 0 0,18 0 16,-106 0-16,87 0 16,-16 0-16,-1 17 0,-52-17 15,53 17-15,-72-17 16,89 19-16,-18-19 0,19 0 0,-1 17 16,-71-17-16,72 18 15,-19-18-15,18 17 0,0-17 16,1 19-16,16-19 0,-52 17 15,70-17-15,-18 0 0,19 0 0,-18 0 16,18 0-16,-2 17 0,2-17 16,0 0-16,-1 18 15</inkml:trace>
  <inkml:trace contextRef="#ctx0" brushRef="#br0" timeOffset="25853.62">7501 6919 0,'-18'70'16,"18"-34"-16,0 17 16,-34 123-16,34-105 15,-19 17-15,19 0 0,-17-18 16,17 18-16,0 178 16,0-2-1,17-176-15,-17-18 0,19 72 16,-2-72-16,-17 1 0,0-19 15,0 19-15,0-18 0,0 18 16,0-18-16,0-1 0,0 19 0,-17 35 16,17-54-16,-19 2 0,19-20 15,0 2-15,0 18 0,-17-2 16,17 1-16,0-36 16,0 19-16,0-18 0,0-1 0,-18-17 15,18 17-15,0 2 16</inkml:trace>
  <inkml:trace contextRef="#ctx0" brushRef="#br0" timeOffset="26298.77">7201 9230 0,'18'17'16,"-18"1"0,18 16-16,-18-15 0,17 52 15,0-19-15,1 36 16,0 18-16,-18-71 0,0 1 15,18-1-15,-18-18 16,17 36-16,0-35 0,-17 0 0,19 17 16,-2-18-16,1-17 15,-1 0-15,2 0 0,-2 0 16,0-17-16,37-18 16,16-1-16,-35 2 0,1 15 15,69-50 1,-87 33-16,18 18 0,-2-18 15,-16 19-15,-1 17 0,19-35 16,-19 17-16,1 18 16,-18-18-16,18 1 15</inkml:trace>
  <inkml:trace contextRef="#ctx0" brushRef="#br0" timeOffset="26880.58">7166 10799 0,'0'54'31,"0"-37"-31,0 18 0,0-17 0,-17 52 16,17-34-16,-19 34 16,19-35-16,-17 1 0,17-19 15,-18 37-15,18-37 0,0 18 16,0-17-16,0 0 0</inkml:trace>
  <inkml:trace contextRef="#ctx0" brushRef="#br0" timeOffset="27235.83">7359 10993 0,'0'-18'16,"-17"18"-1,17 18-15,0 0 16,-17 0-16,17 16 16,0-15-16,17-2 0,-17 1 15,0-1-15,17 2 0,-17-2 0,19 0 16,-19 1-16,17-1 0,1 2 0,-1-19 16,2 0-16,-2 17 15,0-17-15,1 0 0,-1 0 0,2 0 0,-2-17 16,0-2-16,1 19 15,-18-17-15,0-1 0,18 1 0,-18 0 16,0-2-16,0 2 0,0-1 0,0-18 16,-18 19-16,0-18 15,18 17-15,-17 0 0,0 18 16,17-17-16,-36 17 16,1 0-1,18 17-15,-2 1 16</inkml:trace>
  <inkml:trace contextRef="#ctx0" brushRef="#br0" timeOffset="27480.63">8189 10905 0,'17'0'0,"-17"36"16,0-19-16,0 0 16,0 1-16,0 18 0,0-19 15,0 19-15,0-19 16,0 1-16,0-1 0,0 2 0,0-2 16,0 0-16,0 1 0,0-1 0,0 2 15,0-2-15</inkml:trace>
  <inkml:trace contextRef="#ctx0" brushRef="#br0" timeOffset="27683.66">7995 11134 0,'0'0'16,"35"0"-1,18 0 1,-35 0-16,-1 0 16,36 0-16,-35 0 15,52 0-15,-34-17 16</inkml:trace>
  <inkml:trace contextRef="#ctx0" brushRef="#br0" timeOffset="27874.61">8647 10958 0,'0'0'16,"0"35"15,0-17-15,-17 34 0,0-16-1,17-1-15,0-16 0,0-2 0,0 0 16,0 1-1</inkml:trace>
  <inkml:trace contextRef="#ctx0" brushRef="#br0" timeOffset="28110.58">9089 10905 0,'0'-18'0,"-18"72"31,18-37-31,0 0 16,0 1-16,-18 0 0,18 34 15,-18-33-15,18-2 0,0 18 16,-17-16-16,17-2 0,0 0 0,-17 18 16,17-16-16,-19-2 0,19 0 0,0 1 15,0 0-15,-17 0 0,17-1 16</inkml:trace>
  <inkml:trace contextRef="#ctx0" brushRef="#br0" timeOffset="28486.82">7061 11699 0,'52'0'16,"-35"0"-16,19 0 0,-1 0 0,35-18 15,125 18-15,157-35 16,19 0-1,-247 35-15,140-18 16,-158 0-16,246-16 16,-140 15-1,-124 19-15,36-17 0,-72 17 16,-16-18-16,-18 18 0,16 0 16,-15 0-16,-2 0 0,-70 35 31</inkml:trace>
  <inkml:trace contextRef="#ctx0" brushRef="#br0" timeOffset="28935.99">8365 12351 0,'194'-17'15,"-176"34"-15,18 1 16,-36 0-16,0 0 15,-19-1-15,19 0 0,-17 19 0,-18-1 16,-1-18-16,19 19 0,-18-1 0,-1-16 16,19-2-16,-1 0 15,0 1-15,0-1 0,1 2 0,0-19 16,17 17-16,-18-17 0,18 17 16,18 1-1,-18 0-15,17-18 16,0 0-16,1 0 0,18 0 0,-19 0 15,19 0-15,16 0 0,-16 0 16,16-18-16,1 18 0,1 0 0,-1-18 16,-1 18-16,1-17 0,1 17 0,-2-17 15,1-2-15,0 2 0,18-18 16,-2 18-16</inkml:trace>
  <inkml:trace contextRef="#ctx0" brushRef="#br0" timeOffset="29306.62">10923 11451 0,'52'-17'0,"-16"17"15,-18 0-15,18 0 16,-2 0-16,1 0 0,-16 0 0,51 0 16,-35 0-16,-18 0 0,1 0 15,18 0-15</inkml:trace>
  <inkml:trace contextRef="#ctx0" brushRef="#br0" timeOffset="29506.59">10994 11629 0,'52'17'0,"-16"0"0,-19-17 0,1 0 16,18 0-16,16 0 0,-16 0 0,16 0 15,37 0-15,-37 0 16,-16 0-16,16 0 0,1 0 0,-17 0 15,16 0-15</inkml:trace>
  <inkml:trace contextRef="#ctx0" brushRef="#br0" timeOffset="30540.8">13075 11153 0,'52'-19'16,"2"19"-1,-37 19-15,0-19 0,2 17 16,-2 0-16,-17 1 16,0-1-16,-17 2 0,17-2 15,0 0-15,-19 1 0,2 0 0,0 0 16,17-1-16,-18-17 16,18 17-16,-17-17 0,17 19 15,0-2-15,17-17 16,35 0-1,-33 0 1,-2 0-16,1 0 0,18-17 16,-19 17-16,54-19 0</inkml:trace>
  <inkml:trace contextRef="#ctx0" brushRef="#br0" timeOffset="30735.97">13763 11029 0,'-18'34'47,"0"20"-32,18-37-15,0 2 0,-17 33 16,17-35-16,0 2 16,0-2-16,0 36 0,0-35 15,0-1-15,0 0 0,0 2 16,-17 16-16</inkml:trace>
  <inkml:trace contextRef="#ctx0" brushRef="#br0" timeOffset="31051.8">12969 11787 0,'36'0'16,"-2"-17"-16,2 17 0,-18-19 15,-1 19-15,19 0 0,-1 0 16,-1-17-16,20 17 0,-18 0 0,34 0 15,-18-17-15,-16 17 0,16 0 16,-16 0-16,18 0 16,-20 17-16,1-17 0,-16 0 15,-2 0-15,0 17 0</inkml:trace>
  <inkml:trace contextRef="#ctx0" brushRef="#br0" timeOffset="31446.34">13605 12034 0,'17'0'0,"-34"0"0,51 0 0,1 0 15,-16 0-15,-2 17 16,0 1-16,-17 0 16,-17 0-16,0-1 0,17 0 15,-19 2-15,2 16 0,-18 1 16,18-19-16,-2 0 16,2-17-16,17 18 0,-18-18 0,1 17 15,17 2-15,-19-2 16,38 0-1,-2-17 1,37-17-16,-37 17 0,18 0 16,35-17-16,-16-2 15,51-16-15,-52 18 0,35-36 16,-34 35-16</inkml:trace>
  <inkml:trace contextRef="#ctx0" brushRef="#br0" timeOffset="31655.07">14769 11487 0,'34'-17'15,"2"34"-15,-1-17 32</inkml:trace>
  <inkml:trace contextRef="#ctx0" brushRef="#br0" timeOffset="31830.66">14679 11681 0,'36'0'16,"-1"0"-16,1 0 15,17-18-15,-18 18 16,0 0-16,35-17 16</inkml:trace>
  <inkml:trace contextRef="#ctx0" brushRef="#br0" timeOffset="32153.01">16938 11029 0,'35'70'0,"-35"-52"15,0 18-15,0-19 0,0 35 16,18-16-16,-18-1 0,0-17 15,0 17-15,0-18 0,-18 37 16,18-37-16,0 19 0,0-1 16</inkml:trace>
  <inkml:trace contextRef="#ctx0" brushRef="#br0" timeOffset="32388.9">17290 11134 0,'0'0'15,"0"36"1,0-19-16,0 18 0,0-16 16,-17-2-16,17 18 0,-18 18 15,18-36 1,0 2-16,-17 16 0,17-18 15,0 0-15,0 2 0</inkml:trace>
  <inkml:trace contextRef="#ctx0" brushRef="#br0" timeOffset="32543.6">17555 11399 0</inkml:trace>
  <inkml:trace contextRef="#ctx0" brushRef="#br0" timeOffset="32955.73">17961 11134 0,'0'0'0,"-54"19"31,20-2-15,16 0-1,18 1 17,0-1-32,18-17 15,-18 19-15,0-2 0,17 0 16,-17 1-16,0 0 0,17 0 15,-34-1-15,17 0 16,0 2-16,-17-19 0,17 17 0,-18 1 16,-18 16-16,19-34 15,0 19-15,-1-2 0,0 1 0,0-18 16,1 17-16,0-17 0,17 19 16</inkml:trace>
  <inkml:trace contextRef="#ctx0" brushRef="#br0" timeOffset="33182.79">18261 11293 0,'0'0'0,"-18"36"31,1-36-31,-2 34 0,2-15 0,-107 69 15,89-53 1,-53 18-16,52-18 0,19-17 16,-18 0-16,-1 16 0,19-16 31</inkml:trace>
  <inkml:trace contextRef="#ctx0" brushRef="#br0" timeOffset="33348.65">18419 11329 0,'-105'88'15,"52"-54"-15,-1 20 16,-122 70-16,52-54 0,2 1 16,-2 17-16,1 0 0,-18 0 0,-35 0 15</inkml:trace>
  <inkml:trace contextRef="#ctx0" brushRef="#br0" timeOffset="37807.58">17221 11117 0,'-19'-18'0,"2"18"15,17 18 1,0-1-16,-18-17 0,18 19 16,0-2-16,0 0 0,-17-17 15,17 35-15,0-16 0,-19 51 16,19-52-16,0 35 15,0-36-15,0 1 0,0-1 16,0 0-16,0 2 0,0-2 0,0 1 16,0-1-16,19-17 0,-19 19 15,17-19-15,-17 17 0,18-17 16,18-17 0,-19-2-16,0 2 0,1-18 15,-1 16 1,-17 2-16,0 0 0,19-1 0,-19 1 15,0-19-15,0 19 0,0-1 0,0 0 0,-19-17 16,19 18 0,0-2-16,0 2 0,-17 17 15,-1 0 1</inkml:trace>
</inkml:ink>
</file>

<file path=ppt/ink/ink2.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4:07:40.578"/>
    </inkml:context>
    <inkml:brush xml:id="br0">
      <inkml:brushProperty name="width" value="0.05292" units="cm"/>
      <inkml:brushProperty name="height" value="0.05292" units="cm"/>
      <inkml:brushProperty name="color" value="#0070C0"/>
    </inkml:brush>
  </inkml:definitions>
  <inkml:trace contextRef="#ctx0" brushRef="#br0">7916 3946 0,'-18'0'0,"36"18"63,-1-18-63,0 0 15,1 0 1,0 0-16,0 0 15,-1 0-15,0 0 0,2 0 16,69-18 0,-53 18-16,1 0 0,-2 0 15,73-17 1,-55 17-16,124 0 16,-123 0-16,18 0 0,0 0 15,-1 0-15,1 0 0,-18-17 0,17 17 16,0 0-16,-16 0 0,-1 0 15,18 0-15,-19 0 0,1 0 0,18 0 16,-18-18-16,-1 18 0,19 0 0,-35 0 16,34 0-16,-18-18 15,-16 18-15,16 0 0,-16 0 0,-1 0 0,18 0 16,-17 0-16,-1-18 0,0 18 0,-17 0 16,17 0-16,1 0 15,-19 0-15,18 0 0,-18 0 0,19-17 0,18 17 16,-37 0-1,0 0-15,1 0 0,0 0 16,0 0-16,16 0 16,-16 0-1,0 0 17,0 0-1,-54 0 31</inkml:trace>
  <inkml:trace contextRef="#ctx0" brushRef="#br0" timeOffset="1821.36">3982 3753 0,'18'0'0,"-1"0"16,0 0-1,2 0-15,-2 0 0,1 0 0,16 0 16,-15-19-16,-2 19 16,18 0-16,-16 0 0,15 0 0,-16 0 15,18-17-15,-2 17 16,2 0-16,16 0 0,-16-17 0,140-1 15,-105 18-15,-18 0 16,-1-17-16,2 17 0,52-19 16,-71 19-16,36 0 0,-18-17 15,-1 17-15,1 0 0,1 0 0,34-17 16,-54 17-16,20 0 16,-1-18-16,-18 18 0,18 0 0,70-18 15,-87 18 1,-2 0-16,2-18 0,70 18 15,-70 0-15,-2-17 0,-16 17 16,18 0-16,-2 0 0,-16 0 16,0 0-16,17 0 0,-18 0 0,37 0 15,-37 0 1,0 0-16,2 0 0,-2 0 16,18 0-1,-16 0-15,-2 0 16,0 0 31,-51 17 15,15-17-46,2 0-1</inkml:trace>
  <inkml:trace contextRef="#ctx0" brushRef="#br0" timeOffset="6869.19">12308 3012 0,'-18'0'32,"0"0"-1,0 0-16,1 0 1,0 17-16,-19-17 16,18 0-1,1 19-15,0-19 0,-2 0 16,2 17 0,-1-17-16,1 0 15,-2 17 1,2-17-16,0 0 31,17 18-15,-18-1 15,18 2-15,0 15-1,0-16 1,0 0-16,0 17 15,0-18-15,0 2 0,0 16 0,0-18 16,0 71 0,0-69-16,0 15 0,-18-16 0,18 18 15,0-19-15,0 0 0,0 1 0,0 52 16,0-51 0,0-2-16,-18-17 0,18 18 0,0 16 15,0-15 1,0-2-16,0 1 15,-17-18-15,17 17 16,0 2 0,0-2 15,17-17-15,1 17 15,0-17-16,0-17-15,-1 17 16,0 0-16,2 0 16,-2 0-1</inkml:trace>
  <inkml:trace contextRef="#ctx0" brushRef="#br0" timeOffset="9079.31">4388 3858 0,'17'-17'62,"0"17"-30,19 0-32,-18 0 15,-1 0 1,2-17-1,-2 17 1,0 17 31,-17 18-16,-17 1-15,17-19-16,0 0 15,0 1-15,0 0 16,0 0-16,0-1 0,0 0 16,0 2-16,0-2 0,0 1 0,0-1 0,0 0 15,0 2-15,0-2 0,0 1 16,0-1-16,0 2 0,0-2 16,0 18-1,0-17-15,0 0 0,0-1 16,0 18-1,0-17-15,0 0 16,0-1 0,0 0-1,0 2 1,0-2 15,-17-17-15,-2 18 15,2-18-15,-1 0-16,1 17 15,-19-17 1,19 19-16,-19-19 16,36 17-16,-18-17 0,1 0 15,0 17 1,-1-17-16,0 18 31</inkml:trace>
  <inkml:trace contextRef="#ctx0" brushRef="#br0" timeOffset="11272.54">2324 4458 0,'-18'0'16,"72"0"30,-20 0-30,-16 0-16,-1-17 0,19 17 0,-19 0 0,19 0 16,-1-19-16,18 19 0,18 0 15,0-17-15,-19 17 16,36-17-16,-35 17 0,-17 0 16,16-18-16,-16 18 0,35 0 15,-37 0-15,37-18 16,-54 18-16,2 0 0,-2 0 15,1 0-15,-1 0 16,0 0 0,2 0-16</inkml:trace>
  <inkml:trace contextRef="#ctx0" brushRef="#br0" timeOffset="23622.83">9080 4493 0,'34'0'16,"-15"0"0,16 0-16,-18-17 0,90 17 15,-73-18-15,2 18 16,52-17-16,-53 17 15,1 0-15,-19-19 0,18 19 0,-16 0 16,-2 0-16,0 0 0,1 0 16,18 0-1,-19 0-15</inkml:trace>
  <inkml:trace contextRef="#ctx0" brushRef="#br0" timeOffset="23900.38">9397 4600 0,'0'0'0,"35"0"0,1 0 0,-19-19 0,0 19 16,54-17-1,-52 17-15,15 0 0,-16-18 16,18 18-16,-19 0 0,0 0 0,37-17 16,-37 17-16,0 0 15,2 0 1,-2-17-16</inkml:trace>
  <inkml:trace contextRef="#ctx0" brushRef="#br0" timeOffset="27212.29">16276 4493 0,'36'-17'16,"-2"17"-1,-15-18-15,-2 18 0,1 0 16,-1 0-16,0 0 0,19-17 16,-1 17-16,-16 0 15,-2-19-15,18 19 0,-17 0 16,0 0-16,-1 0 0,0 0 15,1 0 1</inkml:trace>
  <inkml:trace contextRef="#ctx0" brushRef="#br0" timeOffset="27404.53">16382 4617 0,'35'0'16,"-18"-17"-16,2 17 15,33 0 1,-33 0-16,15-19 0,-16 19 16,0 0-16</inkml:trace>
  <inkml:trace contextRef="#ctx0" brushRef="#br0" timeOffset="38431.15">2394 5976 0,'-17'0'0,"0"0"31,-2 17-31,2-17 0,-1 17 15,1 1-15,-54 35 16,35-18 0,-16 18-16,34-36 15,-17 2-15,-1 33 16,19-35-16,-1-17 0,18 19 16,-34 16-16,15-18 15</inkml:trace>
  <inkml:trace contextRef="#ctx0" brushRef="#br0" timeOffset="38807.05">2518 6028 0,'-89'70'0,"72"-52"0,-1 18 0,-16-19 0,15 19 16,2-19-16,-54 54 15,54-36-15,-1-18 16,1 2-16</inkml:trace>
  <inkml:trace contextRef="#ctx0" brushRef="#br0" timeOffset="43707.17">12572 7616 0,'17'0'0,"2"0"15,15 0-15,-16-18 16,0 18-16,0 0 0,-1 0 0,19-18 15,16 18-15,-16 0 16,-1-18-16,1 18 0,210-17 31,-175 0-31,193-19 16,-193 36-16,-1 0 0,54-18 16,-53 18-16,-19 0 0,1-17 15,-18 17-15,36 0 16,-53 0-16,52 0 15,-52 0-15,0-17 0,-1 17 0,0 0 16,2 0 0,-2 0-16,1 0 15,-1 0-15,0 0 47</inkml:trace>
  <inkml:trace contextRef="#ctx0" brushRef="#br0" timeOffset="47795.35">10209 8357 0,'17'17'16,"1"-17"-16,16 0 15,-15 0-15,-2 0 0,18 0 16,18-17 0,-17 17-16,-1 0 0,106-19 15,-87 19 1,15 0-16,143-34 15,-124 34-15,89-36 0,-71 36 16,88-35 0,-88 35-16,-1-17 0,2 17 0,-19-19 15,229 2-15,-229-1 16,17 18-16,-15-17 0,15 17 16,142-17-16,-177 17 15,142-19-15,-141 19 16,0 0-16,-19 0 0,89 0 15,-105-17 1,-1 17-16,1 0 0,-19 0 0,35 0 16,-33 0-16,-2 0 0,0 0 15,1 0 1,0 0-16,0-18 16,-1 18-1,0 0 1</inkml:trace>
  <inkml:trace contextRef="#ctx0" brushRef="#br0" timeOffset="54015.23">10244 10050 0,'17'0'16,"0"18"-16,2-1 15,-2 0-15,1 1 16,-1 0 0,2-18-16,-2 18 0,18-18 15,-17 0 1</inkml:trace>
  <inkml:trace contextRef="#ctx0" brushRef="#br0" timeOffset="54279.49">10702 9961 0,'-34'0'0,"15"19"16,2-2-16,-1 0 16,18 1-16,-17 0 0,-2 0 15,2-1-15,0 0 0,-1 19 0,-35 35 16,36-36-16,-1-18 15,0 0-15,18 19 0,-18-18 16,1-1-16,17 2 0,-36 15 16,36-16-16,0 0 15,-17 0 1,34-1 0</inkml:trace>
  <inkml:trace contextRef="#ctx0" brushRef="#br0" timeOffset="54712.62">10844 10102 0,'0'36'16,"0"-18"-16,-18 16 15,18-15-15,0-2 0,0 1 16,0-1-16,0 36 16,18-35-1,-18-1-15,0 2 16,17-2-16,0-17 16,1 0-16,0 0 15,-18 17-15,35-34 16,1 17-16,-1 0 15,-18-17-15,2 17 16</inkml:trace>
  <inkml:trace contextRef="#ctx0" brushRef="#br0" timeOffset="54901.12">10861 10261 0,'17'-17'16,"1"17"-16,0 0 15,0 0-15,-1-18 16,0 18-16,2 0 0,-2-17 16</inkml:trace>
  <inkml:trace contextRef="#ctx0" brushRef="#br0" timeOffset="55079.37">10861 10120 0,'17'-18'15,"37"1"1,-1 17 15</inkml:trace>
  <inkml:trace contextRef="#ctx0" brushRef="#br0" timeOffset="55436.03">11285 10068 0,'-36'0'0,"19"17"31,-1 0-31,18 1 16,0 0-1,18 0-15,-18-1 0,34 0 16,-15 2-1,-2-19-15,-17 17 0,18-17 0,-18 18 16,17-18 0,0 17-16,-17 0 15,-17 2 1,0-19-16,-1 17 16,1 1-16,-2-18 0,2 17 15,0-17 1</inkml:trace>
  <inkml:trace contextRef="#ctx0" brushRef="#br0" timeOffset="56011.32">12201 10068 0,'-35'34'0,"35"-16"0,-17-18 15,17 18-15,0 0 0,-17 16 16,17-15-1,17-2-15,-17 1 0,17-1 16,-17 0-16,18-17 16,-1 0-16,2 19 0,-2-19 15,18-19 1,-17 19-16,0-17 16,-1 0-16,-17-1 0,17 1 15,-17-19 1,-17-17-1,0 53-15,17-18 0,-18 18 16,0 0-16,-17-17 16,18 17-16,-2 0 15,2 17-15,-1-17 16</inkml:trace>
  <inkml:trace contextRef="#ctx0" brushRef="#br0" timeOffset="56332.12">12396 10068 0,'17'0'0,"0"0"16,-51 0-16,68 17 0,-15 0 0,-2 19 16,1-18-1,-18-1-15,0 0 0,0 19 16,0-18-16,0-1 15,17 0-15,-17 2 16,-17-2-16,34-53 47,2 19-47,-2-18 16,0 18-16,18-36 15,-16 35-15,-2 18 16,0-18-16,1 18 0,0-18 0,0 18 0,-1 0 15,0 0 1</inkml:trace>
  <inkml:trace contextRef="#ctx0" brushRef="#br0" timeOffset="56725.32">13701 9980 0,'0'88'0,"0"-71"16,0 0-16,0 1 0,0 0 0,0 0 15,0 52 1,0-52-16,0-1 0,0 0 0,0 2 15,0-2 1,0 1-16,17-18 16</inkml:trace>
  <inkml:trace contextRef="#ctx0" brushRef="#br0" timeOffset="57115.23">13754 10050 0,'18'35'31,"-18"-18"-31,17-17 15,0 36-15,-17-18 0,19-1 16,-2 0-16,1 2 16,-1-19-16,0 17 15,2-17 1,-19-17 0,17-2-16,-17 2 15,0 0-15,18-37 16,-18 37-16,0 0 0,0-37 15,17 54-15,-17-34 16,0 15 15</inkml:trace>
  <inkml:trace contextRef="#ctx0" brushRef="#br0" timeOffset="57418.95">14089 10014 0,'-17'54'15,"34"-37"-15,-17 36 16,17-53-16,-17 18 0,18-1 16,0-17-16,0 0 0,-18 17 0,34-17 15,-15 0-15,-2 0 16,1 0-16,-1 0 0,19-34 15,-36 16 1,0 0 0,0 0-16,0 1 0,0 0 15,-19-1-15,19 0 0,-17 18 16,-18-18 0,-1 36-16,19-18 0,0 0 15,-19 18-15</inkml:trace>
  <inkml:trace contextRef="#ctx0" brushRef="#br0" timeOffset="59335.25">2641 9732 0,'88'0'0,"-52"-18"15,17 18-15,17-17 0,0 17 0,20-17 16,-2 17-16,122-36 16,-103 18-16,-2 18 0,19-17 0,-18 0 15,18 17-15,-19-19 0,230-16 16,-229 35-16,124-17 16,-177 17-1,-1-19-15,1 19 0,-18 0 0,1 0 16,-1 0-16,1 19 15,-19-19 1</inkml:trace>
  <inkml:trace contextRef="#ctx0" brushRef="#br0" timeOffset="59984.27">6664 9714 0,'34'-17'0,"1"0"0,18 17 15,-17 0-15,140-36 16,-34 36-1,-54 0-15,-18-18 0,36 18 16,-18 0-16,18 0 0,-18-17 0,0 17 16,142 0-16,-142-17 15,-18 17-15,-16 0 0,104 0 16,-140 0-16,52-19 16,-52 19-1,-1 0-15,2 0 0,-2 0 16,0 0-16</inkml:trace>
  <inkml:trace contextRef="#ctx0" brushRef="#br0" timeOffset="61707.33">11425 10720 0,'248'-35'0,"-177"18"0,193-37 31,-194 54-31,124-36 16,-141 19-16,18 17 0,-18-17 0,-1 17 15,19-18 1,-35 18-16,-2 0 16,-16 0-16,0-18 15</inkml:trace>
  <inkml:trace contextRef="#ctx0" brushRef="#br0" timeOffset="62138.05">11796 10790 0,'53'0'16,"-36"0"-16,1 0 15,35 0 1,-36-17-16,19 17 0,-1 0 0,-18 0 16,54-17-1,-18 17-15,-18-19 0,1 19 0,-1-17 16,1 17-16,69-18 16,-69 1-16,-1 17 0,35 0 15,-52-17-15,-1 17 16,19 0-16,-19 0 15,1-19-15,0 19 16,0 0 0</inkml:trace>
  <inkml:trace contextRef="#ctx0" brushRef="#br0" timeOffset="67875.31">18181 11425 0,'17'-17'0,"2"17"16,-2 17-16,18 2 16,-16-2-1,-2 0 1,0-17-16,1 36 15,-1-36-15,-17 18 0,19-18 16,-2 17-16,0-17 16,1 17-1</inkml:trace>
  <inkml:trace contextRef="#ctx0" brushRef="#br0" timeOffset="68159.92">18586 11425 0,'-34'19'16,"16"15"0,1-16-16,-19 18 15,19-19-15,-1 0 16,18 1-16,-53 35 15,53-36-15,-36 19 16,36-18-16,-17-18 0,-1 36 16,18-19-1,-17 0 1</inkml:trace>
  <inkml:trace contextRef="#ctx0" brushRef="#br0" timeOffset="68599.59">18586 11725 0,'0'0'0,"19"-17"15,-2-1 1,-17 1-16,18 17 0,-18-19 16,17 2-16,-17 0 15,0-1 1,-35 18 15,35 18-15,-17-1-16,-2 0 15,19 2 1,0-2-16,0 1 16,0-1-1,0 2 1,19-19-16,-19 17 15,17-17-15,1 0 16,-1 0-16,2 0 16</inkml:trace>
  <inkml:trace contextRef="#ctx0" brushRef="#br0" timeOffset="68966.87">19010 11549 0,'-17'17'0,"-2"-17"0,2 0 16,17 18-1,0 0-15,0 0 16,17-1-1,-17 0 1,0 2 0,19-19-16,-19 17 15,-19 1-15,2-18 16,17 17 0,-35 2-1,18-19-15,-2 17 0,2-17 16,-18 17-1</inkml:trace>
  <inkml:trace contextRef="#ctx0" brushRef="#br0" timeOffset="69476">19504 11566 0,'-18'0'0,"1"0"32,0 18-17,17 0-15,-19 0 16,19-1 0,19 0-16,-19 2 0,17-2 15,0-17-15,-17 18 0,18-18 16,18 0-1,-19 0-15,36-18 16,-35 18 0,-1-36-1,0 19 1,-17-18-16,-17-1 16,17 19-16,-17 0 15,-1-1-15,0 18 16,0-18-1,1 18-15,0 18 16,-1-18 0</inkml:trace>
  <inkml:trace contextRef="#ctx0" brushRef="#br0" timeOffset="69934.85">19857 11478 0,'0'36'0,"17"-36"0,-17 18 0,0 16 15,18-34-15,-18 18 16,0 0-16,0 0 16,0 16-1,0-15-15,0-2 16,-18-17 0,18-17 15,0-19-16,0 19-15,0-1 0,18 0 16,-18 0-16,18 1 0,-18 0 0,35-37 16,-35 37-1,17 0-15,2-2 0,-2-16 16,1 35 0,-18-17-16,17 17 15,0 0-15</inkml:trace>
  <inkml:trace contextRef="#ctx0" brushRef="#br0" timeOffset="70514.08">18781 12430 0,'0'-17'15,"-17"17"1,17 36 15,0-19-31,-19 1 0,19-1 0,0 2 16,0-2-16,0 0 15,-17 1-15,17 18 16,0-19-16,0 0 0,0 1 16,0 0-1</inkml:trace>
  <inkml:trace contextRef="#ctx0" brushRef="#br0" timeOffset="70910.73">18764 12484 0,'0'-18'0,"34"36"15,-16-1 1,0 2-16,0-2 16,-1 0-16,0-17 15,-17 18-15,19-18 16,-2 17-16,1-17 0,-1 19 16,0-38-1,2 19 1,-19-17-16,17 17 0,-17-18 15,0 1-15,0 0 0,0-19 16,18 36-16,-18-18 0,0 1 16,0-2-16,0-15 15,0 16-15,17 1 16</inkml:trace>
  <inkml:trace contextRef="#ctx0" brushRef="#br0" timeOffset="71232.67">19169 12396 0,'0'70'0,"0"-52"16,17 18-1,1-19 1,0 0-16,0-17 0,-1 0 0,0 0 16,37 0-16,-37-17 15,0 0-15,2-2 16,-19 2-16,0-1 16,-36-35-1,19 36-15,-18-1 16,16 18-16,2 0 15,0 0-15,-1 0 0,0 0 0,-17 18 16,18-18-16,-19 17 0,-52 19 16</inkml:trace>
  <inkml:trace contextRef="#ctx0" brushRef="#br0" timeOffset="94019.23">2060 13472 0,'-19'34'16,"19"-15"-16,0-2 0,0 18 15,0-16-15,19-19 16,-19 17-16,0 0 0,17 1 16,-17-1-16,17 19 15,1-19-15,0-17 16,0 0-16,-1 0 0,19 0 16,-19 0-1,35-34 1,-33 34-16,-2-19 0,1 2 0,-1 17 15,19-35 1,-36 18-16,17-2 0,-17 2 16,18-1-1,-18-18-15,0 19 16,-18 0-16,18-1 0,-17 1 16,0 17-1,-2-19-15,2 19 0,-1 0 16,-18 0-1,19 0-15,0 0 0,-1 0 0,1 0 16,-2 0-16,2 0 0,0 0 16,-1 19-16,0-19 0,-17 17 15,18 1-15,-2-18 16,2 17 0</inkml:trace>
  <inkml:trace contextRef="#ctx0" brushRef="#br0" timeOffset="94567.09">2606 13384 0,'-53'17'15,"106"-34"-15,-123 51 16,52-15-16,18-2 16,0 1-1,18-1 1,-1 0 0,0-17-16,19 19 15,-18-19-15,-1 0 0,0 17 16,19-17-1,-18 18-15,-1-18 16,-17 17-16,19-17 16,-19 19-16,0-2 15,-19 0-15,-16 1 16,18-1-16,-2 2 16,2-19-16,0 17 0,-18 0 15,-1-17-15,19 18 0,-1-18 16,-35 18-16,53 0 15</inkml:trace>
  <inkml:trace contextRef="#ctx0" brushRef="#br0" timeOffset="95588.17">2324 14706 0,'17'35'0,"-17"-16"0,0-2 15,-17-17-15,17 17 0,0 19 16,0-18-16,-18-1 16,18 0-16,0 2 0,0-2 0,0 18 15,0-18 1,0 2-16,0-2 0,0 1 15,0-1 1,0 2 0,18-19-1,-1 0 1,2 0 0,15 0-1,-16 0-15,-1-19 0,2 19 16,15-17-1,-34-1-15,18 18 16</inkml:trace>
  <inkml:trace contextRef="#ctx0" brushRef="#br0" timeOffset="95828">2306 14918 0,'35'-17'0,"1"-2"15,-19 19-15,1 0 0,-18-17 16,17 17-16,2 0 0,-2-17 15</inkml:trace>
  <inkml:trace contextRef="#ctx0" brushRef="#br0" timeOffset="96123.01">2306 14706 0,'18'0'0,"-1"-17"15,2 17-15,-19-17 16,17 17-16,18-19 16,-18 19-16,2 0 15</inkml:trace>
  <inkml:trace contextRef="#ctx0" brushRef="#br0" timeOffset="97046.79">3188 13242 0,'0'-17'0,"18"17"0,0-17 16,-1 17 0,-17-19-16,53 19 15,-18 0 1,-35 19-1,17-19-15,-17 17 0,19-17 16,-19 17-16,0 1 0,0 18 16,0-19-16,0 0 15,-19 37 1,19-37-16,0 0 16,0 2-16,0-2 0,0 1 15,0-1-15</inkml:trace>
  <inkml:trace contextRef="#ctx0" brushRef="#br0" timeOffset="97199.79">3417 13665 0</inkml:trace>
  <inkml:trace contextRef="#ctx0" brushRef="#br0" timeOffset="98206.85">3170 14442 0,'18'-18'16,"0"18"-16,0 0 16,-1 0-1,19 18 1,-19 0-16,1 16 15,-18-16 1,0 0-16,0 17 0,0-18 0,0 2 16,0-2-16,0 1 0,-18-1 15,1 19 1,17-19-16,0 1 0,0-1 0,-19 2 0,19-2 16,0 0-1,-17 1-15,17 0 31,17 0-31,-17-1 16</inkml:trace>
  <inkml:trace contextRef="#ctx0" brushRef="#br0" timeOffset="98390.9">3294 15077 0,'-17'0'16</inkml:trace>
  <inkml:trace contextRef="#ctx0" brushRef="#br0" timeOffset="114971.19">2130 14442 0,'0'-18'32,"18"18"30,-1 0-46,36-18-1,-18 18-15,18-17 16,-35 17-16,18-17 0,-2 17 16,1-19-16,1 19 0,17-17 0,-18-1 15,18 1-15,-1 17 0,-16-19 16,18 2-16,-20 0 0,20 17 0,-2-18 15,-16 1-15,-2-2 0,2 19 0,18-17 16,-20 0-16,1 17 0,18-18 16,-17 0-16,-1 18 0,1-18 0,-1 1 15,-1 17-15,2-17 0,-1 17 0,-16-18 16,50 0-16,-50 18 16,15 0-16,-16-18 0,0 18 0,0 0 15,-1-17-15,0 17 0,2 0 0,-2 0 16,18-17-1,-18 17 1,2 0 0,-2-19-1,1 38 17,-18-2-17,0 0-15,17 37 16,-17-37-16,0 0 0,0 19 15,19-18-15,-19 52 16,17-35-16,-17 1 0,0-1 16,17 1-16,-17-2 0,18-16 0,-18 18 15,18 34-15,0-35 16,-18-18-16,17 54 0,0-52 16,-17 15-16,18 1 0,0-16 15,-18 15-15,18-16 0,-18 18 0,17-19 16,-17 0-16,17 19 0,-17-18 15,0-1-15,19 0 0,-19 2 0,0-2 16,17 1-16,-17-1 16,0 2-1,0-2 1,18-17-16,-18 17 0,0 1 31,-18 0-15,1 0-1,-2-18 1,2 0 0,17 17-16,-17-17 0,-1 0 0,0 17 0,0-17 15,1 18-15,0-18 0,-1 18 16,-35 0-16,17-1 16,1 0-16,-1-17 0,-16 36 0,16-18 15,-105 35 1,106-36-16,-18-17 0,18 18 0,-18-1 15,18 2-15,-1-19 0,2 17 16,-2 0-16,1-17 0,-18 18 0,1 0 16,16-18-16,-18 18 0,2-1 0,16-17 15,2 17-15,-2-17 0,1 18 16,-1-18-16,19 18 0,-18-18 16,16 0-16,-15 18 0,16-18 0,1 0 0,-2 0 15,2 0-15,-18 17 16,17-17-16,0 0 0,1 0 0,0 0 0,-2 0 15,2 17-15,-1-17 0,1 0 16,0 0-16,-2 19 0,2-19 16,-1 0-16,1 0 0,-2 17 0,2-17 15,0 0-15,-1 0 0,1 0 0,17 18 16,-19-18-16,2 0 16,0 0-16,-1 0 0,0 0 31,0 0-31,-16 0 15,34-18 1,-19 1-16,2-36 16,-1 35-1,1 0-15,0-52 0,17 52 16,-19-34-16,2 16 16,-37-70-16,37 53 0,0 18 15,-1-18-15,0 0 0,0 18 0,1-18 16,0 18-16,-1-1 0,18 1 15,-18-1-15,0 2 0,18 16 0,-17 0 16,17 0-16,-17 1 0,17 0 0,-19-2 16,19 2-16,0-1 0,-17 1 15,17 0-15,-18-2 0,18 2 16,-17-1 0,17 1-1,0-2 1,17 19-1,1-17 1,-1 17-16,2 0 0,-2-17 16,0-1-16,1 18 0,0 0 15,17-18-15,0 0 16,-17 18-16,53-34 16,-54 34-16,1-18 0,-1 18 0,2 0 15,-2-18-15,0 18 16,1 0-16,-1 0 0,2-18 0,-2 18 15,0 0-15,19 0 16</inkml:trace>
  <inkml:trace contextRef="#ctx0" brushRef="#br0" timeOffset="132451.04">9980 9521 0,'0'-19'0,"0"2"16,0 53-1,17 16 1,-17 1 0,0 18-16,17-18 0,-17 18 0,0-2 15,0-15-15,0 16 0,18 1 0,-18-18 16,0 18-16,-18-19 0,36 19 16,-18-18-16,0-18 0,0 1 0,0-2 15,0 2-15,0-18 0,0-1 16,0 0-16,0 2 0</inkml:trace>
  <inkml:trace contextRef="#ctx0" brushRef="#br0" timeOffset="133859.22">10068 9750 0,'317'-70'0,"-246"34"15,17 18-15,0 1 0,17-19 0,107 1 16,-88-1-16,352-52 16,-317 54-16,-1-2 15,1 1-15,0 18 0,-1-19 0,1 18 16,0 1-16,-1-19 0,-34 36 16,35-17-16,-35-1 0,17 1 0,-18-2 15,1 19-15,-19-17 0,19 17 16,-18-17-16,88-1 15,-123 18-15,-2 0 0,2 0 0,0 0 16,-18-18-16,-18 18 0,1 0 0,-2 0 16,-15 0-16,33 0 15,-33 0-15,-2 0 0,0 0 0,1 0 16,-1 0-16,2 0 16,-2 0-16,0 18 15,1 0-15,-18-1 16,0 0-16,18 2 0,-18-2 0,0 18 15,18-18-15,-18 19 16,0-1-16,0 1 0,0 17 0,17-1 16,-17 126-16,17-73 15,-17-70-15,19 71 16,-2-35-16,-17-36 16,18 1-16,-18-2 0,0 2 0,17-1 15,-17 0-15,17 1 0,-17-2 16,19 2-16,-19-18 0,0 16 0,17 2 15,-17-18-15,0-1 0,0 19 0,0-19 16,0 1-16,0 0 0,0 0 16,0-1-16,0 0 0,0 1 0,-17 0 15,-2 0-15,2-1 16,0-17-16,-1 0 16,1 17-16,-2-17 0,-15 0 0,16 0 15,-18 0-15,-17 19 0,18-19 16,-18 17-16,1-17 0,-1 18 0,-1-18 15,2 17-15,-1-17 0,17 19 16,-16-19-16,-1 17 0,-53 0 16,-18-17-16,54 18 15,16-18-15,-15 17 0,-20-17 16,1 19-16,0-19 0,-18 17 0,-88 0 16,-18 19-16,124-36 15,-18 18-15,18-18 0,-53 17 16,70-17-16,1 17 0,-89-17 15,-17 18-15,105-18 16,1 18-16,-89-18 16,71 0-16,0 0 0,-1 18 0,-17-18 15,18 0-15,-124 17 0,124-17 16,0 0-16,0 0 0,18 0 16,-1 17-16,-17-17 0,17 0 15,-70 0-15,70 0 0,1 0 16,16 0-16,2 19 0,-36-19 15,35 0-15,-18 0 0,54 0 16,-19 0-16,1 0 0,18 0 16,-19 0-16,19 0 15,-1 0-15,-18 0 16,19 0-16,0 0 16,-1 0-1,0 0 1,0 0-1,1-19 1,17 2 15,0 0-31,-17-1 16,17-35 0,0 36-16,0-1 15,0-18-15,0 2 16,0 15-16,0 2 0,0-1 15,0 1-15,0 0 0,17 17 16,-17-19-16,0 2 0,0-1 16,17 18-16,-17-17 0</inkml:trace>
  <inkml:trace contextRef="#ctx0" brushRef="#br0" timeOffset="145786.54">18040 11090 0,'-18'0'16,"18"35"31,0 1-47,0 17 15,0 18-15,18-19 0,-18 19 16,-18-18-16,18 18 0,0 17 0,0 0 0,-17 158 15,17-192 1,-36 122 0,36-106-16,-17-16 0,17-20 0,-18 20 15,18-20-15,-17 2 0,-2 35 16,19-54 0,-17 1-16,17-1 0</inkml:trace>
  <inkml:trace contextRef="#ctx0" brushRef="#br0" timeOffset="146923.15">18076 11161 0,'34'-17'15,"-16"17"-15,0 0 16,0 0-16,87-19 16,-69 19-16,16 0 0,19-17 0,123-18 15,-123 35 1,17-17-16,0-2 0,0 2 0,-17-1 15,70 1-15,-70-2 16,122-15 0,-140 16-16,1 0 0,-2 18 0,-16-18 15,-2 18-15,-15-17 0,16 17 0,1 0 16,-2-17-16,-16 17 16,-1 0-16,2 0 15,-2-18-15,0 36 16,1-18-16,-18 17 15,18 0-15,0 19 16,-18-18-16,17-1 16,-17 0-16,17 2 0,-17-2 0,19 37 15,-19-37-15,0 0 0,17 18 16,-17-16-16,0 15 0,0 2 16,0-1-16,0 1 0,0-1 0,0 70 15,0-52-15,-17-17 16,17-1-16,0 0 0,0 89 15,0-88-15,0-2 16,0 1-16,0 1 0,0-1 16,0 1-16,0-2 0,0 2 0,0 52 15,0-53 1,0-16-16,0 15 0,0-16 0,0 18 16,0-19-16,17 0 0,-17 1 15,0 0-15,0 0 0,0-1 0,0 19 16,0-1-1,18-35-15,-18 34 16,0-15 15,17-2-15,-34 1 15,-1-18-31,1 0 16,-2 0-16,2 17 0,-18-17 15,17 0-15,-122 53 16,69-53-16,-36 35 16,19-16-16,18-2 0,-18 0 0,0 1 15,0 0-15,0 0 0,-2-1 0,2 0 16,18 2-16,-70 16 16,86-35-16,-16 17 0,16 0 15,2 2-15,16-19 0,2 17 0,-2-17 16,1 18-16,-1-18 0,-16 17 15,33-17-15,2 0 16,0 0-16,-1 0 0,0 0 0,0 19 16,1-19-1,0 0 1,-1 0-16,0 0 16,0 0-1</inkml:trace>
  <inkml:trace contextRef="#ctx0" brushRef="#br0" timeOffset="148754.92">24442 13665 0,'36'0'31,"-18"0"-15,18 0-16,-19 0 0,0 0 15,71 0 1,-52 0-16,-18 0 0,52 0 16,-52 0-16,35-17 15,-36 17 1</inkml:trace>
  <inkml:trace contextRef="#ctx0" brushRef="#br0" timeOffset="149071.92">24832 13418 0,'34'19'16,"-16"-19"-16,-1 17 16,2-17-16,-2 18 0,-17-1 0,17 0 15,1-17-15,0 54 16,-18-37-16,0 2 16,0-2-16,0 0 0,-18 1 0,18 18 15,-18-19-15,1 18 16,0-17-16,-2 0 0,19-1 15</inkml:trace>
  <inkml:trace contextRef="#ctx0" brushRef="#br0" timeOffset="150486.35">25837 13313 0,'-53'35'0,"35"-17"0,0 0 15,18-1-15,-18 0 0,-16 54 16,34-54-16,0 2 15,0-2-15,0 1 0,0-1 0,0 19 16,0-19-16,17 1 16,0-1-16,1 2 0,35-2 15,-36-17 1,2 0-16,-2-17 0,1 17 0,35-19 16,-36 2-1,1-1-15,-1 1 0,2 0 0,-2-2 16,18-52-1,-17 37-15,-18 16 0,18-18 0,-18 19 16,17 0-16,-17-19 0,0 18 16,0 1-16,17 0 0,-17-2 15,0 2-15,0 53 32,0 34-17,0-52-15,18-1 16,-18 0-16,0 19 0,0-18 15,0-1-15,36 36 16,-19-18-16,-17-16 0,36-2 16,-19-17-1</inkml:trace>
  <inkml:trace contextRef="#ctx0" brushRef="#br0" timeOffset="150935.26">26577 13384 0,'-17'-18'0,"-1"18"16,18-18-16,-36 36 15,19 0-15,0-1 16,-1 0 0,0 2-16,18-2 0,0 1 15,-18-18-15,18 17 16,18 0 0,-18 2-16,18-19 15,0-19 1,16 2-1,-15 0-15,-2 17 16,-17-18-16,18 18 16,-1 0 15,-17 18-31,0-1 16,17 0-1,-17 2-15,19-19 16</inkml:trace>
  <inkml:trace contextRef="#ctx0" brushRef="#br0" timeOffset="151431.6">26842 13313 0,'-18'35'15,"18"-17"1,0 0-1,0-1 1,18-17 0,0-17-1,-1 17 1,0 0 0,2 0-1,-2 17 1,1-17-1,-1 0 32,2 0-15,-2 0-17,0-17-15,1 17 0,-1 0 0,2 0 16,-2 0-16</inkml:trace>
  <inkml:trace contextRef="#ctx0" brushRef="#br0" timeOffset="151725.91">27936 13277 0,'34'0'0,"-15"0"16,16 0-1,-18-17-15,0 17 0,2 0 0,-2 0 16,-17-18-16,18 18 0,-1 0 0,2 0 16</inkml:trace>
  <inkml:trace contextRef="#ctx0" brushRef="#br0" timeOffset="151955.79">28200 13118 0,'0'-17'16,"36"34"-1,-36 2-15,17-19 16,-17 17-16,0 1 0,17-18 0,-17 17 16,0 2-16,18 15 15,-18-16-15,0-1 0,-18 19 16,18-19-1,0 1-15</inkml:trace>
  <inkml:trace contextRef="#ctx0" brushRef="#br0" timeOffset="155269.31">25430 14406 0,'36'0'31,"-18"-17"-31,-1 17 16,36 0 0,-35 0-16,-1 0 0,2 0 0,15-17 0,20 17 15,-37 0-15,0 0 16,19 0 0</inkml:trace>
  <inkml:trace contextRef="#ctx0" brushRef="#br0" timeOffset="155596.79">25801 14177 0,'36'17'0,"-19"2"0,-17-2 0,18 1 16,-1-18-16,-17 34 0,19-15 0,-2 33 16,-17-16-16,0-1 15,0 1 1,-17-19-16,17 0 0,-19 1 0,2 0 0,-1 34 15,1-33-15,17-2 16,-19-17 0</inkml:trace>
  <inkml:trace contextRef="#ctx0" brushRef="#br0" timeOffset="156206.75">26824 14213 0,'-18'35'16,"18"-18"-1,0 0-15,0 2 0,-34 69 32,16-53-32,0-17 0,18 17 0,-18-18 0,1 19 15,17-18 1,-17-1-16,17 0 0,-19 2 15,19-2-15</inkml:trace>
  <inkml:trace contextRef="#ctx0" brushRef="#br0" timeOffset="157692.9">26772 14282 0,'52'-34'15,"-34"34"-15,0-18 0,-1 18 16,36 0 0,-35 18-16,-1-1 15,-17 0 1,0 2-16,0-2 0,-17 1 0,-18 52 16,16-52-16,2 0 15,0 0-15,-1-1 0,-18 18 16,19-35-16,0 18 15,-1 0 1,36-1 15,-1-17-31,0 17 16,1-17-16,0 0 16,17 0-1,-18 0-15,2 0 0,-2 0 16,1-17-16,-1 17 0,19 0 15</inkml:trace>
  <inkml:trace contextRef="#ctx0" brushRef="#br0" timeOffset="158230.89">27212 14318 0,'-35'18'16,"35"-1"-16,-17-17 16,17 19-16,-18 33 15,0-52-15,18 36 0,0-19 16,-18 0-16,18 1 15,18 0-15,0 0 16,0-18 0,-1 0-16,18-18 15,-17 0 1,0 0-16,-18 1 0,17 0 16,-17-1-16,0 0 15,0 0-15,-17 1 16,17 0-16,-18 17 15,0-19-15,0 19 16</inkml:trace>
  <inkml:trace contextRef="#ctx0" brushRef="#br0" timeOffset="158574.72">27441 14282 0,'-17'0'0,"-1"19"16,18-2-16,-17 1 15,17-1 1,0 2-16,0-2 0,0 0 16,17 1-16,-17 18 15,0-19-15,18-17 16,-1 17-16,2-17 16,15 0-1,-16 0-15,0 0 16,0-17-16,-1 17 0,0-17 15</inkml:trace>
  <inkml:trace contextRef="#ctx0" brushRef="#br0" timeOffset="158835.81">27794 14142 0,'0'0'0,"-17"18"31,-19 35-15,36-36-16,-17 18 16,17-18-16,-18 2 0,-18 52 15,19-54 1,17 0-16,-17 1 0,17 0 0,-18 0 0,18-1 15</inkml:trace>
  <inkml:trace contextRef="#ctx0" brushRef="#br0" timeOffset="159103.88">27989 14265 0,'-19'0'31,"-33"17"-15,34 2-16,0-19 0,18 17 0,-17 1 15,0-18-15,17 17 0,-19 2 16,19-2-16,0 0 16,19 1-16,-2-18 15,0 0-15,1 0 16,0 18-16,0-18 0,-1 0 0,0 0 15,2 0-15,-2 0 0,1 0 0,-1 0 16,-17 18-16,17-18 16,-17 17-16</inkml:trace>
  <inkml:trace contextRef="#ctx0" brushRef="#br0" timeOffset="159436.79">26048 15658 0,'158'-34'0,"-139"16"16</inkml:trace>
  <inkml:trace contextRef="#ctx0" brushRef="#br0" timeOffset="159671.81">26313 15377 0,'0'-19'0,"17"19"16,1 0-1,18 0 1,-36 19-16,17-19 0,0 17 0,1 1 16,-18-1-16,0 19 15,0-1-15,0-17 16,0 0-16,0 16 0,-18 20 16,1-1-1</inkml:trace>
  <inkml:trace contextRef="#ctx0" brushRef="#br0" timeOffset="160070.65">27301 15200 0,'-19'53'16,"19"-36"-16,-17 37 16,0-37-16,17 0 15,0 19-15,-18-18 0,18-1 0,-18 2 16,18-2-16,-18 0 0,18 1 0,-17 0 16,17 0-16,-17-1 15,17 0 1</inkml:trace>
  <inkml:trace contextRef="#ctx0" brushRef="#br0" timeOffset="160345.73">27212 15165 0,'36'-17'0,"-19"-19"16,19 36 0,-1 18-1,-18 0 1,2-1-16,-19 0 0,-19 37 16,19-37-16,-35 19 31,35-19-31,-17 1 0,-2-1 0,19 0 0,-17-17 15,17 19-15,-17-2 0</inkml:trace>
  <inkml:trace contextRef="#ctx0" brushRef="#br0" timeOffset="160626.81">27389 15377 0,'0'35'16,"17"-18"-16,1 19 31,-1-36-31,2 17 16,-2-17-16,0 0 16,1-17-16,0 0 15,-18-2 1,0 2-1,-18-18-15,18 16 16,-18 19-16,18-17 0,-34 17 16,15-17-1,2 17 1</inkml:trace>
  <inkml:trace contextRef="#ctx0" brushRef="#br0" timeOffset="160835.99">27618 15182 0,'18'0'16,"-1"18"-1,-17 18 1,17-19 0,-17 19-16,0-19 15,0 1-15,0-1 0,19 19 0,-19-19 0,0 1 16,0-1-16,0 2 0,0-2 15,0 0-15,0 19 16,0-18-16</inkml:trace>
  <inkml:trace contextRef="#ctx0" brushRef="#br0" timeOffset="161160.6">27794 15060 0,'35'0'15,"-70"0"-15,89 0 16,-37 17-16,-17 0 0,17-17 15,-17 18-15,0 0 0,0 0 0,0-1 16,-17 54 0,0-54-16,17 0 15,-19 2-15,2-2 0,-1 1 0,18-1 16,-34 19 0,15-19-16,19 1 0,-17-18 0</inkml:trace>
  <inkml:trace contextRef="#ctx0" brushRef="#br0" timeOffset="162614.35">28448 12554 0,'105'0'0,"-70"0"15,-17 35 1,0-35-16,-1 19 0,-17 15 0,0-16 16,17 88-1,-17-54-15,0 2 0,19 140 16,-19-123-16,0 0 15,0 193 1,0-159-16,0-17 0,0 1 0,0 17 16,0-18-16,0 18 0,17-18 15,-17 0-15,18 0 0,-1 0 0,36 178 16,-35-178-16,-1-18 16,2 18-16,33 71 15,-35-88-15,2-1 0,15 1 16,-16-2-16,0-15 0,0-1 0,-18 0 0,17-1 15,19 36 1,-36-52-16,17-1 0,-17 1 0,18-19 16,-18 1-16,0-1 0,17 2 0,-17-2 0,0 0 15,-35 19 1,18-18 0,-90 16-16,54-34 15,-16 18-15,15 0 0,-175 0 16,124-1-16,15-17 15,-15 0-15,0 0 0,-2 0 0,2 0 16,-213-35 0,212 17-16,0 0 0,1-16 0,-19-20 15</inkml:trace>
  <inkml:trace contextRef="#ctx0" brushRef="#br0" timeOffset="163436.09">24761 12925 0,'-195'35'0,"161"-17"0,-37 17 16,18 0 0,35-17-16,1 0 0,-19 16 15,19 2-15,17-18 0,-18 18 16,18-2-16,0 1 0,0 1 0,0 17 15,0 18-15,0-2 0,0-15 16,18 34-16,-18-18 0,17 196 16,-17-178-16,17 0 0,2 70 15,-19-70-15,0 18 16,17-17-16,-17-1 0,18 193 16,-18-191-16,0-2 15,17 0-15,-17 0 0,0 0 16,0-35-16,0 35 0,17-17 0,-17-18 0,19 123 15,-19-123 1,17-18-16,1 0 0,-18 1 16,17-19-16,54 54 15,35-54-15,-54-17 0,19 0 16,0 0-16,194-17 16,-54-1-16,-105 1 15,353-54 1,-336 35-16</inkml:trace>
  <inkml:trace contextRef="#ctx0" brushRef="#br0" timeOffset="166810.57">29065 14036 0,'52'0'0,"-35"0"0,2-18 16,16 18-16,-18 0 0,54-17 16,-53 17-16,17 0 0,0 0 0,1-17 15,-19 17-15,54 0 16,-54 0-16,0-19 16,2 19-16,-2 0 0,1 0 15,-1 0-15</inkml:trace>
  <inkml:trace contextRef="#ctx0" brushRef="#br0" timeOffset="167110.68">29400 13825 0,'53'17'16,"35"35"0,-71-33-16,1-2 15,-1 18-15,2 1 16,-2-19-16,-17 19 0,0-18 0,0 34 15,0-34-15,-17 17 0,-2-18 16,19 19-16,-17-18 0,-18 35 16</inkml:trace>
  <inkml:trace contextRef="#ctx0" brushRef="#br0" timeOffset="168118.6">30405 13506 0,'0'19'16,"17"-19"0,-17 17-16,0 1 0,0-1 15,0 2-15,0-2 0,0 18 16,0-18-1,0 36-15,0-35 0,0 0 16,-17 0-16,17-1 0,0 0 16,-17-17-1,17 19-15</inkml:trace>
  <inkml:trace contextRef="#ctx0" brushRef="#br0" timeOffset="168319.32">30388 13437 0,'-18'-19'15</inkml:trace>
  <inkml:trace contextRef="#ctx0" brushRef="#br0" timeOffset="168680.76">30634 13648 0,'-17'53'0,"17"-36"16,17 1 0,1-36 15,-1 18-31,-17-17 15,19 17-15,-2 0 16,-17-17 0,17 34-16,1-17 15,0 17 1,0 1 0,-1 0-16,0-18 15,-17 18-15,18-18 0,0 17 16</inkml:trace>
  <inkml:trace contextRef="#ctx0" brushRef="#br0" timeOffset="169203.7">31093 13506 0,'0'0'0,"-17"36"31,-2-36-31,19 18 15,0-1-15,0 2 0,-17 33 16,17-35-16,0 2 16,0-2-16,0 0 15,17 1 1,19 0 0,-19-36-16,19 0 15,-18 1-15,-1 17 0,0-17 16,1-2-16,0 2 31,0 17-31,-18-18 0,17 36 31,-17-1-15,17 2-16,-17-2 16,0 0-1,19 1-15,-2-18 16,1 18-1,-1-18-15,2 0 16</inkml:trace>
  <inkml:trace contextRef="#ctx0" brushRef="#br0" timeOffset="169639.73">31516 13665 0,'18'-35'0,"0"1"16,-1 34-1,-17-19-15,-35 38 63,35-2-48,-18 18 1,18-18-16,18 2 16,0-2-16,16-17 15,-15 0 1,-2 17-16,1-17 0</inkml:trace>
  <inkml:trace contextRef="#ctx0" brushRef="#br0" timeOffset="169999.24">32010 13525 0,'-36'0'15,"72"0"-15,-89 0 16,36 0-16,-1 0 0,0 17 15,0-17 1,1 18 0,34-1 15,-17 2-15,18-2-16,0 0 15,-18 1 1,0-1-1,-18-17 1,0 19 0,18-2-16,-17-17 15</inkml:trace>
  <inkml:trace contextRef="#ctx0" brushRef="#br0" timeOffset="170647.26">31181 14318 0,'17'-17'15,"-17"52"-15,0-18 16,0 2-16,0-2 0,0 0 16,0 54-1,0-54-15,0 19 0,0-18 16,-17 35-16,17-36 0,-17 1 16,17-1-16</inkml:trace>
  <inkml:trace contextRef="#ctx0" brushRef="#br0" timeOffset="171075.67">31022 14601 0,'18'35'47,"-18"-18"-32,17 2-15,-17-2 16,36 0-1,-36 1-15,17-18 0,-17 17 16,18-17-16,0 19 0,0-19 16,16 0-1,-16-19-15,0 19 0,0-17 16,-1 17-16,0-18 0,2 1 16,-2 0-16,18 17 0,-16-19 0,-2 2 15,0-1-15,1 1 0,-1-2 16,19 2-1,-19 0-15,1 17 0</inkml:trace>
  <inkml:trace contextRef="#ctx0" brushRef="#br0" timeOffset="182756.04">6928 10878 0,'-36'-17'62,"36"0"1,-18 17-1,36 17 32,0-17-78,53 17-1,0-17-15,122 0 16,-122 0-16,-18 0 0,18 0 16,-2 0-16,20 0 0,-18 0 15,52 0-15,-53 0 0,-16 0 16,-2 0-16,-16 0 0,17 0 15,-18 0-15,1 0 0,-19-17 0,0 17 16,18 0-16,-16 0 0,-2 0 16,0 0-16,1 0 15,0 0 1,0 0-16,-1 0 16,0 0 15,-51 17 31</inkml:trace>
  <inkml:trace contextRef="#ctx0" brushRef="#br0" timeOffset="184491.75">9609 13684 0,'17'17'0,"1"0"16,-18 1-16,36 18 15,-19-19 1,-17 0-16,17-17 0,-17 19 0,18-2 15,0 1-15,0-18 16,-18 17-16,34-17 31,-15 0-31</inkml:trace>
  <inkml:trace contextRef="#ctx0" brushRef="#br0" timeOffset="184719.64">10102 13718 0,'-17'-17'0,"-18"34"16,-1 19-1,19-36-15,0 18 0,-2 16 0,2-15 16,-18-2-16,16 18 0,2-18 16,-18 19-16,18-18 0,-19 52 15,1-34-15,35-18 0,-18-1 16,0 0-16,1 1 0,0 18 15,17-19-15,-19-17 0,19 17 0</inkml:trace>
  <inkml:trace contextRef="#ctx0" brushRef="#br0" timeOffset="185111.91">10226 13894 0,'-17'71'16,"-2"-52"-1,2-2-15,17 0 0,-17 1 16,17 0-16,-18 0 0,0 16 16,18-16-1,0 0-15,0 0 16,18-1 0,0-17-1,-1 0-15,0 0 16,-17 17-16,19-34 0,-2 17 0,1 17 15,-1-34-15,0 17 0,2 0 0,-2 0 16,1 0-16,-1 0 16,2-17-16</inkml:trace>
  <inkml:trace contextRef="#ctx0" brushRef="#br0" timeOffset="185290.99">10085 14072 0,'35'-18'15,"-17"18"-15,0 0 0,-1 0 16,19-18-16,-19 18 16,1 0-16,-1 0 0,0 0 0,2-18 15,-2 18-15,1 0 0</inkml:trace>
  <inkml:trace contextRef="#ctx0" brushRef="#br0" timeOffset="185475.56">10278 13842 0,'124'-17'16,"-106"17"-16</inkml:trace>
  <inkml:trace contextRef="#ctx0" brushRef="#br0" timeOffset="185790.59">10702 13789 0,'-34'0'0,"68"0"0,-87 0 16,36 17-16,-1-17 15,1 19 1,17 16 0,0-18-1,17-17-15,-17 17 0,0 2 0,18-19 16,-18 17-16,17 1 0,-17-1 15,19-17-15,-19 19 0,0-2 16,0 0-16,0 1 16,-19-18-16,19 18 15,-17-18-15,-1 18 16,1-18-16,-2 17 0,2-17 16,0 0-16</inkml:trace>
  <inkml:trace contextRef="#ctx0" brushRef="#br0" timeOffset="189595.16">11866 13736 0,'36'-35'0,"-18"35"16,-1 0-16,0 0 0,19-17 16,-18 17-16,16 0 0,-15 0 15,-2-19-15,1 19 0,18 0 16,-19 0-16,0 0 0,1 0 0,-1-17 15,2 17-15,-2 0 0,0 0 16,1 0-16</inkml:trace>
  <inkml:trace contextRef="#ctx0" brushRef="#br0" timeOffset="189934.54">12220 13489 0,'17'17'31,"18"2"-16,-17-2 1,-18 1-16,18-18 0,-1 17 16,-17 2-16,17-2 0,-17 0 0,19 1 15,-19-1-15,0 2 16,-19-2-16,19 0 0,0 1 0,-17 0 16,17 0-16,-17-1 0,-1 0 15,0 2-15,18-2 0,-18-17 16,1 18-16</inkml:trace>
  <inkml:trace contextRef="#ctx0" brushRef="#br0" timeOffset="191124.57">13084 13454 0,'17'142'16,"-17"-125"-16,0 0 0,0 1 0,0-1 15,0 2-15,0-2 0,0 0 16,0 1-16,0 0 0,17 0 16,2-1-1</inkml:trace>
  <inkml:trace contextRef="#ctx0" brushRef="#br0" timeOffset="191492.69">13384 13454 0,'-18'0'16,"18"18"-16,0-1 16,0 0-1,0 2-15,0-2 16,18-17-16,-18 18 0,17-1 0,0 2 15,2-19-15,-2 17 16,18-17-16,-18 17 0,2-17 16,-2 0-16,1 0 15,-1 0-15,-17-17 0,19 17 16,-19-17-16,17-2 16,-34 2-16,17-1 15,-19 1-15,19-2 16,-17 19-16,-1-17 15,1 17 1,-2 0 0</inkml:trace>
  <inkml:trace contextRef="#ctx0" brushRef="#br0" timeOffset="191822.54">13665 13454 0,'19'0'16,"-2"35"15,-17-18-31,17-17 0,-17 19 16,18-19-16,-18 17 0,18-17 0,0 18 15,-1-18-15,0 0 0,2 0 16,-2 0-16,18 0 15,-18 0-15,2-18 16,-2 1-16,-17-2 16,-17-15-1,-2 34 1,19-18-16,-17 18 0,-18-17 16,-1 34-1,19-17 1,0 0-16,17 18 0,-18-18 15</inkml:trace>
  <inkml:trace contextRef="#ctx0" brushRef="#br0" timeOffset="192066.36">14353 13296 0,'0'0'0,"0"34"32,-17 2-17,17-18 1,-18-1-16,18 0 0,0 2 0,-17 16 16,-2-18-16,19 0 15,-17 2 1,17-2-16</inkml:trace>
  <inkml:trace contextRef="#ctx0" brushRef="#br0" timeOffset="192268.59">14106 13330 0</inkml:trace>
  <inkml:trace contextRef="#ctx0" brushRef="#br0" timeOffset="192430.4">14565 13525 0</inkml:trace>
  <inkml:trace contextRef="#ctx0" brushRef="#br0" timeOffset="194930.22">12361 14760 0,'-36'0'94,"19"17"-79,17 0-15,-18-17 16,18 18-16,18 18 31,-18-19-31,17 0 0,19 37 16,-19-20-1,1-15-15,16 33 16,-34-16 0,-17-1-1,17-17-15,-17-18 0,-1 18 16,1-1-16,-2-17 15,2 0-15,0 0 16,-1 0-16,18-17 16,0-1-1,18 0 1,-1-17 0,0 18-16,-17-2 15,19 2-15,-2-18 16,1 16-16,-18-15 15,-18-1 1,18 16-16,-17 2 16,-2-18-1,2 35-15,-18-18 16</inkml:trace>
  <inkml:trace contextRef="#ctx0" brushRef="#br0" timeOffset="195307.61">12520 14760 0,'-36'0'31,"36"17"-31,0 0 16,-18 1-16,18 35 15,0-36-15,0 2 0,0-2 16,0 1-16,18-1 0,-18 0 16,17 2-16,2-2 15,-19 1-15,17-18 0,18 17 0,-18-17 16,2 0-16,-2 0 16,18 0-16,-17 0 0,-18-17 15,18 17-15,-1 0 0,-17-18 0,17 1 16,-17-2-16,19 19 15,-19-17-15,0 0 0,-19-1 16,19 1-16,-17-2 16,0 2-1,-1 17-15,0-17 0,0 17 16,1 0-16,0 0 16,-2 0-16,19 17 15,-17-17 1,17 17-16</inkml:trace>
  <inkml:trace contextRef="#ctx0" brushRef="#br0" timeOffset="195543.85">13048 14689 0,'0'35'31,"0"-18"-31,0 19 16,-18 17-16,18-35 15,-17-1-15,17 19 16,-17-1-16,17-18 16,0 0-16,-18 2 15</inkml:trace>
  <inkml:trace contextRef="#ctx0" brushRef="#br0" timeOffset="195722.8">12854 14777 0</inkml:trace>
  <inkml:trace contextRef="#ctx0" brushRef="#br0" timeOffset="195883.01">13242 14882 0,'18'19'31</inkml:trace>
  <inkml:trace contextRef="#ctx0" brushRef="#br0" timeOffset="196712.62">13825 14794 0,'17'0'15,"1"0"-15,16 0 0,-15 0 16,-2 0-16,1 0 0,-1 0 16,2 0-16,-2 0 15,0 0-15,37 0 16,-37-17-1,18 17 1</inkml:trace>
  <inkml:trace contextRef="#ctx0" brushRef="#br0" timeOffset="196994.71">14018 14653 0,'36'0'15,"-18"0"1,16 19 0,-16-19-16,0 17 0,0 0 0,-1-17 15,-17 18-15,17-18 16,2 17-16,-19 2 0,0-2 0,17 0 0,-17 1 15,0 0-15,-17 17 16,-2-18-16,19 2 16,-17-19-16,-18 35 0,-1-1 15,2-15-15</inkml:trace>
  <inkml:trace contextRef="#ctx0" brushRef="#br0" timeOffset="198606.58">7862 2870 0,'18'0'0,"0"18"0,0-18 15,-1 18-15,0-18 16,-17 18-16,18-18 0,-18 17 15,18-17-15,0 17 0,-1 2 16,0-2-16,2 1 16,-2-1-1,18-17 1,-35-17 0,19 17-16,-2-18 0,106-123 31,-17 36-31,-54 51 0,19 1 15,0 1-15,35-19 0,0 1 0,18-1 16,-19 0-16,19 18 0,-19-18 16,-17 37-16,18-37 0,-17 35 0,-1-16 15,0 16-15,0 1 0,0-18 16,0 18-16,-17-1 0,-18 2 0,0 16 16,-1 0-16,-16-17 0,16 18 0,-33-2 15,16 19-15,-18-17 0,2 17 16,-2-18-16,0 18 0,1-17 15</inkml:trace>
  <inkml:trace contextRef="#ctx0" brushRef="#br0" timeOffset="206164.83">19452 12220 0,'0'-19'0,"-19"19"0,19-17 15,-17-1 1,-18 1-1,35 0-15,-19-2 16,2 19-16,0-17 0,-1-1 16,1 18-16,-2-17 0,2 17 0,0-19 15,-1 19-15,-18-17 0,2 17 0,16 0 16,-18-17-16,2 17 0,-37 17 16,18-17-16,-1 17 15,2 2-15,-1-2 0,0 18 0,18-16 16,-18 15-16,18 1 0,-1 1 15,-35 35-15,37-37 0,-2 2 16,18 16-16,-16-16 0,34-1 0,-19 18 16,19-18-16,-17 1 0,34-1 15,-17 1-15,0 17 0,19-1 0,-2-16 16,18-1-16,-17 18 0,17-36 0,1 19 16,16-1-16,-16 0 0,16-17 15,1 0-15,1-1 0,68 0 16,-68 2-16,16-19 0,-16 0 15,-2 0-15,1 0 0,0-19 16,18 19-16,-19-17 0,1 17 0,35-35 16,-52 35-16,-1-18 0,0 0 15,1 1-15,-19 0 0,19-1 16,-19 0-16,18 0 0,-16 1 0,-2 0 16,0-19-16,18 18 0,-16-18 0,-19 2 15,17 16-15,-17-18 0,17 2 16,-17-2-16,0 1 0,0 18 0,0-19 15,0 1-15,-17 18 0,17-19 0,-36 1 16,19-1-16,-18 1 0,18 18 16,-2-2-16,-16 2 0,18-18 15,-2 35-15,-15-18 0,-2 0 0,18 18 16,1-17-16,-18 17 0,17-17 16,0 17-16,-16 0 0,15 0 0,2 0 0,-1 0 15</inkml:trace>
  <inkml:trace contextRef="#ctx0" brushRef="#br0" timeOffset="207170.79">18357 14477 0,'0'35'16,"0"-17"-16,0 17 16,0 1-1,0-19-15,19 1 16,-19 35 0,17-53-16,-17 17 0,0 1 15,0-1-15,0-52 63,0-18-48,-17 36-15,17-1 0,0 1 16,0-2-16,0 2 0,0 0 0,0-1 16,0-18-16,0 19 0,0 0 15,0-1 1,-19 0-16,38 18 15,-2 18 1,0 0 0,37 34-1,-37-52-15,0 18 0,2 0 0,-2-18 16,1 17-16,-1-17 16,0 0-16,2 17 0,16-17 15,-35-17-15,17 17 0,2-17 16,-19-1-1,17 0-15,-17 0 0,0 1 16,0-18-16,0-18 16,0 36-16,0-2 15,0 2-15,0-1 0,0 1 16,-17 17 0</inkml:trace>
  <inkml:trace contextRef="#ctx0" brushRef="#br0" timeOffset="207523.72">18834 14265 0,'-36'17'15,"19"-17"1,17 36-16,0-18 0,0-1 15,0 2-15,0-2 0,0 0 16,0 1-16,0 0 0,17 0 16,1-1-16,0 0 15,0-17-15,-1 0 16,0 0-16,2 0 0,-2-17 16,1 17-16,-18-17 0,17-1 15,-17 0-15,0 0 16,-17 1-16,17 0 0,0-2 15,0 2-15,-18-1 0,18 1 0,-17 17 0,17-19 16,-19 2-16,-15 0 16,16 34-1,0-17-15,18 17 16,-18-17-16,18 19 0</inkml:trace>
  <inkml:trace contextRef="#ctx0" brushRef="#br0" timeOffset="209038.59">18781 15270 0,'0'-17'62,"17"17"126,1 0-173,0 0-15,17 0 0,-18 0 16,19-17 0,-18 17-16,-1 0 0,0 0 15,2 0 1,16 17 0,-35 0-16,0 2 0,0-2 15,0 1-15,0-1 0,0 0 16,0 2-16,0-2 0,0 1 15,0-1-15,0 19 0,0-19 0,17 1 0,-17 0 16,0 0-16,0-1 16,0 0-16,0 1 0,0 0 0,19 17 15,-19-18-15,0 2 16,0-2 0</inkml:trace>
  <inkml:trace contextRef="#ctx0" brushRef="#br0" timeOffset="209574.81">18781 15624 0,'17'-18'15,"19"0"1,-18 18-1,-1-18-15,0 18 0,2 0 0,-2-17 16,1 0-16,16 17 0,-15-18 0,16 0 16,-18 18-16,19-18 0,-19 1 15,1 0-15,0 17 0,0-19 16,-1 19-16,0-17 0,1 17 0,-18-18 0,18 18 16,-18-17-1,0-2 1,-18 55 15,18-1-15,0-16-16,0-2 0,18 0 15,-18 1 1,18-18-16,-18 18 0,17-18 0,0 18 16,2-18-1,16-18 1,-18 0-16,0 18 15,-17-18-15,0 1 16,0 0 0,0-2-16,-17 2 0,17-1 15,-17 18-15,17-17 16,-18 17-16,1-19 0,-2 19 16,2 0-16,0 19 15,-1-19 1,0 0-1</inkml:trace>
  <inkml:trace contextRef="#ctx0" brushRef="#br0" timeOffset="209842.49">19840 15112 0,'17'0'0,"-34"36"16,17-19-1,-19 0-15,19 1 0,-17 0 0,17 17 16,-18-18-16,1 2 0,17-2 16,-17 18-16,17-18 0,-19 2 0,19-2 15,-17 1-15,17-1 0,-18 2 0,18-2 16,-17 0-1,17 1-15</inkml:trace>
  <inkml:trace contextRef="#ctx0" brushRef="#br0" timeOffset="210024.91">19574 15324 0,'-17'0'16,"0"-18"15</inkml:trace>
  <inkml:trace contextRef="#ctx0" brushRef="#br0" timeOffset="210192.87">19804 15377 0,'17'0'15,"2"0"32,-2 0-31</inkml:trace>
</inkml:ink>
</file>

<file path=ppt/ink/ink20.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14:46.206"/>
    </inkml:context>
    <inkml:brush xml:id="br0">
      <inkml:brushProperty name="width" value="0.05292" units="cm"/>
      <inkml:brushProperty name="height" value="0.05292" units="cm"/>
      <inkml:brushProperty name="color" value="#0070C0"/>
    </inkml:brush>
  </inkml:definitions>
  <inkml:trace contextRef="#ctx0" brushRef="#br0">3144 3665 0,'-18'0'0,"54"-19"15,123 2 1,-54 0 0,-17 17-16,0-18 0,19 1 0,-2-2 15,19 2-15,-1 0 0,160-19 16,-159 18-16,34 1 0,248-36 15,-301 53-15,19-18 16,-19 1-16,-17 0 0,71-2 16,-88 2-16,17-1 15,-52 18-15,-19 0 0,0 0 0</inkml:trace>
  <inkml:trace contextRef="#ctx0" brushRef="#br0" timeOffset="331.75">3550 3824 0,'71'0'0,"34"-18"16,-17 18-16,18-18 15,18 0-15,-19 1 0,54-19 0,1 19 16,-2-1-16,1-18 0,0 19 0,-1-18 16,1 18-16,229-36 15,-265 35-15,-17 0 0,0 0 16,-18 1-16,-18 17 0,-16-17 0,-1 17 16,-18 0-16,35-19 15,-52 19 1,0 0-16,-18 19 15</inkml:trace>
  <inkml:trace contextRef="#ctx0" brushRef="#br0" timeOffset="3140.22">2774 8462 0,'0'-17'0,"0"52"31,0 18-31,0-36 16,0 19-16,-18 35 16,18-36-16,0-18 0,0 19 15,0-19-15,0 1 0,0-1 0,0 2 16,0-2-16</inkml:trace>
  <inkml:trace contextRef="#ctx0" brushRef="#br0" timeOffset="3359.79">3073 8762 0,'19'18'15,"-19"-1"-15,0 2 0,0-2 0,-19 0 16,19 1-16,0 0 0,-17 0 15,17 16-15,-18-16 0,18 0 0,-17 17 16,0-18-16,-2 2 0,19-2 16,-17 1-16,-1-1 0</inkml:trace>
  <inkml:trace contextRef="#ctx0" brushRef="#br0" timeOffset="3619.63">3373 8604 0,'19'34'15,"-19"20"1,0-20-16,0-15 15,0 16-15,-19-18 0,19 19 16,0 17-16,0-18 0,-17 0 16,17-17-16,0 34 15</inkml:trace>
  <inkml:trace contextRef="#ctx0" brushRef="#br0" timeOffset="3868.31">3709 8833 0,'-19'35'31,"19"-17"-15,-17 17-16,0 18 15,-1 18 1,1-19-16,-2-16 0,19-19 16,-17 18-1,17-16-15</inkml:trace>
  <inkml:trace contextRef="#ctx0" brushRef="#br0" timeOffset="4888.7">4185 8621 0,'0'36'16,"0"-1"0,0-18-16,0 0 0,-17 19 0,17-18 15,0 18-15,0-19 0,-19 0 16,19 19-16,0-18 0</inkml:trace>
  <inkml:trace contextRef="#ctx0" brushRef="#br0" timeOffset="5120">4449 8904 0,'0'34'31,"0"2"-15,0-18-16,-17-18 0,17 17 16,0 0-16,-18 2 0,18-2 15,0 1-15,-17-18 0</inkml:trace>
  <inkml:trace contextRef="#ctx0" brushRef="#br0" timeOffset="5555.81">4732 8692 0,'0'53'16,"-18"18"15,18-37-31,0-16 16,-17 0-16,17 17 0,0 18 15,0-18 1</inkml:trace>
  <inkml:trace contextRef="#ctx0" brushRef="#br0" timeOffset="6004.02">4944 8921 0,'0'35'16,"0"-17"0,0 0-16,-19-1 0,19 36 15,0-35 1</inkml:trace>
  <inkml:trace contextRef="#ctx0" brushRef="#br0" timeOffset="6561.96">5278 8709 0,'0'36'15,"0"-19"-15,0 1 16,0 35 0,0-36-16,0 1 0,0 0 0,0 17 15,0-18-15,0 1 16,0 0-16,0 0 0</inkml:trace>
  <inkml:trace contextRef="#ctx0" brushRef="#br0" timeOffset="7072.61">3426 9097 0,'35'36'15,"1"-36"-15,17 17 0,35 1 16,-17-1-16,140 19 0,-105-36 15,17 17-15,1-17 0,-19 0 0,19 0 16,-18-17-16,123 0 0,-141-2 16,19 2-16,-19-18 15,-18 16-15,1-15 0,0-1 0,-37-1 16,2 1-16,-1-1 0,-18-16 0,2-1 16,-2 0-16,-17-18 0,0-17 15,-36 17-15,2-17 0,-37 0 0,-17 0 16,0 0-16,-36 35 0,0 0 0,-16-1 15,-19 37-15,-18 0 0,1 17 16,0 0-16,-19 34 0,19-15 0,-18 33 16,0 1-16,18 18 0,18-18 15,16 18-15,1 0 0,34-2 16,38-16-16,16 18 0,-1 70 0,37-87 16,34 16-16,1-18 0,35 19 15,18 0-15,34-18 0,2 18 16,34-19-16,18-16 0,-1-2 0,177 20 15,-159-54-15</inkml:trace>
  <inkml:trace contextRef="#ctx0" brushRef="#br0" timeOffset="7868.69">9053 8992 0,'-17'-18'0,"-19"18"16,18 0-16,-16 18 0,-2-18 0,1 17 15,-1-17-15,1 17 0,-18 2 16,36-19-16,-1 17 15,18 1-15,-17-18 0,17 17 0,0 0 16,17 2-16,-17-2 0,18 1 16,-1-1-16,0 2 0,2-2 15,16 18-15,-18-17 0,2 0 0,-19-1 16,34 0-16,-34 1 0,0 0 16,0 0-16,-17 16 15,0-15-15,-2-2 16,2-17-16,-18 18 0,16-18 15,2 17-15,0-17 0,-1 0 0,1 0 16,-2 19-16,2-19 0,0 0 16</inkml:trace>
  <inkml:trace contextRef="#ctx0" brushRef="#br0" timeOffset="8219.58">9670 9062 0,'0'-17'0,"0"52"16,-17-18-16,17 0 15,0 2-15,-17-2 0,17 1 16,0 18-16,-19-2 0,2-16 0,17 18 15,-18-2-15,1-16 0,17 0 16,0 0-16,0-1 0,0 0 0</inkml:trace>
  <inkml:trace contextRef="#ctx0" brushRef="#br0" timeOffset="8563.2">9917 9168 0,'-123'17'16,"106"2"-16,-19-2 15,1-17-15,17 17 0,0 1 0,-16 0 16,15 0-16,2-1 16,-1 0-16,18 1 15,0 0-15,18-18 16,18 18-1,-2-18-15,-16 0 0,0-18 0,17 18 0,-18 0 16,2 0-16,-2 0 0,1 0 16,-1 0-16,0 0 0,2 0 0,-2 0 15,1 0-15,-1 18 0,2-18 16,-2 17-16,-17 0 16,17 2-1,-17-2-15,18-17 16,-18 18-16</inkml:trace>
  <inkml:trace contextRef="#ctx0" brushRef="#br0" timeOffset="9115.7">10394 8992 0,'-18'17'16,"18"0"-16,-18 2 15,1 50-15,0-33 16,17-18-16,-19 18 0,2 34 15,17-52-15,0 16 16,0-16-16,0 0 16,-18 0-16,18-1 15,-17-17 1,-2 0 0,2 0-16,0 17 15,-1-17-15,1 19 16,-2-2-16,2 1 15,17-1-15,17 2 16,2-19 0,-2 0-16,1-19 0,52 2 15,-52-1-15,18 1 0,-19 17 16,0-19-16,1 2 16,0 0-16,0 17 0,-1-18 0,0 18 15,-17 18 16,0 16-15,-17-15-16,17-2 0,0 1 16,-17-1-1</inkml:trace>
  <inkml:trace contextRef="#ctx0" brushRef="#br0" timeOffset="9671.03">8594 10209 0,'-17'0'0,"0"17"16,51-34-16,-87 69 0,36-16 15,-1-19-15,1 19 0,17-1 16,-17 0-16,17 1 0,0 34 16,0-52-16,17 18 0,-17-2 0,17-16 15,1 18-15,-1-19 0,-17 0 16,19 1-16,-2 0 0,0 0 15,1-18 1,-53-18 0,-18-18-1,35 36-15,1 0 0,0-17 16,-2 17 0,2 0-16,-1 0 15</inkml:trace>
  <inkml:trace contextRef="#ctx0" brushRef="#br0" timeOffset="10262.5">9636 10280 0,'0'34'15,"0"20"1,0-20-16,0 20 16,0-37-1,0 19-15,0-19 0,0 1 0,0-1 16,17 2-16,-17-2 0</inkml:trace>
  <inkml:trace contextRef="#ctx0" brushRef="#br0" timeOffset="10831.06">9829 10314 0,'36'-17'0,"-19"34"31,1-17-31,-18 18 0,17 0 16,-17 0 0,19-1-16,-19 0 0,17 1 0,0 0 15,-17 0-15,0-1 0,18 0 16,-18 2-16,0-2 0,0 1 16,0 18-1,0-19-15,-18 0 0,18 1 16,-17-18-16,0 17 0,-2 2 15,-16-2-15,18-17 16</inkml:trace>
  <inkml:trace contextRef="#ctx0" brushRef="#br0" timeOffset="11327.41">8665 11056 0,'71'-71'16,"-37"35"-16,-15 19 0,-2-18 16,18-1-16,1-69 15,-19 51-15,-17 1 0,0 1 16,0-1-16,-17-1 0,0 2 0,-2-1 16,2 0-16,-18 1 0,16 16 15,-15 1-15,-20-1 0,20 19 0,-2-1 16,-16 1-16,16 17 0,-35 17 0,19 1 15,-19 16-15,-17 2 0,35-1 16,-35 18-16,-36 71 16,71-53-16,1 0 0,-2-2 0,20 2 15,15-1-15,2 1 0,-1-18 0,18 18 16,18-19-16,-1-16 16,19 17-16,-1-18 0,-17 1 0,17-1 0,0-18 15,1 0-15,-2 2 0,2-2 0,-18-17 16,18 0-16,-2 0 0,-16 0 15,-1 0-15,19 0 0,-19 0 16</inkml:trace>
  <inkml:trace contextRef="#ctx0" brushRef="#br0" timeOffset="11793.83">7413 11037 0,'-36'19'0</inkml:trace>
  <inkml:trace contextRef="#ctx0" brushRef="#br0" timeOffset="12407.67">10534 11073 0,'107'-105'0,"-90"86"0,1 2 15,18-89 1,-19 53-16,-17 0 0,-17 1 0,17-19 16,-36 18-16,18-18 0,-35 0 15,1 19-15,-1-18 0,-18 34 0,0 1 16,1-1-16,-36 1 0,18 18 0,-18 17 16,-17 0-16,16 0 0,-15 17 15,15 1-15,-34 16 0,1 20 0,16-18 16,36 16-16,17-16 0,0 16 15,-17 54-15,52-52 0,19-2 16,17-16-16,17 16 0,19-16 16,18 16-16,-2 1 0,18-17 0,18 16 15,19-16-15,16-1 0,18 18 0,-34-36 16,15 19-16,-15-18 0,-2-1 16,18 0-16,-16 2 0,-2-19 0,2 17 15</inkml:trace>
  <inkml:trace contextRef="#ctx0" brushRef="#br0" timeOffset="13335.98">10534 11020 0,'300'0'15,"-193"0"-15,-2 17 0,19-17 0,-1 0 16,142 0-16,-142 0 0,18 0 16,1 0-16,16 0 0,18 0 15,2 0-15,403-17 16,-405 17-16,19 0 0,-2-18 15,-16 18-15,-1 0 0,0-17 0,-34 17 16,-1 0-16,0 0 0,-18-17 16,1 17-16,0 0 0,140-19 15,-211 19-15,-1 0 0,-16 0 16,-1 0-16,-16 0 0,15-17 16,-16 17-16,0 0 15,-18-18-15,-18 1 16,0-2-1,1 2-15,0 0 16,-2 17-16,2-18 0</inkml:trace>
  <inkml:trace contextRef="#ctx0" brushRef="#br0" timeOffset="13663.09">14468 10332 0,'89'18'0,"-37"0"16,177 34-16,-141-16 15,2-2-15,-21 2 0,20-1 16,-1 1-16,-17-1 0,52 35 15,-87-34-15,16-1 0,-34 0 0,17 1 16,-18 17-16,-17-18 16,19 1-16,-38-2 0,2 20 0,-18-2 0,-1 1 15,-34 18-15,-1-18 0,-34 18 0,-19-2 16,-16 2-16,-2-1 0,-35 1 16,1 0-16,0-1 0,-36 1 0,-52 34 15,-1-15-15</inkml:trace>
  <inkml:trace contextRef="#ctx0" brushRef="#br0" timeOffset="26220.49">6460 13348 0,'-18'18'31,"18"0"-31,-17 52 16,17-52-16,-17-1 16,17 19-16,-18-1 0,0 53 15,18-52-15,-18-2 0,18-15 16,-17 50-1,0-50-15,17-2 0,0 18 16,-19-16 0</inkml:trace>
  <inkml:trace contextRef="#ctx0" brushRef="#br0" timeOffset="26902.92">6460 13366 0,'18'-18'0,"-36"36"0,54-36 0,-19 18 16,19-18-16,-1 36 15,-18-18 1,0 36 0,-17-19-16,0 0 0,0 2 15,-34 33 1,34-33-16,-18-2 0,1 0 15,-2 1 1,19-1-16,19 2 31,16-2-15,-18 0-16,0 1 0,2 0 16,-2 17-16,-17-18 15,0 19 1,-17-1-16,-2-18 0,-15 2 15,16-2-15,-35 18 16,18-35-16,-1 19 0,2-2 0,-54 0 16,69-17-16,2 0 15,-1 0-15,-18 0 16,19 0 0</inkml:trace>
  <inkml:trace contextRef="#ctx0" brushRef="#br0" timeOffset="27114.36">6796 13648 0,'17'18'16,"-17"17"-1,0-18-15,0 19 16,0-18-16,0-1 0,-17 0 16,17 2-16,0-2 0,0 1 15</inkml:trace>
  <inkml:trace contextRef="#ctx0" brushRef="#br0" timeOffset="27265.76">6725 13508 0,'0'0'0</inkml:trace>
  <inkml:trace contextRef="#ctx0" brushRef="#br0" timeOffset="27953.77">7184 13613 0,'-18'17'16,"18"1"0,0 0-16,0 0 0,-18-1 15,18 19 1,0-19-16,0 1 16,0-1-1,18-34 16,0 17-15,-1-18-16,0 1 0,19-2 16,-18 19-1,-1 0 1,0 0-16,2 0 0,-2 19 16,1-19-1,-18 17 1,17-17-16,2 0 47,-2-17-32,0-2-15,1 19 16,18 0 0,-19 0-1,0 19-15,1-19 16,0 17-16,17-17 15,-35 18-15,17-18 16</inkml:trace>
  <inkml:trace contextRef="#ctx0" brushRef="#br0" timeOffset="28311.4">7854 13684 0,'-18'0'0,"0"0"15,18 34-15,-17 2 32,34-18-32,-17-1 15,18 0 1,0-17-16,0 0 0,-1 0 15,-17-17 1,17 17-16,1-35 16,-36 18-16,18-2 15,-17 2-15,17 0 16,-17-1-16,-1 18 0,18-18 0,-18 18 16,18-18-16,-18 18 0,1 0 15,0 0 1</inkml:trace>
  <inkml:trace contextRef="#ctx0" brushRef="#br0" timeOffset="28803.96">8312 13348 0,'0'0'0,"0"53"47,0-36-47,-18 2 0,18 16 16,0 1-16,0-19 15,0 0-15,0 1 0,-17-1 0,34 36 16,-17-35-1,0 18-15,18-19 16,-18-34 31,-18-1-31,1 0-16,0 18 15,-1-18-15,0 18 0,-53 18 16,54-18-16,-1 0 15,1 18-15,-19 0 16,36-1-16,-17-17 16,17 17-16,0 2 0,0-2 15,17-17-15,-17 18 16,53-1 0,-18-17-16,-16 0 0,33 0 15,-34 0-15,0 0 0,34 0 16</inkml:trace>
  <inkml:trace contextRef="#ctx0" brushRef="#br0" timeOffset="29487.59">8736 13577 0,'-35'-35'0,"16"35"0,2 0 16,0 0-16,-1 18 16,0-18-16,18 17 15,-18-17-15,1 19 16,17-2 0,17 0-1,1-17 1,0 0-16,0 0 15,-1 0-15,0 0 32,2 0-32,-2 0 15,-17 18 1,18-18 0,-1 18-1,0-18-15,2-18 0,-2 18 16,1 0-16,-1-18 0,54-35 15,-54 36-15,2-1 0,15 1 16,-34-19-16,54-35 16,-54 54-16,17 0 15,-17-1-15,17 0 0,-17 0 0,19 18 16,-38 36 15,2-18-31,17 16 16,0-15-16,0-2 0,0 1 0,17 35 15,-17-36-15,19 1 16,-19-1-16,17-17 0,1 19 16,-1-2-16,0-17 0,19 0 15</inkml:trace>
  <inkml:trace contextRef="#ctx0" brushRef="#br0" timeOffset="30116.04">9917 13613 0,'36'-17'16,"-19"17"-16,18-19 15,-16 19-15,-2 0 16,0 0-16,1 0 0,18 0 16,-19 0-16,0 0 15</inkml:trace>
  <inkml:trace contextRef="#ctx0" brushRef="#br0" timeOffset="30290.78">9953 13737 0,'0'0'0,"35"17"31,1-17-15,-19 0 0,0 0-16,1 0 0,0 0 0,17 0 15,-18 0-15</inkml:trace>
  <inkml:trace contextRef="#ctx0" brushRef="#br0" timeOffset="31033.9">11505 13313 0,'0'-17'0,"0"69"32,-17-16-17,17-19-15,0 0 0,0 2 16,-18 33 0,18-33-16,0-2 0,-18 0 0,18 1 15</inkml:trace>
  <inkml:trace contextRef="#ctx0" brushRef="#br0" timeOffset="31268.22">11734 13560 0,'18'0'16,"-1"17"0,-34 2-16,17-2 15,-18 0-15,18 1 0,-17-18 16,17 18-16,-19-18 0,19 18 0,-17-1 16</inkml:trace>
  <inkml:trace contextRef="#ctx0" brushRef="#br0" timeOffset="31603.5">12069 13313 0,'-17'53'31,"-1"-1"-15,18-33-16,0-2 0,-17-17 0,17 18 16,0-1-16</inkml:trace>
  <inkml:trace contextRef="#ctx0" brushRef="#br0" timeOffset="31979.77">12264 13489 0,'0'36'16,"-18"-1"-1,18-18-15,0 2 0,-36 15 16,36-16 0</inkml:trace>
  <inkml:trace contextRef="#ctx0" brushRef="#br0" timeOffset="32519.92">12864 13313 0,'17'0'16,"0"0"-16,1 0 16,-18 17-16,0 1 15,0 0-15,0 0 16,-35 35 0,18-36-16,17 1 15,-19-18-15,19 17 0,-17-17 0,17 19 16,-18-2-1,36 0 17,-1-17-17,2 0-15,-2 0 0,0 0 0,37 0 32</inkml:trace>
  <inkml:trace contextRef="#ctx0" brushRef="#br0" timeOffset="32674.72">13164 13489 0,'17'19'16,"-17"-2"-1,0 0 1,-17 1-16,17 18 16,-19-36-16,2 34 15,17-16 1</inkml:trace>
  <inkml:trace contextRef="#ctx0" brushRef="#br0" timeOffset="33076.21">13410 13348 0,'35'0'0,"-35"18"0,0 0 15,0-1-15,-17 0 16,17 2-16,-18-19 0,18 17 0,-18-17 16,18 35-1,-18-35-15,18 19 16,0-2-16,18 0 16,18-17-1,-2 0 1,-15 0-16,-2 0 15,1 0-15,-1 0 16</inkml:trace>
  <inkml:trace contextRef="#ctx0" brushRef="#br0" timeOffset="33230.72">13710 13489 0,'18'0'32,"-1"19"-32,-17-2 31,0 0-31,-17 18 15,17-16-15,-18-2 16,18 0-16,0 1 0,-18 0 16,18 0-16</inkml:trace>
  <inkml:trace contextRef="#ctx0" brushRef="#br0" timeOffset="34050.62">14257 13330 0,'35'-17'0,"-18"17"16,-17 17 15,19-17-31,-19 18 0,-19 0 16,19 0 0,-17-1-16,-1 0 15,18 2 1,0-2-1,0 1-15,18-1 16,-18 2 0,17-2-1,-34 0-15,17 1 0,-18-1 16,18 2 0,-17-19-16,-2 17 0,2-17 15</inkml:trace>
  <inkml:trace contextRef="#ctx0" brushRef="#br0" timeOffset="34243.83">14574 13508 0,'18'0'15,"-18"17"-15,0 0 0,0 1 16,-18-1-1,18 2-15,-17-2 16,-2 0-16,2 19 16,17-18-1</inkml:trace>
  <inkml:trace contextRef="#ctx0" brushRef="#br0" timeOffset="34562.8">15033 13384 0,'-17'17'32,"-2"-17"-32,2 17 15,-1 2-15,-18-2 16,19 1-16,0-1 0,17 2 15,-18-19-15,18 17 0,-17 0 16,34 1 0,-17-1-1,18-17-15,-1 0 0,36 19 16,-35-19 0,18 0-16,-19 0 0,18 0 0,-18 0 15,19-19 1,-19 19-16,19-17 0</inkml:trace>
  <inkml:trace contextRef="#ctx0" brushRef="#br0" timeOffset="34763.82">15174 13366 0,'0'-18'15,"-18"36"1,18 0-16,0 35 15,0-36-15,-18 1 16,18-1-16,0 19 0,0-19 0,0 1 16,-17-1-16,17 19 0,0-19 15,0 19-15,0-18 16,17-18-16,-17 17 0</inkml:trace>
  <inkml:trace contextRef="#ctx0" brushRef="#br0" timeOffset="34990.15">15544 13596 0,'0'-19'0,"18"38"15,-18-2-15,-18 0 16,18 19-1,0-18-15,-18-1 16,18 0-16,0 2 16</inkml:trace>
  <inkml:trace contextRef="#ctx0" brushRef="#br0" timeOffset="35377.19">15773 13384 0,'0'-18'15,"-17"18"-15,34 18 0,-52-36 16,18 36 0,17-1-1,0 0 1,17-17-16,1 36 16,-18-18-16,17-1 15,-17 2 1,0-2-16,0 0 15,-17 1 1,-1-18-16,1 17 0,-2-17 0,-33 36 16,35-36-16,-2 17 15,2-17-15,0 18 16</inkml:trace>
  <inkml:trace contextRef="#ctx0" brushRef="#br0" timeOffset="38582.87">11346 13806 0,'54'0'15,"-37"0"-15,36 0 16,-35 0-16,-1 0 0,18 0 15,1 0-15,-19 0 0,19 0 16,-1 0-16,-1 0 0,2 0 0,-1 0 16,-16 0-16,33 0 0,-16 0 15,-2 0-15,2 0 0,-1 0 0,-18 0 16,19-17-16,-1 17 0,1 0 0,-1 0 16,-18 0-16,72 0 15,-71 0-15,-1 0 16,0 0-16,19-17 15,-18 17 1,-1 0-16,19 0 16,-19-18-1,1 18 1,-1-17 0,-17-2-1,0 2-15,0-18 16,19 17-16,-19 0 0,0 1 15,0 0-15,0-2 0,0 2 0,0-71 16,0 17 0,0 36-16,-19-35 15,19 34 1,0 18-16,0 1 0,-17 0 0,17-2 16,0 2-16,0-1 0,0 1 0,-18-2 15,18 2-15,0 0 16,0-1-16,-17 1 15,17-2 1,0 2-16,-19 0 16,2 17-1,17-18 1,-17 18-16,-1 0 0,0 0 16,-17 0-1,18 0-15,-1 0 0,0 0 0,0 0 16,-16 18-16,15-18 0,2 0 15,-1 0-15,1 0 0,-19 0 0,19 0 16,-1 0-16,-18 17 0,19-17 16,-18 0-16,-1 0 0,2 0 15,16 0-15,-18 0 0,19 17 16,-19-17-16,19 0 0,-1 0 0,-18 0 16,2 0-16,16 0 0,-18 19 15,2-19-15,16 0 0,-18 0 0,19 17 16,-18-17-16,17 0 0,0 0 0,1 18 15,0-18-15,-2 0 0,2 0 16,-1 0-16,1 17 0,-2-17 16,2 0-1,0 0-15,-1 17 16,1-17 0,-2 0 15,2 19-16,17-2-15,0 37 16,0-37-16,-17 54 16,17-37-16,0 2 15,0-1-15,0 1 0,0-1 0,-18 1 16,18-19-16,0 18 0,0-18 16,0 19-16,0-1 15,0-17-15,0 0 0,0-1 0,0 0 16,0 2-16,0-2 15,35 18-15,-18-35 16</inkml:trace>
  <inkml:trace contextRef="#ctx0" brushRef="#br0" timeOffset="39961.01">12740 13049 0,'-35'52'16,"35"-35"-1,0 19-15,0-1 0,0-16 0,0 51 16,-19-35-16,19 0 16,0 18-16,0-36 0,0 19 0,0 35 15,0-54-15,0 18 0,0-16 16,0-2-16,0 0 15,0 1-15,0 0 0,0 0 0,0-1 0,0 0 16,0 2 0,0-2-16,0 1 15,19-18-15,-2 0 32,1 0-32,-1 0 15,19 0 1,-19 0-16,1 0 15,-1 0-15,2 0 0,-2 0 0,0 0 16,19 0-16,-18 0 0,-1 0 0,18 0 16,-17-18-16,17 18 15,1 0-15,-1 0 0,1 0 0,-2 0 16,1-17-16,1 17 0,-1 0 16,1-19-16,-19 19 0,18 0 0,1 0 15,-19-17-15,0 17 0,19 0 0,-18 0 16,-1-17-16,2 17 0,-2 0 0,0 0 15,1-18-15,-1 18 0,2 0 16,-2 0-16,18-18 16,-17 18-1,0-18 1,-1 1 0,0 0-1,-17-2 1,19 2-16,-19-1 0,0 1 15,0 0-15,17-19 0,-17 18 16,18-70-16,-18 52 16,17 2-16,-17-2 0,17 1 0,2-36 15,-19 35-15,0 2 16,17-1-16,-17-1 0,0 19 0,0-19 16,0 18-16,0 1 0,0 0 15,0-1-15,-17 0 0,17 0 16,0 1-16,0 0 15,-19-2 1,2 2 0,0 17-1,-18 0 1,35 17-16,-19-17 0,2 0 16,0 0-16,-1 0 0,0 0 0,-17 19 15,18-19-15,-19 0 0,18 17 16,-16-17-16,-2 0 0,-35 17 15,18 1-15,1-18 0,-2 18 0,1-18 16,18 18-16,1-18 0,-20 0 16,18 17-16,2-17 0,-20 17 15,20 1-15,-2-18 0,18 18 16,-16-18-16,15 18 0,2-18 16,-1 17-16,1-17 0,-2 0 0,2 17 15,0-17-15,-1 0 0,18 19 0,-17-19 16,-2 0-1,2 17 1,0 1-16</inkml:trace>
  <inkml:trace contextRef="#ctx0" brushRef="#br0" timeOffset="41239.9">6708 13030 0,'34'-88'16,"-16"71"-16,0 0 0,0-19 15,16 1-15,2-1 0,106-52 16,-90 53-16,1-1 0,18 19 16,-1-18-16,1-1 0,176-34 15,-159 52 1,0-16-16,0 15 0,18 2 0,0-1 0,-18 18 16,36-17-16,228-19 15,-228 19-15,0 17 16,-19 0-16,19 0 0,-1 0 0,-17 0 15,0 17-15,106 0 16,-107 2-16,-17-2 0,88 37 16,-105-20-16,-1-16 0,1 18 0,0-19 15,-18 18-15,52 1 16,-51-2-16,-20-15 0,2-2 0,-1 1 16,-18-18-16,2 17 0,16 0 0,-18 2 15,19-19 1,-19 17-16,1-34 31,-18-2 0</inkml:trace>
  <inkml:trace contextRef="#ctx0" brushRef="#br0" timeOffset="41596.86">10482 12378 0,'35'35'47,"-18"-35"-47,2 19 0,-2-2 0,1-17 16,-1 17-16,0 1 0,2-1 0,-2 2 15,18-2-15,-16 18 0,15 18 16,-16-36 0,0 2-16,-18-2 0,0 1 0,0-1 0,0 0 15,-18 37 1,-17-18-16,-1-2 0,1 2 0,-18 16 15,1 2-15,-19-1 0,18-1 0,0-16 16,-89 69 0,73-51-16</inkml:trace>
  <inkml:trace contextRef="#ctx0" brushRef="#br0" timeOffset="42655.51">5984 14901 0,'0'35'16,"-18"18"-1,18-36 1,0 18-16,-17 1 0,17-19 0,0 19 16,0-1-16,-17 1 0,17 33 15,-19-33-15,19-18 0,0-1 16,-17 54 0,17-53-16,0 0 0</inkml:trace>
  <inkml:trace contextRef="#ctx0" brushRef="#br0" timeOffset="42922.27">5984 14918 0,'17'0'0,"19"18"16,-19-18-1,-17 17-15,18-17 0,0 19 0,-18-2 0,18-17 16,-18 17-16,17 1 0,-17-1 16,17 2-16,2 15 15</inkml:trace>
  <inkml:trace contextRef="#ctx0" brushRef="#br0" timeOffset="43106.63">6337 14918 0,'-17'18'0,"-19"18"16,18-36-16,1 17 15,-19 35-15,19-33 16,17-2-16,-18 0 0,1 19 0,17-18 16,-19-1-16,19 0 0,-17-17 0</inkml:trace>
  <inkml:trace contextRef="#ctx0" brushRef="#br0" timeOffset="43351.01">6372 14901 0,'18'35'31,"-18"53"-15,0-52-1,0-2-15,0 2 0,0-1 0,-18 18 16,18-18-16,-18 1 0,18-1 0,0 1 15,-17-19-15,17 18 0,0 1 0,0-19 16,0 36 0,0-35-16</inkml:trace>
  <inkml:trace contextRef="#ctx0" brushRef="#br0" timeOffset="44578.93">6584 15289 0,'-18'0'0,"1"17"31,17 18-15,0-16-16,0-2 16,0 0-1,17-17-15,1 18 16,-1-36-1,0 18-15,-17-17 16,19 17-16,-19-17 0,17-2 16,1 19-1,-18-17 1,17 17-16,-17 17 16,19-17-1,-19 19-15,0-2 16,17-17-1,0 17-15,19-34 16,-18 0 0,-18-2-1,17 19-15,-17-17 0,17-1 0,-17 1 16,0-2-16,18-15 0,-18 16 16,0-18-16,18-34 15,-18 35-15,0 18 0,18-37 16,-18 37-1,0 0-15,-18 51 32,18 37-17,0-54-15,0 19 16,0-1-16,0-18 0,0 19 16,0-18-16,0 16 0,0-15 0,18-2 15,-18 1-15,0-1 0,17 2 16,0-2-16,2 0 0,16 1 15,-18-18-15,2 0 16,-2 0-16,18-18 16,-18 1-1,19-19 1,-36 19-16,0-1 0,17 1 0,-17-2 16,18-50-1,-18 50-15,0 2 0,18-18 0,-18 17 16,0 0-16,0 1 0,0 0 15,0-2-15,0 2 0,0-1 16,0 1-16,0 88 47,0-54-31,0 18-16,0-17 0,0 0 15,0-1-15,0 0 0,0 2 16,0-2-16,0 1 0,0-1 0,0 0 15,0 2 1,18-2-16,-18 1 16,17-18-16,0 0 0,1 0 15,18 0 1,-19-18-16,0 18 16,-17-17-16,19 17 15,-19-19-15,17 2 0,1 0 16,-1-18-1,2 16-15,-19 2 0,17-18 32,0 70-1,-17 1-15,0-19-1,0 1 1,0-1-16,18 0 31</inkml:trace>
  <inkml:trace contextRef="#ctx0" brushRef="#br0" timeOffset="44716.3">7501 14972 0</inkml:trace>
  <inkml:trace contextRef="#ctx0" brushRef="#br0" timeOffset="44906.41">7077 15112 0,'53'-18'31,"-17"18"-31,-18 0 0,70-17 16,-54 17-1</inkml:trace>
  <inkml:trace contextRef="#ctx0" brushRef="#br0" timeOffset="45614.84">7818 15060 0,'-17'17'0,"17"0"0,-17 1 16,17 0 0,0 0-16,0-1 0,0 0 15,-19 2-15,19-2 0,0 1 16,0 16 0,19-51 30,-2-18-30,0 18 0,1-2-1,0 19-15,17 19 32,-35-2-32,17 1 15,-17-1 1,18-17-1,-18 17-15,18-34 47,0 0-31,-18-1-16,17 18 0,0-17 16,2-2-1,-2 19-15,1 0 16,-1 19-1,2-19-15,-2 17 16,0-17-16,1 0 16,18 0-1</inkml:trace>
  <inkml:trace contextRef="#ctx0" brushRef="#br0" timeOffset="45914.52">8312 15112 0,'-18'0'15,"1"18"32,17 17-47,17-18 16,-17 2-16,18-2 16,0 1-1,0-18 1,-1 0-16,0-18 15,-17 1 1,-34-2 0,34 2-1,-18 17-15,-18-17 16,19 17-16,0 0 16,-1 0-1</inkml:trace>
  <inkml:trace contextRef="#ctx0" brushRef="#br0" timeOffset="46750.64">8753 14830 0,'0'52'0,"0"19"16,0-52 0,0 15-16,0-16 0,17 18 15,-17-19-15,0 18 0,0 35 16,0-51-16,0-2 16,0 18-16,0-18 15,-17-17 1,0 0-1,-37 0 1,37 0-16,0 0 0,-1 0 0,-18 0 16,19 0-1,0 19-15,-2-19 0,2 17 0,-1 1 16,1-1 0,17 2-16,35 15 15,-18-34 1,54 18-16,-35-18 15,-19 0-15,19-18 0,-1 18 16,-1 0-16,73-34 16,-90 34-16,18-19 0,1 2 15,-19-1-15,1 18 16,0-17 0,-18-2-16,-18 19 31,0 0-16,1 0-15,0 19 16,-2-2 0,38 1 15,15-18-15,-16 0-1,0 17 1,0-17-1,-1 0-15,0 19 16,19-19 0,-18 0-1,-1 0-15,0 0 0,2 0 0</inkml:trace>
  <inkml:trace contextRef="#ctx0" brushRef="#br0" timeOffset="47011.63">9512 15148 0,'17'-18'16,"2"0"-16,-2 18 0,0 0 16,1 0-16,-1 0 15,2-18 1,-2 36-16</inkml:trace>
  <inkml:trace contextRef="#ctx0" brushRef="#br0" timeOffset="47185.7">9512 15270 0,'36'0'31,"-2"0"-15,-16-17-16,-1 17 0,2 0 0,-2 0 0,18 0 15,-17-17-15,17 17 0,53 0 16</inkml:trace>
  <inkml:trace contextRef="#ctx0" brushRef="#br0" timeOffset="47616.22">11576 14972 0,'0'17'31,"0"0"-31,0 1 15,0-1-15,0 2 0,-18-2 0,0 36 16,18-35 0,0 16-1</inkml:trace>
  <inkml:trace contextRef="#ctx0" brushRef="#br0" timeOffset="47988.97">11788 15165 0,'0'36'16,"-19"-19"-1,19 1-15,-17-1 0,-1 0 16,1 19 0,-2-1-1</inkml:trace>
  <inkml:trace contextRef="#ctx0" brushRef="#br0" timeOffset="48254.5">12069 14901 0,'19'0'0,"-19"17"31,0 18-15,-19 1 0,19-19-16,0 1 0,-17 18 15,17-19-15,0 0 0,0 1 16</inkml:trace>
  <inkml:trace contextRef="#ctx0" brushRef="#br0" timeOffset="48467.6">12281 15182 0,'-17'36'0,"17"-18"16,0-1-16,0 0 0,-18 2 0,18-2 15,0 1-15,-18-1 0,0 54 16</inkml:trace>
  <inkml:trace contextRef="#ctx0" brushRef="#br0" timeOffset="49255.65">12652 14848 0,'17'0'0,"0"0"0,2 17 15,-2-17-15,-17 36 16,0-1-1,-36 35-15,36-35 16,-52 18 0,52-35-16,-18 0 0,0 17 15,18-18 1,36-17 31,-18 0-32,-1 0-15,0 0 16,2 0-16,-19-17 0,17 17 0,1 0 16,-1-17-16,0 17 0,2-18 0,-2 18 15,1-18 1,-1 18-16,19 0 31,-36 18-31,0 0 16,17-1-16,-17 0 15,0 2-15,0-2 0,-17 18 16,17-18 0,0 2-16,-17-2 15</inkml:trace>
  <inkml:trace contextRef="#ctx0" brushRef="#br0" timeOffset="49743.65">13181 14882 0,'17'-17'16,"1"34"-1,-18 2 1,-18-2-1,-16 18-15,34-16 16,-19-2-16,19 0 0,-17 1 0,-1-1 16,18 2-16,0-2 15,-17 0 1,17 1-16,17-18 16,-17 18-1,35-18-15,-16 0 0,-2 0 16,0 0-16,1 0 0,-1 0 15,2 0-15,-2 0 0,0-18 0,1 18 16,0 0-16,0 0 16,-1 0-1,0 0-15</inkml:trace>
  <inkml:trace contextRef="#ctx0" brushRef="#br0" timeOffset="49934.61">13604 15060 0,'17'17'0,"-17"0"0,-17 19 16,17-18 0,-18-1-16,1 0 15,17 2-15,-17-2 0,17 1 0,-19-1 16,2 0-16,17 2 0</inkml:trace>
  <inkml:trace contextRef="#ctx0" brushRef="#br0" timeOffset="50467.81">14133 14848 0,'17'-18'0,"2"18"16,-2 18 15,-17-1-31,-17 0 16,-2 2-16,19-2 15,-34 18 1,34-16-1,0-2 1,17 0-16,19 1 16,-19-18-16,1 17 15,-1 2-15,0-2 16,-17 0-16,0 1 16,-17 0-1,0 0-15,-1-1 16,-18 0-16,19-17 15,17 19-15,-17-19 16</inkml:trace>
  <inkml:trace contextRef="#ctx0" brushRef="#br0" timeOffset="50644.49">14362 15041 0,'0'0'0,"36"19"15,-36-2-15,0 18 16,-18 1 0,18-19-16,0 0 15,0 2-15,0-2 16,0 1-16,0-1 16</inkml:trace>
  <inkml:trace contextRef="#ctx0" brushRef="#br0" timeOffset="51242.69">14574 14901 0,'0'52'31,"-17"-33"-15,17-2-1,0 0-15,17 1 16,-17-1 0,18 2-1,-18-2-15,17 0 0,-17 1 16,0 0-1,-17 0 1,-1-1-16,18 0 31</inkml:trace>
  <inkml:trace contextRef="#ctx0" brushRef="#br0" timeOffset="51395.78">14697 15165 0,'19'0'16,"-19"17"-16,0 2 16,-19-2-16,19 1 15,-17 16 1,17-15-16,0-2 0</inkml:trace>
  <inkml:trace contextRef="#ctx0" brushRef="#br0" timeOffset="51842.17">15526 14936 0,'-34'17'31,"-2"19"-16,36-19-15,-18 1 16,1-18-16,0 17 0,17 2 16,-36 15-16,36-16 15,-18 0 1,36 0-16,-1-1 16,2-17-16,-2 0 15,0 0-15,1 0 16,0 0-16,0 0 0,-1 0 15,18 0 1,-17-17-16</inkml:trace>
  <inkml:trace contextRef="#ctx0" brushRef="#br0" timeOffset="52035.9">15614 15006 0,'-52'71'0,"52"-54"0,0 1 0,0 0 16,0 0-16,-18 35 15,18-36-15,0 1 0,0-1 0,0 0 16,0 2-16,0-2 0,18 1 0,-18-1 16,0 2-1,18-19-15</inkml:trace>
  <inkml:trace contextRef="#ctx0" brushRef="#br0" timeOffset="52387.08">16021 14936 0,'-53'17'0,"35"-17"16,0 0-16,0 19 0,1-19 0,17 17 15,-17-17-15,-1 17 0,18 1 16,0-1 0,0 2-16,35 15 15,-35-16-15,17-18 0,1 36 16,-18-19-1,18 0-15,-18 2 16,0-2-16,-18 1 0,18-1 0,-18 0 0,-16 2 16,16-2-1,0 1-15,0-1 0,-16 2 0,15-2 0,-16-17 16,-53 35-16</inkml:trace>
  <inkml:trace contextRef="#ctx0" brushRef="#br0" timeOffset="54624.52">11576 15518 0,'70'0'0,"-52"0"0,-1 0 16,0 0-16,19 0 0,18 0 15,-20 0 1,-16-18-16,18 18 0,-19 0 0,36-18 16,-35 1-16,-1 17 15,0-17-15,19-1 0,-18 18 0,-1-18 16,-17 0-16,53-35 16,-35 36-16,18-54 15,-19 54-15,-17-1 16,17 1-16,-17-2 0,18 2 0,-18 0 15,0-1-15,18-18 0,-18 19 16,-18-36 0,18 18-16,-18-18 15,1 35-15,17-18 0,-17 19 0,-2-18 16,2 17-16,-1 0 0,-16-16 0,-2 16 0,18 0 16,-18 0-16,-16 1 0,-1 17 15,-18 0-15,-141 35 16,160-17-16,-18 0 0,-1-1 15,35 18-15,-87 54 16,87-54-16,19 1 0,0-19 16,17 18-16,0-18 0,0 19 15,53 17-15</inkml:trace>
  <inkml:trace contextRef="#ctx0" brushRef="#br0" timeOffset="55246.61">12934 14442 0,'-177'35'0,"142"-18"0,-106 73 16,88-56-16,18 20 15,-18-2-15,18 1 0,16 0 0,-15-1 16,16 2-16,0 16 0,18-16 0,-18 16 16,18-18-16,0 2 0,18-1 15,0-1-15,0 1 0,16-17 16,2-1-16,18 0 0,-2 1 0,-16-19 15,34 0-15,-18 2 0,19-19 0,-18 0 16,18 0-16,0-19 0,-1 2 16,1 0-16,17-1 0,-36-18 0,1 19 15,1-18-15,-20-1 0,2 19 0,-1-19 16,-18 1-16,2-1 0,-19 2 16,17-1-16,-34-18 0,17-1 0,-19 1 15,-51-70-15,35 53 16,-18 16-16,18 2 0,-18 16 0,18 2 15,-1-2-15,1 18 0,-1 1 16,19 17-16,0-17 0,-19 17 0,18 0 16,1 17-16,0 18 15</inkml:trace>
  <inkml:trace contextRef="#ctx0" brushRef="#br0" timeOffset="55785.82">13869 14724 0,'-71'177'16,"54"-125"-16,-2 1 16,19 18-16,-17 53 15,17-72-15,17 125 16,2-142-16,16 18 0,-18-18 15,19 1-15,-1-19 0,18 18 16,-18-16-16,1-19 0,-2 17 0,20-17 16,-20 0-16,108-36 15,-89 19-15,0-1 0,87-52 16,-86 34-16,-18 1 16,-2 0-16,20-1 0,-37 2 0,18-2 15,1 1-15,-19-18 0,19-89 16,-36 108-1,-19-20-15,19-16 0,-17 16 0,-18 2 16,-1-18-16,2 16 0,-20 1 0,20 1 16,-37 16-16,-36-16 15,37 33-15,18 19 0,-19 0 0,-17 0 16,17 0-16,-18 0 0,1 19 16,17-2-16,-17 18 0,-70 18 15</inkml:trace>
  <inkml:trace contextRef="#ctx0" brushRef="#br0" timeOffset="56554.72">13974 15694 0,'-34'54'15,"15"-37"-15,-16 18 0,-1 1 16,2-2-16,-1 2 0,-18-1 0,-1 18 16,1 1-16,1-2 0,-19 1 0,1 0 15,-1 18-15,-70 34 16,70-51-16,0-2 0,-17 1 0,0 18 15,-17-1-15,17-18 0,-1-16 0,-17 35 16,18-36-16,-18 1 0,-88 52 16,106-54-16,-18 2 15,0-18-15,1 18 0,-2-19 0,-86 18 16,105-35-16,0 17 16,17-17-16,-18 0 0,20 0 0,-2-17 15,-18-1-15,1 18 0,0-34 0,17 15 16,0 2-16,1-18 0,-141-72 15,140 73-15,1-2 16,-1 1-16,0-18 0,18 18 0,1-1 16,-1 1-16,18-1 0,-54-34 15,54 52 1,18 1-16,-2 0 0,19-2 0,-17 19 0,-1-17 16,1-1-1,0 18 1</inkml:trace>
  <inkml:trace contextRef="#ctx0" brushRef="#br0" timeOffset="56889.67">9582 16770 0,'-53'-36'16,"36"19"-16,-1 0 0,-35-89 16,18 0-1,35 88-15,-18 1 0,18 0 16,18-37-16,0 37 15,-1-2-15,19 19 16,-1 0-16,1-17 0,16 34 0,1-17 0,18 0 16,-18 19-16,16-2 0,-15-17 15,16 18-15,-16-1 0,16-17 16,-18 19-16,19-19 0,-18 0 0,1 0 16</inkml:trace>
  <inkml:trace contextRef="#ctx0" brushRef="#br0" timeOffset="65411.49">26004 1354 0,'0'88'0,"0"-53"16,0 36 0,0-54-16,0 19 0,0 17 15</inkml:trace>
  <inkml:trace contextRef="#ctx0" brushRef="#br0" timeOffset="65817.67">26004 1318 0,'36'36'16,"-36"-18"-16,17-18 16,-17 17-16,17-17 0,19 36 15,-18-19-15,-1-17 0,0 18 16,2-18-16,-2 0 15,1 0-15</inkml:trace>
  <inkml:trace contextRef="#ctx0" brushRef="#br0" timeOffset="65994.11">26533 1318 0,'-88'36'0,"53"-18"15,-35 35-15,34-36 16,18 1-16,1-1 0,-19 0 16</inkml:trace>
  <inkml:trace contextRef="#ctx0" brushRef="#br0" timeOffset="66173.72">26392 1318 0,'18'-17'0,"-36"34"15,54-17 1,-19 18 0,-17 0-16,0 34 15,0-16 1,0-1-16,17 1 16,-17-1-16,0-18 0,0 2 0,0-2 0,19 0 15,-19 1 1,17 0-16</inkml:trace>
  <inkml:trace contextRef="#ctx0" brushRef="#br0" timeOffset="66858.71">26780 1584 0,'18'-36'0,"-18"18"0,-18 72 0,36-125 0,-18 52 15,-18 2 1,18 0 0,-18 34 15,1 36-31,0-53 15,17 18-15,0-1 0,0 2 16,0 15-16,17-16 16,0-18-16,19 18 15,-18-18-15,52-18 16,-52 0-16,52-16 16,-52 34-16,-1-19 15,2 2-15,-2-1 0,18-18 16,-17 19-16,0 0 15,-18-1 1,-36 36 15,18-1-15,18 0-16,-17 2 16,17-2-16,17 1 15,-17-36 1,36 18-1,-18 0-15,-1-17 16,0 17 0,19 0-1,-18 0 17,-1 0-32,0 0 15,2 0-15,16-19 16,-18 19-16,2 0 15,-2-17-15,0 17 16,1 0 0,-1-17-16,2 17 0</inkml:trace>
  <inkml:trace contextRef="#ctx0" brushRef="#br0" timeOffset="67468.55">26321 2306 0,'0'35'16,"0"-16"-16,0-2 0,19 36 15,-19-35-15,0 16 0,0-15 0,0-2 16,0 18-16,0 18 15,0-35-15,17-1 0,-17 2 16,0-2-16</inkml:trace>
  <inkml:trace contextRef="#ctx0" brushRef="#br0" timeOffset="67894.53">26321 2289 0,'-17'0'15,"53"35"17,-19-18-17,0-17-15,19 53 16,-18-53-16,-1 18 0,0-18 0,2 0 15,33 0 1,-35 0-16,2 0 0,-2-18 0,1 18 16,18-17-16,-19 0 0,18-19 15,-17 36-15,-18-18 16,18 1-16,-18 0 16,0-2-16,-18 55 31,0-1-16,18-18-15,-18 2 0,18-2 16,-17 0-16,17 1 16,-17 0-16,17 0 0,0-1 0,0 0 15,0 2 1,0-2 0,17-17-16</inkml:trace>
  <inkml:trace contextRef="#ctx0" brushRef="#br0" timeOffset="68067.64">26762 2412 0,'18'-71'16,"0"90"15,-18 15-15,0-16-16,18 0 0,-18 0 0,0 35 16,17-36-1,0 18-15,-17-18 0,19-17 16,-19 19-16,35-2 15</inkml:trace>
  <inkml:trace contextRef="#ctx0" brushRef="#br0" timeOffset="68827.19">27116 2482 0,'0'-17'0,"0"-18"16,0 17-1,-18 18-15,0 18 31,18 0-15,0-1-16,0 0 0,0 19 16,18-36-16,-18 18 15,18-18-15,-1 0 0,36 0 16,-35 0 0,-1-18-16,90-18 15,-73 2 1,-16 34-16,-1-18 0,2 0 15,-2 18-15,-34 18 47,17 0-31,0-1-16,34-34 31,2-19-15,-36 18-16,35-16 15,-35 15-15,17 2 0,-17-18 16,0 18-16,18-2 0,-18 2 0,0-1 16,0 1-16,18-2 15,-18 2-15,-18 70 32,18 1-17,0-37-15,0 18 0,0-18 0,0 2 16,0-2-16,0 0 0,0 1 0,18 0 15,0 0-15,-1-18 16,19 0 0,-19 0-16,1-18 0,-1 18 0,2 0 15,-19-18-15,17 18 0,0 0 32,1 0-32,-1 18 0,-17 0 15,0-1 1,0 19-1,19-36-15</inkml:trace>
  <inkml:trace contextRef="#ctx0" brushRef="#br0" timeOffset="68944.64">27926 2201 0,'-17'-19'0</inkml:trace>
  <inkml:trace contextRef="#ctx0" brushRef="#br0" timeOffset="69350.89">26974 3153 0,'18'35'0,"-18"-17"16,0 0-1,17-1-15,-17 19 0,0-19 0,0 1 0,19-1 16,-19 19-16,0-19 0,17 1 0,-17-1 16</inkml:trace>
  <inkml:trace contextRef="#ctx0" brushRef="#br0" timeOffset="69835.94">27062 3100 0,'0'0'0,"36"18"32,-18-18-32,-18 18 0,17-18 0,0 0 15,19 0-15,-18 0 0,-1 0 16,19 0-16,-1 0 0,-18-18 0,19 18 15,-19 0-15,1-18 0,-1 18 0,2 0 16,-2-18-16,0 18 0,1 0 16,-36 18 15,-16 18-15,15-19-16,19 0 0,-17 1 15,-1 18 1,18-19-1,54-34 1,-20-1 0,-16 0-16,0 0 0,17-16 15,-18 16 1,1 0 0,18 36-1,-36 0-15,17-1 16,0 18-1,2-17-15,-2 0 16</inkml:trace>
  <inkml:trace contextRef="#ctx0" brushRef="#br0" timeOffset="70639.48">27962 3153 0,'-17'17'15,"-2"1"1,19 18 0,19-36-16,-2 0 15,1 0-15,-1 0 32,0-18-32,-17 0 0,0 0 31,-17 1-16,34 0 17,-17-1-17,36 0 1,-18 18-16,-1 0 16,2-18-1,-2 36-15,-17 0 31,17-18-31,-17 18 16,18-1 0,18-34-1,-19 17 1,-17-18-16,17 0 0,1 0 16,0 1-16,-18 0 15,18-19-15,-18 18 0,17 1 0,-17-2 16,0 2-16,0 0 0,0-1 15,17 1-15,-34 52 32,17 18-17,0-36-15,0 1 16,0-1-16,0 2 0,17 15 16,-17-16-16,19 0 0,-2-18 15,-17 18-15,18-18 0,-1 0 0,2 17 16,-2-17-16,18-17 15,-18 17-15,2-18 16,-2 18-16,0-18 0,-17 0 0,18 18 16,0-17-16,0 0 15,-18-2-15,17 19 0,-17-17 16,17 53 15,-17-2-15,0-16-1,0 0-15,0 0 16,18-18-16,0 17 16,0-17-1,16-17-15,-15 17 16,-2-18-16,1 0 0</inkml:trace>
  <inkml:trace contextRef="#ctx0" brushRef="#br0" timeOffset="71430.25">28614 2148 0,'124'-106'15,"-89"70"-15,1 2 0,-1-2 0,1 1 16,-2-1-16,2 1 0,-1-1 0,1 2 0,-1 16 16,-1-18-16,2-16 15,-18 52-15,-1-18 0,2 0 16,-2 1-16,-17 0 0,17 17 16,-34 34 15,0-16-31</inkml:trace>
  <inkml:trace contextRef="#ctx0" brushRef="#br0" timeOffset="71759.09">28668 2201 0,'53'-19'15,"-18"19"-15,89 36 16,-2-18 0,-51-18-16,-18 17 0,18-17 0,-19 19 15,19-19-15,-18 0 0,18 17 16,-18-17-16,-18 0 0,18 17 15,-18-17-15,-17 0 0,0 0 16,-1 0-16,18 0 16,-17 0-16,-18-17 31</inkml:trace>
  <inkml:trace contextRef="#ctx0" brushRef="#br0" timeOffset="72988.53">30078 1230 0,'-17'-17'31,"0"17"-15,-19 17-1,18 18 1,36 1 15,0-19-31,0 19 0,-18-18 16,34-1-16,-34 0 0,19 2 16,-19-2-16,17 1 15,-17-1-15,0 0 0,0 2 16,0-2-16,-17 1 0,17-1 15,-19-17-15,2 19 16,-18-2 0,17-17-16,0 0 15</inkml:trace>
  <inkml:trace contextRef="#ctx0" brushRef="#br0" timeOffset="73176.64">30256 1284 0,'17'52'16,"-17"-16"-16,17-2 16,-17 2-1</inkml:trace>
  <inkml:trace contextRef="#ctx0" brushRef="#br0" timeOffset="73792.75">30520 1230 0,'-18'18'32,"18"-1"-32,0 2 15,0-2-15,0 18 16,0-17-16,0 0 16,18-1-1,-18 0 1,17-17 31,0 0-32,2 0 1,-2 0-16,1 0 16,-1 0-16,19-17 15</inkml:trace>
  <inkml:trace contextRef="#ctx0" brushRef="#br0" timeOffset="74086.67">30802 1284 0,'0'-19'0,"-18"38"31,0 15-15,18-16-16,0 0 15,0 0-15,0-1 16,-17 0-16,17 2 0,-17-19 16,17 17-16,0 1 15,-18-1-15,36-34 47,-1-1-47,0 1 0,1-2 16,18 2-16,-36 0 15,17-1-15,0 0 0,2 0 0,-2 18 16,1-17-16</inkml:trace>
  <inkml:trace contextRef="#ctx0" brushRef="#br0" timeOffset="74788.98">30202 2024 0,'0'0'15,"18"-18"-15,-1 18 0,2 0 16,-2 0-16,0-17 16,18 0-16,-16 17 15,-2-19-15,0 19 0,1 0 0,18-17 16,-19 17-16,-17-18 16,17 18-16,2 0 0,-2 0 15,-17 18 1,0-1-16,0 2 0,0-2 15,0 0-15,0 1 0,0 0 16,0 0-16,0-1 0,0 0 16,-17 2-16,17-2 0,0 1 15,0-1-15,0 0 16,17-17-16,-17 19 16,18-19-1</inkml:trace>
  <inkml:trace contextRef="#ctx0" brushRef="#br0" timeOffset="75164.67">30714 2077 0,'0'-17'16,"-18"34"-1,36-17 1,-18 0 0,0 17-1,18 2-15,-1-19 16,0 0-1,1-19 1,0 19-16,0 0 16,-18-17 15,17 17-31,0 0 16,2 17-1,-2-17 1,1 0-1,-1-17-15,0 17 0,2 0 16,-2 0 0,1-17-16,-1 17 31,2-18-15,-2 18-16,0-18 15</inkml:trace>
  <inkml:trace contextRef="#ctx0" brushRef="#br0" timeOffset="75398.42">31154 1989 0,'0'0'16,"18"17"15,0-17 0,0 0-15,-1 0-1,-17-17 1,0 0 0,0-2-1,0 2 1</inkml:trace>
  <inkml:trace contextRef="#ctx0" brushRef="#br0" timeOffset="76045.03">31578 1901 0,'0'35'16,"0"-18"15,0 2-15,18-19-16,-18 17 15,17-17 1,0 0 15,2 0-15,-2 0-1,37-17 1,-37 17-16,0 0 16,1 0-16,-18-19 0,36 19 15,-19 0 1,0 0-1,1-17 1,0 34 15,0-17-15,-1 0 0,0-17-1,2 17-15</inkml:trace>
  <inkml:trace contextRef="#ctx0" brushRef="#br0" timeOffset="76759.69">29497 3188 0,'193'-88'15,"-139"70"-15,-37 18 0,0 0 16,2-17-16,-2 17 0</inkml:trace>
  <inkml:trace contextRef="#ctx0" brushRef="#br0" timeOffset="77005.1">29444 3188 0,'34'89'0,"37"-1"16,-52-53-1,33 18-15,-34-18 0,17-17 0,-18 0 16,1-1-16,0 0 0,0 2 16,-1-2-16,0 1 0,2-1 15,-2-17-15,-17 17 0,18-17 16</inkml:trace>
  <inkml:trace contextRef="#ctx0" brushRef="#br0" timeOffset="77239.89">29549 3329 0,'19'53'0,"-19"-18"0,0-16 16,17 15-16,-17 2 0,0-1 15,17 1-15,-17-1 0,18 18 0,0 52 16,-18-51-16,18-2 0,-18-16 16,17 17-16,-17-18 0,0-1 15,17-15-15</inkml:trace>
  <inkml:trace contextRef="#ctx0" brushRef="#br0" timeOffset="83877.67">27062 366 0,'-124'-53'16,"90"36"-16,-20-1 0,-34 0 15,36 18-15,-18-18 0,16 18 16,-16-17-16,16 17 0,-16 0 0,-1 17 16,19-17-16,-19 18 0,18-18 0,-18 18 15,1 17-15,-1-18 0,0 19 16,-17-1-16,18 1 0,0-1 0,0 18 16,-1 0-16,18-1 0,-18 19 0,18-18 15,1 35-15,-2-17 0,20 17 16,-20 0-16,18 0 0,2 0 0,16 1 15,1-1-15,-2 0 0,19 18 0,-17-18 16,34 18-16,-17 0 16,19 18-16,16-2 0,-1 2 0,2 0 15,18-18-15,-2-1 0,18 2 0,1-19 16,17 0-16,0 0 0,124 53 16,-107-70-16,19-1 0,0-16 15,-1-2-15,1 1 0,-36-18 0,107 54 16,-90-54-16,0-1 15,-17-15-15,19 16 0,-2-18 16,2 19-16,-2-19 0,-17-17 0,18 18 16,0-18-16,0 0 0,18 0 0,-19 0 15,124-18-15,-122 18 16,16 0-16,-17-17 0,17 17 0,-16 0 0,-2 0 16,19-17-16,-19 17 0,-17 0 15,18 0-15,-17 0 0,16-19 16,1 19-16,-18 0 0,18-17 0,-18 17 15,18-18-15,-17 1 0,-1 17 0,17-19 16,-17 2-16,0 0 16,0-1-16,2 1 0,-20-2 0,18 2 0,-17-18 15,-2 17-15,2-17 0,0 18 16,-1-19-16,-16 1 0,-1-1 0,18-16 16,-19 16-16,1-17 0,0 1 0,18-2 15,-19 1-15,1-18 0,-18 19 16,18-18-16,-17-1 0,16 0 15,-16 1-15,-18-1 0,16 0 0,2 1 16,-18-1-16,16 19 0,-15-19 0,-2 18 16,18-18-16,1 1 0,-1-1 15,-17 19-15,52-107 0,-34 106 16,-19-35-16,19 17 0,-19 1 0,18-1 16,1-53-16,-36 89 0,0-18 15,-17-70 1,-19-1-16,1 71 0,-1-16 0,1-2 15,-35 18-15,16-1 0,-87-68 16,53 68-16,-17 1 0,17 1 16,-2-1-16,-15-1 0,-19 2 15,-16 16-15,16-17 0,-17 18 0,-1-18 16</inkml:trace>
  <inkml:trace contextRef="#ctx0" brushRef="#br0" timeOffset="84015.51">27768 30 0,'-618'142'0,"530"-124"0,18 17 16,-1 0-16,19-17 0,-1 0 0</inkml:trace>
  <inkml:trace contextRef="#ctx0" brushRef="#br0" timeOffset="88075.63">17873 4229 0,'0'-17'16,"-19"69"-16,19-34 15,0 17-15,0 89 0,19-72 16,-19 19-16,0-18 0,17 0 0,-17-1 16,18 2-16,-18-1 0,17 18 15,-17-37-15,19-16 0,-19 18 16,17-2-16,0-15 15</inkml:trace>
  <inkml:trace contextRef="#ctx0" brushRef="#br0" timeOffset="88302.89">17890 4246 0,'35'-17'16,"-70"34"-16,106-51 0,-54 16 0,19 18 16,-18-18-16,-1 18 0,18-18 0,18 18 15,-36 0-15,37 0 16</inkml:trace>
  <inkml:trace contextRef="#ctx0" brushRef="#br0" timeOffset="88479.63">17802 4634 0,'18'18'0,"-36"-36"0,53 18 16,1 0-16,35-17 15,-19 0-15,-16-1 16,52-18-16,-71 36 0,19-17 16,35-19-16,-54 19 0</inkml:trace>
  <inkml:trace contextRef="#ctx0" brushRef="#br0" timeOffset="88814.61">18490 4158 0,'0'36'31,"0"-18"-15,18-1-16,-18 0 0,17 1 15,19 18-15,-19-36 16,1 0-16,-1 17 0,36-34 16,-35 17-16,-1 0 0,-228-142 0,441 284 15,-213-160-15,0 0 16,1 18-16,-18 18 31,0 0-31,0-1 16,-18 19-16,18-19 0,-17 37 15,0-2-15,-2-16 0,2 16 0,-35 54 16,52-71-16,-19 18 0,-16 1 16,35-2-16,0-16 15,0-19-15,0 0 16,18-17-1</inkml:trace>
  <inkml:trace contextRef="#ctx0" brushRef="#br0" timeOffset="89058.64">19284 4141 0,'-35'159'15,"35"-142"1,0 19-16,0-19 0,0 1 16,17 18-16,-17-2 15,0-16-15,18-353 0,-36 687 16</inkml:trace>
  <inkml:trace contextRef="#ctx0" brushRef="#br0" timeOffset="89291.82">19089 4176 0,'36'-35'16,"17"-1"-16,-35 36 0,-1-17 16,54-18-16,-37 35 0,-15-19 15,16 2-15,1 17 16,-2 0-16,2 0 0,-18 0 16,-18 17-16,0 2 15</inkml:trace>
  <inkml:trace contextRef="#ctx0" brushRef="#br0" timeOffset="89459.69">19072 4564 0,'36'0'16,"-19"0"-16,0-18 0,1 18 15,18-17-15,-2-19 0,20 19 0,16-18 16,-16 18-16,-20-2 0,2 2 15,-1-18-15,36-1 0,-37 36 16</inkml:trace>
  <inkml:trace contextRef="#ctx0" brushRef="#br0" timeOffset="90104.8">21101 4493 0,'105'-17'16,"-87"17"-16,18 0 0,52-18 15,-54 1-15,37 17 16,-35-17-16,-1 17 0,-18 0 16,19-19-16</inkml:trace>
  <inkml:trace contextRef="#ctx0" brushRef="#br0" timeOffset="90314.38">21594 4176 0,'36'18'0,"-18"0"15,16 34 1,-16-34-16,-18 0 0,18 35 16,-18-18-16,0 1 15,0-2-15,0 1 0,-18 18 0,18-17 16,-18-18-16,1 52 0</inkml:trace>
  <inkml:trace contextRef="#ctx0" brushRef="#br0" timeOffset="90848.63">22917 4722 0,'36'-17'31,"-19"17"-31,1 0 16,18-17-16,34-1 16,-35 18-16,70-36 0,2 19 15,-55 0-15,37 17 16,-54-18-16,36 18 16,-1-18-16,-52 18 15,-1 0-15,19-18 0,-19 18 16,18 0-16,-16-17 15,-2 17 1</inkml:trace>
  <inkml:trace contextRef="#ctx0" brushRef="#br0" timeOffset="91402.51">23500 4881 0,'264'-69'0,"-211"50"16,0 2-16,-1-1 0,-16 1 16,52-36-16,0-1 15,-34 2-15,-20 16 0,-16 19 16,0-19-16,0-69 15,-18 70 1,-18-18-16,18-1 0,-53-34 0,17 35 16,-52-18-16,-52 19 15,51 35-15,18-2 0,-105 19 16,71 19-16,-2-2 16,-16 18-16,-1 18 0,2 1 15,-73 51-15,124-52 0,-34 89 16,34-20-16,54-68 15,17-2-15,0 1 0,0 0 16,71 18-16,51 17 16,-51-53-16,17-17 0,107 17 15,-107-35-15,17 0 0,2 0 16,86-17-16,-105 17 0,0-18 16,53 0-16</inkml:trace>
</inkml:ink>
</file>

<file path=ppt/ink/ink21.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16:46.785"/>
    </inkml:context>
    <inkml:brush xml:id="br0">
      <inkml:brushProperty name="width" value="0.05292" units="cm"/>
      <inkml:brushProperty name="height" value="0.05292" units="cm"/>
      <inkml:brushProperty name="color" value="#0070C0"/>
    </inkml:brush>
  </inkml:definitions>
  <inkml:trace contextRef="#ctx0" brushRef="#br0">6584 5252 0,'-17'0'15,"-2"-18"-15,38 1 32,69 17-17,-54-17-15,161-2 16,-124 2-16,34-1 16,-17 1-16,0 17 0,107-36 15,-2 1 1,2 18-16,-107-2 0,17 2 0,-16 0 15,141-1 1</inkml:trace>
  <inkml:trace contextRef="#ctx0" brushRef="#br0" timeOffset="384.03">8595 4970 0,'70'18'16,"-35"-18"-16,36 0 15,-1-18-15,1 18 0,0 0 16,-18 0-16,18 0 0,139 0 15,-156 0-15,16 0 16,54 0-16</inkml:trace>
  <inkml:trace contextRef="#ctx0" brushRef="#br0" timeOffset="846.97">10323 5093 0,'70'0'15,"-34"0"-15,-1 0 16,18 0-16,1-17 0,-2 17 0,18 0 16,108-18-1,-109 1-15,55-19 0,-71 19 16,-1-1-16,2 0 0,-1-17 0,-18 18 16,18-19-16,-18-16 0,54-107 15,-54 88-15,-35-18 16,0 1-16,0 0 0,0 17 0,-35-17 15,-89-141 1,53 158-16,1 19 0,-124-18 16,88 51-16,0 19 0,1 0 15,-214 53 1,214-17-16,34 16 0,-17 2 0,-17 87 16,52-70-16,17 17 0,18-18 15,1 18-15,17-34 0,0 15 16,35 2-16</inkml:trace>
</inkml:ink>
</file>

<file path=ppt/ink/ink22.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17:04.704"/>
    </inkml:context>
    <inkml:brush xml:id="br0">
      <inkml:brushProperty name="width" value="0.05292" units="cm"/>
      <inkml:brushProperty name="height" value="0.05292" units="cm"/>
      <inkml:brushProperty name="color" value="#0070C0"/>
    </inkml:brush>
  </inkml:definitions>
  <inkml:trace contextRef="#ctx0" brushRef="#br0">2306 5596 0,'-17'0'0,"-1"-17"16,18 34 0,-18-17-16,18 17 15,-18 1-15,1 0 0,17 0 16,-17-1-16,-1 36 16,0-18-16,18-18 0,0 19 15,-18-18-15,18-1 0,0 19 0,0-19 0,0 1 16,0 0-16,18 17 15,-18-18-15,18 1 0,34 18 16,-16-36 0,35 0-1,-54 0-15,1-18 0,52-35 16,-70 36 0,18-1-16,-18 0 0,0 0 15,0 1-15,0 0 0,0-19 0,0 18 16,-18 1-16,18-2 0,-17 2 0,0 0 15,-19-37 1,18 37-16,1 17 16,-2 0-1,2 0-15</inkml:trace>
  <inkml:trace contextRef="#ctx0" brushRef="#br0" timeOffset="315.68">2818 5896 0,'52'0'32,"-16"-17"-17,-19 17 1,1 0-16,0 0 0,34 0 15</inkml:trace>
  <inkml:trace contextRef="#ctx0" brushRef="#br0" timeOffset="827.66">3629 5649 0,'-18'-18'0,"1"0"15,0 18-15,-2 0 16,-16 0-1,1 18-15,15 0 16,-33 17 0,33-18-16,2 37 15,0-37-15,17 0 16,0 2-16,0-2 0,0 1 16,17-18-1,19 0 1,16-18-1,-33 1-15,-2-2 16,0 19-16,18-17 16,-35 0-16,19 17 15,-2 34 1,-17-15 0,0 16-16,0-18 15,-17 19-15,17-19 16,-19 54-16,19-54 15,0 1-15</inkml:trace>
  <inkml:trace contextRef="#ctx0" brushRef="#br0" timeOffset="1948.19">1935 6919 0,'0'36'31,"0"-2"-15,0-16-16,0-1 0,0 19 16,-17-19-16,17 1 0,0 0 0,0 0 15,0 16-15,0-15 16,0-2-16,-17-17 0,34 18 0,-17-1 15</inkml:trace>
  <inkml:trace contextRef="#ctx0" brushRef="#br0" timeOffset="2302.3">2113 7007 0,'0'36'47,"0"-19"-47,0 0 16,0 1-16,17 18 15,-17-19-15,17 0 0,-17 2 16,18-2-16,0-17 0,-18 18 16,18-18-16,-1 0 15,0 0-15,1 0 0,-18-18 0,18 18 16,0-17-16,-1 17 15,-17-19-15,0 2 16,0 0-16,0-1 0,0 0 16,0 0-16,0 1 0,-17 0 15,-1-2-15,18 2 16,-18 17-16,0 0 16,1 0-16,0 17 31</inkml:trace>
  <inkml:trace contextRef="#ctx0" brushRef="#br0" timeOffset="2603.81">2782 7113 0,'36'18'0,"-1"-18"15,1 0 1,-19 0-16,0 0 0,1-18 0,0 18 16,0 0-16</inkml:trace>
  <inkml:trace contextRef="#ctx0" brushRef="#br0" timeOffset="3189.93">3435 6884 0,'0'35'47,"0"-18"-47,-17 54 15,17-35 1,0-2-16,0-16 0,-19 0 16,19 17-16,0-18 15,0 2-15,0-2 16</inkml:trace>
  <inkml:trace contextRef="#ctx0" brushRef="#br0" timeOffset="4228.63">3841 6848 0,'-35'0'0,"-1"0"16,19 17-16,-1-17 15,0 19-15,0-19 0,1 17 16,0 1-16,-1-1 0,18 2 15,-18-19-15,18 17 0,18 0 32,0-17-32,16-17 15,2 17-15,-36-17 0,52-2 16,-33 19 0,-2 0-1,1 19-15,-1-2 16,-17 0-16,-17 37 15,17-37-15,0 0 0,-18 37 16,18-37-16,-17 36 16,17-35-16</inkml:trace>
  <inkml:trace contextRef="#ctx0" brushRef="#br0" timeOffset="5399.92">1971 7853 0,'18'0'15,"-18"-17"-15,34 34 31,-15-17-31,-19 18 16,-19 35 0,-15-17-1,16-19-15,-18 18 0,19-16 16,-18 15 0,17-16-16,0-1 31,18 2-31,18-19 31,0 0-31,0 0 0,-1 0 16,54 0-1,-54 0-15,0-19 0,19 19 0,18-17 16,-37 17-16,18-18 16</inkml:trace>
  <inkml:trace contextRef="#ctx0" brushRef="#br0" timeOffset="5701.89">2359 7941 0,'-17'-17'0,"-2"34"31,2-17-31,17 36 16,0-18-16,0-1 16,0 2-16,17-2 15,2 0-15,-2-17 0,-17 18 16,18-18-16,18 0 0,-19 0 0,0 0 15,1 0-15,-1 0 16,2 0-16,-2 0 0,-17-18 16,17 18-16,-17-17 0,0 0 15,0-2-15,-17 19 16,17-35-16,-36 18 16,19-2-16,-1 19 15,1 0 1</inkml:trace>
  <inkml:trace contextRef="#ctx0" brushRef="#br0" timeOffset="6021.68">2977 8065 0,'53'0'32,"-18"0"-17,-18 0 1,0 0-16,2 0 16,-2-17-16</inkml:trace>
  <inkml:trace contextRef="#ctx0" brushRef="#br0" timeOffset="6522.64">3435 7819 0,'18'-18'0,"-1"18"16,19 18-1,-19-1 1,18 18-16,-35-17 15,-17 17 1,17-18-16,-18 2 0,1-2 16,17 1-16,-36 18 0,19-19 15,17 0-15,-18-17 0,1 18 16,-2-1-16,19 2 16,-17-19-16,17 17 15,17-17 1,19 0-1,-1 0 1,-16 0 0,-2 0-16,0 0 0,1 0 0,-1-17 0,19 17 15,-1 0-15,-17-19 16,0 19-16,-1 0 16</inkml:trace>
  <inkml:trace contextRef="#ctx0" brushRef="#br0" timeOffset="6901.2">3982 7836 0,'-17'0'16,"-19"0"-16,18 0 0,-16 17 16,15-17-16,19 18 0,-17 0 15,-1 0-15,1-18 16,17 17-16,0 0 16,35-17-1,-18 0 1,36-17-1,-35 0-15,-1 34 0,2-17 16,-2 17 0,-17 2-16,0 16 15,17-35-15,-17 17 0,0 2 0,0-2 16,0 0-16,0 1 0,0-1 16,0 2-16,0-2 0</inkml:trace>
  <inkml:trace contextRef="#ctx0" brushRef="#br0" timeOffset="8267.9">1865 8912 0,'36'17'0,"-19"1"16,-17 0-16,0 0 0,-17 16 16,-1-15-16,0-2 15,18 1-15,-18-1 16,1 2-16,0-2 15,34 0 32,0-17-47,1 0 0,-18 18 16,36-18-16,-19 17 16,0 2-16,-17-2 15,0 0 1,-17 1-16,0 0 15,-1 0-15,0-18 16,-34 17-16,34 0 16,0-17-16,0 0 0,1 19 0,0-19 15,-2 0-15,2 0 16</inkml:trace>
  <inkml:trace contextRef="#ctx0" brushRef="#br0" timeOffset="8633.81">2094 9071 0,'-35'36'15,"35"-19"1,0 0-16,0 1 0,0-1 15,18 2-15,-18-2 16,17-17-16,-17 17 0,19 1 16,15-18-16,2 0 31,-18 0-31,-1 0 0,0-18 16,-17 1-1,0-19-15,0 19 16,0-1-16,-17 1 0,0 0 15,17-2-15,-18 2 16,0 17-16,0-18 0,1 18 16,0 18-1</inkml:trace>
  <inkml:trace contextRef="#ctx0" brushRef="#br0" timeOffset="8890.69">2641 9176 0,'36'-17'15,"-19"17"-15,0 0 0,2 0 16,-2 0-16,1 0 0,-1 0 16,2 0-16,15-18 0,1 18 15,1 0-15,-19 0 0,1 0 16,0-17-16,0 17 16</inkml:trace>
  <inkml:trace contextRef="#ctx0" brushRef="#br0" timeOffset="9556.54">3453 8877 0,'17'0'16,"-34"0"-16,70 0 0,-18 18 16,-18-18-1,-17 17-15,19 0 16,-38 19-16,2-36 15,-1 18-15,-16 16 16,15-34-16,2 19 16,-1-19-1,36 17 1,18-17 15,-2 18-31,-16-18 0,-1 17 16,2-17-16,15 19 0,-16-19 15,-18 17-15,0 0 16,-18 1 0,-16 18-16,15-19 15,2 0-15,-18-17 16,18 18-16,-2-18 0,2 0 16,-1 0-16,1 0 0,17 18 15</inkml:trace>
  <inkml:trace contextRef="#ctx0" brushRef="#br0" timeOffset="9969.7">3946 8947 0,'-35'-18'0,"18"18"16,0 18-16,-2-18 0,2 18 0,-1 0 16,1-18-16,17 17 15,-19 0-15,2-17 0,17 19 0,17-2 16,2-17-1,-2 0 1,1-17-16,-1 17 0,2 0 16,-2 0-16,0-19 15,1 38-15,-1-19 16,2 35-16,-19-18 16,0 19-1,0-19-15,0 18 0,0-16 0,0 15 16,-19 2-16,19-18 0,0-1 15,0 0-15,0 2 0,0-2 16</inkml:trace>
  <inkml:trace contextRef="#ctx0" brushRef="#br0" timeOffset="10821.44">4405 5789 0,'36'-17'16,"-19"17"-16,19 0 0,-19 0 15,1-17-15,16 17 0,-15 0 0,16 0 16,1 0-16,16 0 15</inkml:trace>
  <inkml:trace contextRef="#ctx0" brushRef="#br0" timeOffset="11211.29">4475 7201 0,'36'-17'15,"-18"17"1,35-19-16,-36 19 0,37-17 15,-37 17-15,0 0 16</inkml:trace>
  <inkml:trace contextRef="#ctx0" brushRef="#br0" timeOffset="11574.27">4546 8312 0,'36'-17'16,"-19"17"-16,1 0 15,18-18-15,-19 18 0,0 0 16,1 0-16,0 18 0,17-18 15</inkml:trace>
  <inkml:trace contextRef="#ctx0" brushRef="#br0" timeOffset="11787.79">4599 9176 0,'71'-35'31,"-54"18"-31,19 17 0,-18-17 16,70-2-16,-54 19 15</inkml:trace>
  <inkml:trace contextRef="#ctx0" brushRef="#br0" timeOffset="15643.71">1918 4908 0,'36'17'0,"-19"-17"0,1 18 0,-1-18 16,0 0-16,19 0 0,-18 0 15,52 18-15,-34-18 0,-18 0 0,16 0 16,20 0-16,-20 0 16,2-18-16,35 18 0,-19-18 15,-16 18-15,-19-17 0,19 17 16,-1-17-16,18-1 15,-35 18-15,-1-18 0,0 18 0,-17-18 16,19 18-16,16-34 16,-18 15-16,2 19 15,-2-35-15,0 35 16,-17-17-16,18-2 0,-18 2 16,17 17-16,-17-17 0,19-1 15,-19 1-15,17-2 16,-17 2-16,0 0 15,17 17-15,-17-18 0,0 0 16,0 0-16,0 1 16,18 0-16,-18-19 15,0 18-15,0 1 16,0 0-16,0-2 16,0 2-16,0-1 0,-18 1 15,18-2-15,-17-33 16,17 35-16,-17 17 15,-2-36-15,-16 1 16,18 17-16,0 18 0,-2-18 16,2 1-16,-18 0 0,16 17 15,-51-36-15,18 18 0,16 18 16,1-17-16,-36 0 16,37 17-16,-2 0 0,1 0 15,-1 0-15,19 0 0,-19 0 0,-34 0 16,34 17-16,2-17 0,-2 35 15,-52 1-15,0 16 16,52-34-16,-16 17 16,16-18-16,1 19 0,-1-1 0,1 18 15,-1-18-15,-52 124 16</inkml:trace>
  <inkml:trace contextRef="#ctx0" brushRef="#br0" timeOffset="16801.97">5570 5543 0,'52'-18'31,"36"36"1,-69-18-32,-19 17 0,17-17 15,-17 19-15,-17-2 0,17 18 16,-19-17-16,2 0 0,-1-1 16,1 0-16,-2 2 15,2-2-15,0-17 16,17 18-16,0-1 31,17-17-31,0 0 16,2 0-16,-2 17 0,18-34 15,18 17-15,-35 0 16,0 0-16,0 0 0,16 0 16,-16 0-16,0 0 15</inkml:trace>
  <inkml:trace contextRef="#ctx0" brushRef="#br0" timeOffset="19292.59">3223 4167 0,'-17'0'0,"0"0"16,-2 0-16,2 18 16,-1-18-1,18 18-15,-17-1 0,-2 0 16,2 2-16,0 16 16,-1-18-16,1 36 0,17-35 15,-19-1 1,19 19-16,0-1 0,0-18 15,0 2-15,0-2 0,0 0 0,0 1 16,0 0-16,0 17 0,19 1 16,-19-19-16,17 1 0,-17-1 15,18 36-15,-1-18 16,0-16-16,2-2 0,-19 0 16,35 1-16,-18 0 15,-17 0-15,19-1 0,-2-17 0,-17 17 16,17-17-16,19 36 0,-18-36 15,-1 18-15,18-18 0,-17 0 16,0 17-16,-1-17 0,19 17 16,-1-17-16,1 19 0,-19-19 15,18 0-15,1 17 0,-2-17 0,2 0 16,-1 0-16,0 18 0,1-18 16,-2 0-16,2 0 0,52 0 15,-53 17-15,1-17 0,-1 0 16,1 0-16,34 0 0,-35 0 15,18 0-15,1 0 16,-20 0-16,-16 0 0,35-17 16,0 17-1,-1-18-15,-33 1 0,-2 17 16,1 0-16,-1-19 0,36 2 16,-18 0-16,-16 17 0,15-18 15,-16 18-15,-18-18 16,18 18-16,17-18 15,-18 1-15,19 0 16,-18-19-16,-1 36 16,-17-18-16,36 1 0,-36 0 15,17-2-15,1 2 16,-18-1 0,17 1-16,-17-2 15,19 2-15,-19 0 16,0-1-16,0-18 15,0 19-15,0-18 16,-19-1-16,19 2 16,0 15-16,-17-16 15,17 1-15,-18-2 16,1 1-16,17-1 16,-19 19-16,2-18 15,0-1-15,-1 1 0,0 17 16,0 0-16,-16-16 15,16 15-15,0 2 16,-17-1-16,-1-16 16,1 15-1,-1 2-15,19 17 16,-35-18-16,33 18 16,-15-17-16,16 17 15,0 0-15,-34-19 0,33 19 16,-16 0-16,-18-17 0,36 17 15,-18 0-15,-1 0 16,19-17-16,-1 17 0,1 0 0,-19 0 16,-17 0-1,35-18-15,-35 18 16,18 18 0,1-18-16,15 0 15,-33 17-15,-37 0 16,37 2-16,16-2 15,1 1-15,18-1 0,-71 19 16,17-1-16,0 18 16,-53 18-1,54-18-15,16 16 16,-15 2-16,16 0 16,35-35-16</inkml:trace>
  <inkml:trace contextRef="#ctx0" brushRef="#br0" timeOffset="22164.75">5375 6865 0,'18'-17'15,"-1"17"-15,2 0 0,-2 0 16,0 0-16,-17 17 0,18-17 15,0 0-15,-18 19 16,18-19-16,-18 17 0,0 1 16,0-1-16,-18-17 0,18 19 15,-18-2-15,18 0 0,-18-17 0,18 18 16,-17-1-16,0 2 0,-2-2 16,19 0-1,-17 1-15,34 0 31,2-18-15,-2 18-16,0-18 0,1 0 0,18 0 16,-19 0-16,0 0 15,2 0-15,16 0 0,-18-18 16,0 18-16,2 0 0,-2 0 0,1 0 0</inkml:trace>
  <inkml:trace contextRef="#ctx0" brushRef="#br0" timeOffset="25880.92">5587 4167 0,'-17'-35'0,"17"18"15,-19 17-15,19-19 16,-17 2 0,0-1-1,-1 18 1,0-17-16,0 17 16,1-17-16,-19 17 15,19 0-15,-1 0 0,1 0 16,0 0-16,-19 0 15,18 0-15,1 0 0,-2 0 16,2 0-16,0 17 0,-1-17 0,1 0 16,-2 0-16,2 17 15,0-17-15,-1 18 0,0-18 0,-17 17 16,35 2-16,-17-19 16,-2 17-16,2-17 0,17 17 15,-18-17-15,18 18 0,-17 0 16,0-18-16,-2 35 0,2-18 0,-1 2 15,1-2-15,-2 1 16,2-1 0,17 0-16,-17-17 0,-1 36 0,18-18 15,-18-18 1,18 17-16,-18 2 0,18-2 16,-17 0-16,17 1 15,0-1-15,-17-17 16,17 19-16,0-2 0,0 0 0,-18 1 15,18 0-15,0 0 16,0-1-16,18 0 16,-18 2-16,0-2 15,17 1-15,-17-1 0,35 19 16,-17-19-16,-18 1 16,18-1-16,-1-17 0,19 19 15,-19-2-15,1 0 0,18 1 16,-19 0-16,18 0 0,-18-1 0,19 0 15,-1 1-15,-17 0 0,17-18 0,1 18 16,-1-1-16,-1-17 16,2 17-16,-1 2 0,18-19 0,18 17 15,-36 1-15,54-1 0,-54-17 16,18 17-16,-18-17 0,1 19 16,52-19-16,-54 17 15,54-17-15,-52 18 0,35-18 16,-36 0-16,1 0 15,-2 17-15,2-17 0,16 0 0,2 0 16,-1 0-16,-18 0 0,1 0 16,-2 19-16,1-19 0,1 0 15,-1 0-15,1 0 0,-2 0 0,-15 0 16,50 0-16,-33 0 16,-18 0-16,18 0 0,-19 0 15,36 0-15,-35-19 0,16 19 0,-16 0 16,18 0-16,-2 0 0,-15 0 15,16 0-15,-18-17 0,0 17 16,2 0-16,33 0 0,-33-18 16,-2 18-16,0 0 0,1 0 15,0 0-15,0 0 0,-1-17 16,0 17-16,1 0 16,0 0-16,0 0 0,-1 0 15,19-19-15,-19 19 16,1 0-16,18 0 15,-19 0-15,0 0 16,1 0-16,-1-17 0,2 17 16,-2 0-16,0 0 0,1 0 15,18 0-15,-19 0 16,0 0-16,-17-17 16,36 17-16,-18 0 15,-1 0-15,19 0 16,-19-18-16,1 18 15,-1 0-15,2-17 0,-2 17 16,0 0 0,1-19-16,-1 19 15,2 0-15,-2 0 16,0-17 0,1 17-1,0 0-15,0 0 16,-1-17-1,0 17-15,2 0 16,-2-18 0,1 18-16,-1 0 15,0-18 1,2 18 0,-2 0-1,1 0-15,-1-18 16,2 18-1,-2 0-15,0-17 32,1 17-32,0 0 31,0-17-15,-1 17-16,0 0 31,1-18-31,0 18 15,-18-18 1,18 18 0,-18-18 15,17 18-31,-17-17 16,17 17-1,-17-17 1,19 17-1,-19-19-15,17 19 16,1-17 0,-1-1-1,2 18-15,-2-17 32,0-2-17,1 19-15,-18-17 16,17 17-16,-17-17 15,19-1 1,-2 1-16,-17-2 16,0 2-1,17 0-15,-17-1 16,-17 0 0,17 0-1,0 1-15,-17 0 0,-2-2 16,19 2-1,-52-35 17,16 16-17,19 18-15,-37-18 16,37 19-16,0 17 16,-37-35-16,20 18 15,-2-2-15,-16 2 16,16 0-16,-35-19 15,36 18-15,18 18 16,-36-17-16,17 0 16,18-2-16,1 19 15,-19 0-15,1-17 0,-35-1 16,35 1-16,16 17 16,-51-17-16,35-2 0,-36 19 15,37-17-15,-2 17 0,1-18 16,-18 18-16,-18-17 15,36 17-15,-35-19 0,52 19 16,-52-17-16,-20 0 16,73 17-1,0 0-15,-18 0 0,16 0 0,2 0 16,-36 0-16,35 0 16,-16 0-16,16 0 0,-18 0 0,19 0 15,-54 0-15,35 0 0,2 0 16,-54 0-16,52 0 15,-35 17-15,36-17 0,-35 0 16,-18 17-16,52-17 16,-34 19-16,-19-19 15,18 17-15,2 1 16,-2-18 0,35 17-16,2-17 0,-2 19 0,1-2 15,-1-17-15,19 17 0,-106 18 31,104-35-31,2 19 16,0-19-16,-19 17 0,18-17 16,-16 17-16,-2 1 31,18-18-31,18 18 16,-17-18-16,0 0 15,17 18 1,-19-18-1,19 17 1,0 0 31,0 2 281,19-19-312</inkml:trace>
  <inkml:trace contextRef="#ctx0" brushRef="#br0" timeOffset="26853.15">5658 7853 0,'-36'36'0,"36"-18"0,-17-1 16,-1-17-16,1 17 0,-2 2 15,-15 16-15,16-35 0,0 36 16,0-19-1,1 0-15,17 1 0,-17-18 16,17 17-16,0 2 16,17-19-1,18 0 1,1 0-16,-2 0 0,20 0 16,-20 0-16,20-19 15,-1 2-15,0 17 16,-18-18-16,-18 18 0,19-17 15</inkml:trace>
  <inkml:trace contextRef="#ctx0" brushRef="#br0" timeOffset="27069.74">5834 7871 0,'-17'18'0,"17"0"0,-18 35 16,0-36-16,18 18 0,-18 18 15,1 1-15,0 16 16,122-388-16,-229 707 0,124-372 16,-17 18-16,17 1 0,0-19 15,0 1-15</inkml:trace>
  <inkml:trace contextRef="#ctx0" brushRef="#br0" timeOffset="28270.99">9503 4925 0,'140'-17'15,"-104"0"-15,-1-1 0,1 18 16,35-53-16,-19 36 16,18-37-16,1-16 15,-35 35-15,-1-1 0,1-17 16,-19 1-16,36-90 0,-35 1 15,-36 17-15,0 55 16,0 15-16,-123-104 16,89 140-16,-1 0 15,-1 0-15,-16 1 0,-1 17 16,0 0-16,-17 17 0,0 1 16,-317 247 15,388-213-31,-19 37 0,36-54 15,0 1-15,53 104 16,-36-104-16,19 16 0,-1-16 16,1-1-16,33 35 0,-50-34 15</inkml:trace>
  <inkml:trace contextRef="#ctx0" brushRef="#br0" timeOffset="31529.23">5781 9017 0,'-35'142'16,"18"-106"-16,-2 34 0,19-35 15,0 1-15</inkml:trace>
  <inkml:trace contextRef="#ctx0" brushRef="#br0" timeOffset="32904.69">11955 6001 0,'-18'-17'0,"-17"34"15,35 1-15,-17-18 16,17 18-16,-19 34 0,19-33 16,0 16-16,-17-18 0,17 19 0,0-19 15,17 54-15,-17-36 16,19 1-16,-2-2 0,18 2 15,-17-36 1,0 0-16,-1 18 0,18-18 16,-17 0-16,17-18 0,-18 0 15,19-17 1,-18 18-16,-18-19 0,17-16 16,-17 33-16,-17-33 0,17 16 15,0 1-15,-18 18 0,1-19 16,-2 1-16,2 17 15,0-17-15,-1 18 16,0 17-16,0 0 16,18 17-1</inkml:trace>
  <inkml:trace contextRef="#ctx0" brushRef="#br0" timeOffset="33170.56">12573 6196 0,'34'-19'31,"-16"19"-15,-1 0-16,2 0 16,15 0-16,-16 0 15,18 0-15,-19 0 0</inkml:trace>
  <inkml:trace contextRef="#ctx0" brushRef="#br0" timeOffset="33491.43">13030 6055 0,'-52'0'0,"16"0"0,19 0 15,-1 0-15,1 0 0,-2 17 16,19 0-1,0 2-15,19-2 16,16 18 0,-18-35-16,-17 17 0,19 2 0,-2-2 15,0 1-15,1-1 16,-18 2-16,17-2 0,-34 18 16,-1-35-16,1 18 15,-19 0-15,19-1 16,-18 0-16,-1 1 0,1 0 15,17 0-15,-17-1 0</inkml:trace>
  <inkml:trace contextRef="#ctx0" brushRef="#br0" timeOffset="35033.82">11990 7077 0,'-53'54'0,"35"-54"0,1 53 16,-36 87-1,53-104-15,0-19 16,-18 19-16,18-18 0,18 16 0,-18-16 0,0 0 16,17 0-16,-17 16 15,19-34-15,-19 19 0,17-2 0,0 1 16,1-18 0,-36-18 15,18 1-31,0-2 15,-17 2-15,0 17 0,17-17 16,-19 17 0</inkml:trace>
  <inkml:trace contextRef="#ctx0" brushRef="#br0" timeOffset="35236.97">12325 7413 0,'18'0'0,"0"0"16,-18-18-16,17 18 0,0 0 16,1 0-16,0-18 15,0 18-15,16 0 16,-15 0-16,-2-17 0,1 17 0</inkml:trace>
  <inkml:trace contextRef="#ctx0" brushRef="#br0" timeOffset="35431.36">12837 7201 0,'0'0'15,"-18"35"16,18-18-31,-18 2 0,18-2 16,0 1-16,-18-1 0,18 2 16,-17-2-16,17 0 0,0 1 0,-17 18 15,17-19-15,0 0 16</inkml:trace>
  <inkml:trace contextRef="#ctx0" brushRef="#br0" timeOffset="35720.14">12961 7324 0,'-19'19'15,"2"-19"-15,17 17 16,0 0-16,0 1 16,0 0-16,17 0 15,2-1-15,-2-17 16,0 0-16,1 0 15,-1 0-15,2 0 0,15-17 16,-16 17-16,0-18 0,-18 0 16,18 0-16,-18 1 15,0 0-15,0-2 0,0 2 0,-18 17 16,18-18-16,-18 1 0,0 17 0,1 0 16,0-19-16,-2 19 15,-33 19-15,35-19 0,-19 17 0,1-17 16</inkml:trace>
  <inkml:trace contextRef="#ctx0" brushRef="#br0" timeOffset="36652.9">11814 8295 0,'0'53'16,"0"-36"-16,0 1 0,0-1 15,-19 2-15,19 33 0,-17-35 16,17 2-16,0-2 0,-17 0 16,17 1-16,0 0 0</inkml:trace>
  <inkml:trace contextRef="#ctx0" brushRef="#br0" timeOffset="36839.49">12025 8312 0,'18'0'0,"-36"0"0,36 17 31,-18 2-31,0-2 0,-18 1 0,18 18 16,0-19-16,0 18 0,-18-18 16,18 36-16,0-35 15,0 18-15</inkml:trace>
  <inkml:trace contextRef="#ctx0" brushRef="#br0" timeOffset="37052.9">12395 8524 0,'18'-17'0,"0"17"16,17 0 0,1-19-1,-19 19 1,1 0-16</inkml:trace>
  <inkml:trace contextRef="#ctx0" brushRef="#br0" timeOffset="37279.23">12890 8224 0,'-19'36'0,"2"33"16,17-50-1,-17-2-15,17 1 0,-18 18 16,18-19-16,-18 18 0,18-18 16,0 2-16,0-2 0</inkml:trace>
  <inkml:trace contextRef="#ctx0" brushRef="#br0" timeOffset="37611.97">13137 8260 0,'-18'0'16,"0"0"-16,18 17 0,0 35 31,0-33-15,18-2-16,-18 1 0,0-1 15,18 2 1,-18-2-16,0 0 0,-18-17 0,18 18 16,0-1-16,-18 2 0,0-2 15,1 0-15,0 1 16,-2-18-16,-33 18 0,35 0 0</inkml:trace>
  <inkml:trace contextRef="#ctx0" brushRef="#br0" timeOffset="38922.8">14671 6019 0,'88'-35'16,"-70"35"-16,-1 17 0,2 1 15,-19 0-15,17 17 0,-17-18 0,0 37 16,-36 70-16,1 34 16,-1-87-16,19 17 0,-35 71 15,16-18-15,19-89 16,17 1-16,-18-18 0,18 1 16,18-1-16,-18 1 0,0-2 15,17-15-15,0 16 0,2-18 0,-2 0 16,18 2-16,1-2 15,-19-17-15,18 0 0,-16 0 16,33 0-16,-52-17 0,18 17 16,0 0-16,-1 0 15,0 17-15,1 1 0,-18-1 16,18 19-16,-18 17 0,18 17 0,-18 19 16,17-1-16,0 0 0,2 17 15,-2 37-15,54 123 0,-19-125 16,55 108-16,-54-125 15,52 142-15,-51-160 16,-20 19-16,1-18 0,-16-18 0,-2 106 16,-34-18-16,-19-88 15,18-17-15,1 17 0</inkml:trace>
  <inkml:trace contextRef="#ctx0" brushRef="#br0" timeOffset="40735.94">20051 5472 0,'-36'19'0,"19"-2"0,0 0 0,17 1 16,-18 18-16,0-19 0,18 0 15,-18 54-15,18-54 0,0 2 16,0 33-16,18-35 0,-18 2 16,18-2-16,-18 1 0,18-1 15,-1-17-15,-17 19 0,17-19 0,1 0 16,0 0-16,0 0 0,-1 0 15,0-19-15,2 2 16,-2-1-16,-17 1 0,18-2 16,-18 2-16,0 0 0,0-18 15,0-1-15,-18 1 16,18 17-16,0 0 0,-17 1 0,17 0 16,-19 17-16,19-19 15,-34 19-15</inkml:trace>
  <inkml:trace contextRef="#ctx0" brushRef="#br0" timeOffset="40939.72">20581 5596 0,'17'-17'0,"0"17"16,1 0-16,-1 0 15,19 0 1,-1 0-16</inkml:trace>
  <inkml:trace contextRef="#ctx0" brushRef="#br0" timeOffset="41311.62">21074 5401 0,'17'0'16,"1"0"-1,-18 19 1,-18 16 0,18-18-1,0 19-15,0-19 16,0 1-16,0-1 15,0 2-15,0-2 0,0 0 16,0 1-16,0 0 0,-17 0 16,17-1-16,-17 0 0,-1 2 15,0-19-15,0 17 16,18 1-16,-17-18 0</inkml:trace>
  <inkml:trace contextRef="#ctx0" brushRef="#br0" timeOffset="43244.75">19998 6513 0,'35'0'0,"1"0"16,-19 18 15,-34-1-15,-1 2 15,18-2-15,0 0-1,18 1 1,-1-18 0,0 17-16,2-17 15,-2 19 1,1-19 15,-18 17-15,0-53 62,0 1-47,-18 18-31,18 0 16,0-2-1,-36 38 32,2 15-31,-2-16-16,36-1 15,-18 2-15,18-2 0,-17-17 0,0 35 16,17-17 0,0 0-16,0-1 15,17-17-15,0 0 16,1 0-16,18 0 16,-19-17-1,0 17-15,2 0 0,-2-18 0,1 18 16,-18-18-16,36 0 0,-36 1 15,17 17-15,-17-17 16,17 17-16,-17-19 16,0 55 15,0-19-31,0 1 0,0 0 16,0 0-16,-17-1 15,17 18-15,0-17 0,0 0 16,17-1-16,-17 0 0</inkml:trace>
  <inkml:trace contextRef="#ctx0" brushRef="#br0" timeOffset="43450.14">20633 6725 0,'70'-18'16,"-52"0"-16,0 18 16,0 0-16</inkml:trace>
  <inkml:trace contextRef="#ctx0" brushRef="#br0" timeOffset="44158.9">21091 6531 0,'36'0'94,"-36"17"-94,0 2 15,0-2 1,0 0-16,0 1 16,-18-1-16,18 2 0,0-2 15,-18-17-15,18 35 0,-17-17 16,17 0-16,0-1 0,-17 0 0,17 1 15,0 0-15,0 0 16,17-18-16,-17 17 0,17-17 16,1 0-16,0 0 15,0 0-15,-1 0 0,-17-17 16,17 17-16,2-18 16,-2 18-16,-17-18 15,-17 0 1,-2 18-1,2 0-15,0 0 16,-1-17-16,0 17 16</inkml:trace>
  <inkml:trace contextRef="#ctx0" brushRef="#br0" timeOffset="49889.66">2623 13392 0,'0'17'0,"18"-17"16,0 0-1,0 0-15,16 0 16,-15 0-16,-2 0 0,18 0 16,1 0-16,16 0 0,1 0 15,-17 0-15,70 0 16,-36 0-16,-16 0 0,16 0 16,-18 19-16,90-19 0,-72 0 15,1 0-15,17 17 0,88-17 16,19 0-16,-107 0 15,105 0-15,19 18 16,-88-18-16,88 0 16,-107 0-16,1 0 0,18 0 15,-19 0-15,2 0 0,-2 0 0,19 17 16,-19-17-16,1 0 0,0 19 0,106-19 16,-106 17-16,-1-17 0,-17 17 15,19-17-15,86 18 16,-104-1-16,87 2 15,-88-19-15,18 17 0,-18-17 16,89 17-16,-89 1 0,0-18 16,88 18-16,-17 0 0,-89-1 15,72 0-15,-1 2 16,-53-19-16,53 17 16,1 1-16,-54-1 15,-18-17-15,1 17 0,0-17 16,17 19-16,53-2 0,-70-17 15,-2 0-15,-16 18 0,18-18 16,70 17-16,-87-17 0,16 19 16,0-19-16,-17 17 0,18-17 15,123 17-15,-54 1 16,-86-18-16,16 18 0,1-18 16,53 18-16,16-18 15,-69 17-15,70-17 16,0 17-16,1 1 15,-72-18-15,1 18 0,0-18 16,-2 18-16,108-1 0,-18-17 16,-88 17-16,34-17 15,-34 19-15,-1-19 0,18 17 16,-17-17-16,124 18 0,-107-18 16,88 17-16,-88 2 0,0-19 15,194 17 1,-194 0-16,18-17 0,88 18 15,0-18-15,-105 17 0,-1-17 16,105 0-16,-86 0 16,-19 19-16,17-19 0,-17 0 0,0 0 15,90 0-15,-73 0 0,-17 0 16,-17 0-16,35 0 16,88 0-16,-106 0 0,-18 0 0,18 0 15,54-19-15,16 19 16,-87 0-16,17-17 15,-17 17-15,-1 0 0,72-18 16,-18 1-16,-55 0 0,2 17 16,-18-19-16,18 19 0,-18-17 15,70-1-15,-53 1 0,-16 17 16,16-19-16,72 2 0,-90 0 16,18 17-16,54-36 15,-1 18-15,18-16 16,-87 34-16,87-36 0,-89 18 15,89 1 1,-87 0-16,16-2 0,-16 2 0,-2-1 16,72-18-16,-19 2 15,-69 16-15,16 1 0,89-36 16,-34 35 0,-19-18-16,-53 19 0,18 0 15,18-19 1,-37 18-16,90-52 0,-53 35 15,0-18 1,-37 35-16,20-18 0,-37 19 16,36-36-16,-35 35 15,52-52-15,-16 18 16,-37 16-16,18-18 16,-17 37-16,17-36 15,0 1-15,1-2 16,-19 20-16,-17-2 15,17-16-15,-17 16 16,0-18-16,-17 2 16,0 16-16,-1 2 0,18 16 15,-36-18-15,-34-69 16,35 69-16,-18-16 0,-18-1 16,36 17-1,-1 18-15,-52-52 0,54 52 16,-73-35-16,2 1 15,-19-19-15,18 35 16,-106-52-16,90 35 16,51 18-16,-88-18 15,89 36 1,-1-18-16,-229-89 16,212 107-16,-124-71 15,124 52-15,-53-18 16,-18 20-16,18-20 15,-1 20-15,20-2 16,51 1-16,-88 0 16,35-1-16,2 2 15,51 15-15,-36-16 0,55-1 16,-18 19-16,-37-18 16,-16-1-16,70 19 15,-18 0-15,-53-1 0,72 0 16,-1 0-16,-18 1 0,18 0 15,-70-2-15,70 2 16,-18-1-16,-51 1 0,68 0 16,-70-2-16,-16 2 15,87-1-15,-71 1 0,-17-2 16,-53-15 0,124 34-16,-1 0 15,-53-18-15,-16 0 16,69 18-16,-70-18 0,70 18 0,18 0 15,-18-17-15,-69 17 16,70 0-16,-1 0 0,-70-17 16,-1 17-16,72 0 15,-1 0-15,18-18 16,-17 18-16,-71 0 0,70 0 16,1 0-16,-1 0 0,0 0 0,-17 0 0,18 0 15,-1 0-15,-70 0 16,70 0-16,0 0 0,-17 0 0,18 0 15,-18 0-15,17 0 0,-88 0 16,71 0-16,18 0 0,-1 0 16,-17 0-16,-71 0 15,89 0-15,-124 18 0,17-18 16,106 0-16,-17 17 16,0-17-16,18 0 0,-124 17 15,0-17-15,88 0 0,36 0 16,-18 18-16,0-18 15,-248 18-15,265-18 16,0 0-16,-17 18 0,18-18 16,-36 0-16,36 0 0,-89 17 15,71 0-15,-177 2 16,194-19-16,-105 17 16,35 1-16,89-18 15,-90 17-15,72-17 0,-54 19 16,1-2-16,52-17 15,18 0-15,-18 0 0,1 17 16,-53-17-16,-1 18 16,19-18-16,69 0 0,-16 17 15,-2-17-15,-70 0 16,72 19-16,-1-19 0,0 0 16,-1 0-16,2 17 0,-54-17 15,54 0-15,-36 17 0,17-17 16,18 18-16,-1-18 0,-51 18 15,52-18-15,1 0 16,-19 18-16,35-18 0,-35 0 0,-34 17 16,17 0-16,0-17 15,35 19-15,17-19 0,-16 17 16,16-17-16,-16 0 16,-2 18-16,1-18 0,1 0 0,-19 17 15,-18 0-15,37 2 16,16-19-16,-16 0 0,16 17 15,-35 1-15,19-18 0,16 0 0,2 17 16,-54 2-16,52-19 16,1 17-16,-36 0 15,1-17-15,34 18 0,-16 0 16,16-18-16,1 0 16,-36 18-16,35-1 15,2-17-15,16 17 16,-35-17-16,36 18 0,-1-18 15,-18 0-15,19 18 0,0-18 16,-37 18-16,18-1 0,-16 0 16,16-17-16,-34 19 15,-1-2-15,36 1 0,1-18 16,-2 17-16,-35 0 16,36-17-16,-1 19 0,2-19 15,-20 17-15,20 1 0,-54 18 16,52-36-16,1 17 15,16 0-15,-51 1 16,52 0-16,-34 0 0,34-1 16,-17 0-16,-18 1 0,18 18 15,-1-19-15,19-17 16,-18 17-16,-18 19 0,-18-1 16,18 1-1,35-36-15,-16 17 16,15 1-16,-33 18 0,33-19 15,-33 18-15,35-17 0,-19 0 16,1 16-16,17-16 16,0-18-16,1 18 0,-36 17 15,18 1-15,-1 16 16,19-33-16,-1-2 0,1 0 0,17 1 16,-36 18-16,19-19 15,-1 0-15,0 19 0,18-1 16,-18-18-16,1 19 0,0-18 15,17-1-15,-18 0 0,18 2 16,-18 33-16,0-33 16,18-2-16,-17 18 0,0-17 0,17 0 15,-19-1 1,2 18-16,17-17 0,-18 0 16,18-1-16,0 0 0,-17 19 15,17-18-15,0-1 16,0 2-16,0-2 0,0 18 15,0 1-15,0-19 16,0 0-16,0 1 0,0 0 16,17 34-1,-17-34-15,0 0 0,18 0 0,-18 16 16,17-34-16,-17 19 0,19-2 16,-19 1-16,17-1 0,0 19 15,19-1-15,-18-18 16,-1 2-16,0-2 15,19 18-15,-1-17 16,-18 0-16,54 35 16,-52-36-16,15 1 0,-16-18 15,52 34-15,-34-15 16,-18-2-16,70 1 0,-54-1 0,37 19 16,-35-19-16,-1-17 15,1 18-15,16-1 0,-16 2 16,34-2-16,-35 0 0,1 1 15,69 0-15,1 17 16,-53-35-16,0 0 0,70 17 16,-52-17-16,70 0 15,-70 0-15,-1 0 0,1 0 0,0 0 16,-1 0-16,1 0 16,0 0-16,-1 0 0,0 0 0,107 19 15,-142-19-15,1 17 16,34-17-16,-52 0 15,-1 18-15,18-18 0</inkml:trace>
</inkml:ink>
</file>

<file path=ppt/ink/ink23.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18:03.231"/>
    </inkml:context>
    <inkml:brush xml:id="br0">
      <inkml:brushProperty name="width" value="0.05292" units="cm"/>
      <inkml:brushProperty name="height" value="0.05292" units="cm"/>
      <inkml:brushProperty name="color" value="#0070C0"/>
    </inkml:brush>
  </inkml:definitions>
  <inkml:trace contextRef="#ctx0" brushRef="#br0">781 4171 0,'34'0'47,"37"0"-32,-35 0-15,-1 0 0,18 19 0,-18-19 16,18 0-16,0-19 0,18 19 16,0 0-16,17 0 0,0 0 0,17 0 15,-17 0-15,19-17 0,-19 17 0,17 0 16,2 0-16,-2-17 0,0 17 15,19 0-15,-18 0 0,0 0 16,17-18-16,-16 18 0,-2 0 0,2 0 0,-2 0 16,107 0-1,-36 18-15,-105-18 0,17 0 16,-18 0-16,1 0 0,88 0 16,-89 0-16,1 0 0,0 0 15,-19 0-15,18 0 0,72 0 16,-89 0-16,18 0 0,-19 0 15,18 0-15,-16 0 0,-1 0 0,18 0 16,-19 0-16,1 0 0,18 0 0,-18-18 16,-1 18-16,1 0 0,18 0 15,-18 0-15,-1 0 0,19-18 0,-18 18 16,18 0-16,-19 0 0,19-18 16,-18 18-16,71 0 0,-72 0 15,1 0-15,1 0 0,-20 0 16,20 0-16,-20 0 0,37 0 0,-18 0 15,-18 0-15,18 0 0,1 0 16,-2 0-16,72 0 0,-54 0 16,72 0-16,-89 0 0,16 0 15,2 0-15,0 18 0,-18-18 16,18 0-16,-1-18 0,1 18 0,-19 0 16,37 0-16,51 0 15,-69 0-15,0 0 0,-18 0 16,88 0-16,-89 0 0,72 0 15,-70 0-15,-2 0 0,-16 0 16,17 0-16,-1 0 0,-16 0 0,16 0 16,-16 0-16,17 0 0,-18 0 15,18-17-15,-18 17 0,18 0 16,-18 0-16,1 0 0,16 0 0,-16 0 16,17 0-16,-18-17 0,0 17 15,18 0-15,18 0 0,-35 0 16,16-19-16,-16 19 0,-2 0 0,2 0 15,16-17-15,36 17 0,-52-18 16,-1 18-16,18 0 0,-18 0 16,1-17-16,-1 17 0,1 0 15,-2-17-15,37 17 0,-18-19 16,-18 19-16,-16-17 0,15 17 16,-16-18-16,18 18 15,-19-17-15,0-2 0,37-15 0,-37 16 16,19 0-16,-19 0 0,1 1 15,-1 0-15,2-1 0,15-35 16,-16 36-16,-1-37 16,2 20-16,-19 15 0,0-16 0,0 18 15,0-36-15,0 35 16,-36-35-16,18 0 0,-16 18 16,15-1-16,-16 1 15,-1 18-15,-52-36 0,54 18 16,-20 16-16,1 2 0,-106-36 15,89 35-15,-18-16 0,0 15 16,0 2-16,17-1 0,-17 1 0,-17 17 16,-143-53-1,160 35-15,0 18 0,0-17 0,0-2 16,-90 2-16,73 17 16,-71-17-16,69-1 0,19 18 15,18-18-15,-1 18 0,2-18 0,-21 18 16,2-17-16,-17 17 0,17 0 15,0-17-15,-19 17 0,19-18 16,18 18-16,-89-18 0,88 18 0,1 0 16,-18 0-16,17 0 0,-88-18 15,89 18-15,-18 0 16,17 0-16,0 0 0,1 0 16,-18 0-16,-54 0 0,72 0 0,-1 0 15,2 0-15,-2 0 0,-53 0 16,53 0-16,18 0 15,1 0-15,-19 0 0,18 0 0,-70 18 16,70-18-16,-18 0 16,18 0-16,-18 0 0,1 0 0,18 0 15,-55 0-15,55 18 0,16-18 16,-16 0-16,-1 0 0,17 0 16,-16 0-16,16 0 0,-70 0 15,70 0-15,-16 0 0,16 0 0,-16 0 16,-142 18-1,140-18-15,20 0 0,-20 0 16,2 0-16,16 17 0,-17-17 16,18 0-16,-1 0 0,-16 0 15,16 0-15,-16 17 0,-1-17 0,-52 0 16,34 18-16,18-18 16,-1 0-16,2 0 0,16 18 0,-69-18 15,52 18-15,-1-18 16,2 17-16,16-17 0,-69 17 15,69 2-15,1-19 0,-70 17 16,16 1-16,37-1 0,-19 2 16,18-19-16,18 17 15,-1-17-15,1 0 0,-1 17 0,-34-17 16,18 18 0,16-18-16,1 17 0,18-17 15,-19 0-15,1 0 0,-18 19 0,35-19 16,-18 0-16,2 0 0,16 17 15,-18-17-15,2 0 0,15 0 16,-16 17-16,-35-17 0,-18 18 16,17 0-1,54 0-15,-19-18 0,1 0 16,-36 34-16,35-34 0,19 19 16,-18-19-16,-1 17 0,2 1 15,16-1-15,-71 19 0,20 16 16,33-16-16,-35 35 15,0-1-15,19 18 16,34-53-16,0 18 16,-16 35-16,15 18 15,19-70-15,0-2 0,36 56 16,17 15-16,-1-52 16,19-18-16,0 1 0,-1 16 0,142 1 15,52 1-15,-105-37 16,18 0-16,-1-17 0,195 0 15</inkml:trace>
  <inkml:trace contextRef="#ctx0" brushRef="#br0" timeOffset="1441.63">10165 3554 0,'-18'0'0,"0"0"15,36 19-15,0-2 16,16-17-16,56 17 15,-38 1-15,18-18 16,1 17-16,124 2 16,15-2-16,56-17 0,-144 17 15,20-17-15,34 0 16,194 18-16,-192-18 0,227 18 16,-193-18-16,-1 18 0,1-18 15,17 17-15,230 0 0,-213 1 16,1-18-16,-18 18 0,19 0 0,-1-1 15,229 19-15,-229-19 16,229 18-16,-228 1 0,-19-19 16,247 18-16,-229 1 15,-18-19-15,0 1 0,247 35 16,-246-36-16,-1 2 0,0 16 16,247 18-16,-246-18 0,228 18 15,-228-18-15,211 18 16,-212-36-16,1 19 0,192 16 15,-210-33-15,18-2 0,-36 18 16,17-18-16,177 37 16,-193-37-16,175 36 0,-176-35 15,176 35-15,-194-36 16,-17 19-16,18-18 0,17-1 0,-36 19 16,20-19-16,-20 1 0,177 18 15,-176-19-15,-18 18 0,0-18 16,-18 2-16,160 15 0,-1 2 15,-159-18-15,1-18 16,0 17-16,-19 0 0,19 2 16,-18-2-16,16-17 0,-15 18 0,-2-1 0,107 0 15,-124 2-15,88-2 16,-105-17-16,53 18 16,-53-1-16,34 2 15,-52-19-15,1 17 0,-20-17 0,2 0 16,-1 17-16,-18-17 0,1 0 15,35 18-15,-36-18 16,2 0-16,-19 17 0,0 2 16,0-2-16,0 0 15,0 1-15,-19 18 0,2-2 16,-36 54-16,35-34 0,-16 16 0,-37 54 16,54-72-16,-54 72 15,35-53-15,-35 52 16,37-53-16,-54 108 15,52-126-15,18-16 16,-16 17-16,-2 35 0,18-36 16,-35 37-16,36-37 15,17-34-15,-18 18 16,0-36-16,18 34 16,-18-15-16,18-2 15,0 1-15,18-36 63,-18 1-48,18-2 1</inkml:trace>
  <inkml:trace contextRef="#ctx0" brushRef="#br0" timeOffset="1859.25">28121 6765 0,'0'-18'16,"17"53"15,-17 18-15,-17-18 0,17-16-16,0 15 0,-18-16 0,18 18 0,-17-19 15,0 36-15,-2-1 16,19-33-16,0-2 0,-17 1 15,34 16 1,2-34-16,-2 0 16,0 0-16,18 0 15,1 0-15,17-17 0,-1 0 0,90-18 16,-72 16-16,89-15 0,-71 16 16,71-18-16,-106 19 15,18 0-15,70-54 16</inkml:trace>
  <inkml:trace contextRef="#ctx0" brushRef="#br0" timeOffset="10006.62">3462 6306 0,'17'0'0,"1"0"16,0 0-16,17 0 0,0 0 15,-17 0 1,17-17-16,-18 17 0,19 0 0,-1 0 0,53 0 16,-35-18-16,18 18 0,-18 0 15,18 0-15,122-18 16,-122 0-16,0 18 0,-18 0 16,18 0-16,-2-17 0,-16 17 0,18 0 15,-18 0-15,70 0 16,-70 0-16,1 0 15,-2 0-15,54 0 0,-52 0 16,-20 0-16,20 0 0,-2 0 16,-16 0-16,17 0 0,-18 0 0,35-17 15,-16 17-15,68 0 16,-68-19-16,-1 19 0,-1 0 0,1 0 16,106-17-1,-124 17-15,18 0 0,0-18 16,18 18-16,-19 0 0,-16 0 0,35 0 0,-19-17 15,18 17-15,-16 0 0,16 0 16,-16 0-16,-2 0 0,18-19 16,1 19-16,-18 0 0,1 0 0,-2 0 15,18 0-15,-16-17 0,-20 17 0,20 0 16,-1 0-16,-1 0 0,19 0 16,-18 0-16,18-17 0,-18 17 0,18 0 15,-19 0-15,1 0 0,0 0 16,-1-18-16,2 18 0,-1 0 0,18 0 15,-37 0-15,54-17 0,-34 17 16,-20 0-16,2 0 0,16 0 16,-16 0-16,-1 0 0,1 0 0,-1 0 15,18 0-15,-18 0 0,1 0 16,17 0-16,-18 0 0,1 0 0,-2 0 16,1 0-16,1 0 0,-1 0 15,1 0-15,16 0 0,-16 0 0,52 17 16,-52-17-16,-2 0 15,20 0-15,-20 0 0,2 0 16,16 0-16,-16 0 0,-1 18 0,18-18 0,-18 0 16,18 0-16,-18 0 15,1 0-15,17 0 0,-18 0 0,36 0 16,-18 0-16,-18 17 0,1-17 0,-2 0 16,2 0-16,-1 0 15,53 0-15,-52 17 0,16-17 0,-16 0 16,-1 0-16,1 0 0,16 0 15,-16 19-15,-2-19 0,2 0 16,-1 0-16,1 0 0,-1 0 0,1 17 16,-19-17-16,18 0 0,1 0 0,-2 0 15,2 0-15,16 0 0,-16 18 16,-1-18-16,1 0 0,-1 0 0,18 0 16,-18 0-16,1 0 0,16 17 15,-16-17-15,17 0 0,-18 0 16,18 0-16,-18 0 0,18 19 0,-18-19 15,53 0-15,-52 0 16,17 0-16,-18 0 0,18 17 0,-18-17 16,18 0-16,0 0 0,-18 0 0,36 0 15,-18 0-15,-1 0 0,1 0 16,-17 0-16,16 17 0,2-17 0,-20 0 16,2 0-16,16 0 0,-16 0 0,18 0 15,-20 0-15,20 0 0,-20 0 16,20 0-16,-20 0 0,20 0 15,-18 0-15,52 0 0,-36 0 0,1 18 16,-18-18-16,18 0 16,-17 0-16,16 0 0,1 0 0,-18 0 0,18 0 15,-17 0-15,16 0 0,19 0 16,-18 0-16,-18 0 16,18 0-16,-17 0 0,-1 0 0,18 0 15,-18 0-15,1 0 0,16 0 0,-16 0 16,-1 0-16,1 0 0,34 0 15,-18 0-15,-16 0 16,-1 0-16,1 0 0,-1 0 0,1 0 16,-2 0-16,1 0 0,1 0 0,-1 0 15,35 0-15,-34 0 0,-1 0 16,1 18-16,-1-18 0,-18 0 0,19 0 16,-1 0-16,-18 0 15,19 0-15,-19 18 0,19-18 0,-1 0 16,18 0-16,-18 0 0,-18 0 15,19 0-15,-1 17 16,1-17-16,-1 0 0,-17 0 0,17 0 0,0 0 16,1 0-16,-2 0 0,2 0 0,-18 0 15,18 0-15,-19 0 0,18 0 16,-18 0-16,36 0 16,-17 0-16,-18 0 0,16 0 0,-15 0 15,16 0-15,-18 0 0,19 0 16,-19-17-16,18 17 0,1 0 0,-19 0 15,37-18-15,-20 18 0,-16 0 16,18 0-16,-19 0 16,0 0-16,2 0 0,16 0 0,-18-18 0,0 18 15,2 0-15,16 0 0,-18 0 16,2 0-16,33 0 16,-34 0-16,0 0 0,16 0 0,-16 0 0,0 0 15,0 0-15,16 0 0,2-18 16,-18 18-16,16 0 0,-15 0 15,-2 0-15,18 0 0,-16 0 16,15 0-16,-16 0 0,0 0 0,17 0 16,-18-17-16,19 17 0,-18 0 15,-1 0-15,0 0 0,2 0 0,-2 0 16,1 0-16,-1 0 0,2-17 0,-2 17 16,0-19-1,-17 2 1</inkml:trace>
  <inkml:trace contextRef="#ctx0" brushRef="#br0" timeOffset="11385.18">28138 1719 0,'19'36'16,"-19"-18"0,0-1-16,0 2 0,0-2 0,0 18 15,17-17-15,-17 17 0,0-18 0,0 37 16,0-20-16,0-15 16,17-2-16,-17 1 0,0-1 0,0 19 15,0-1-15,0-18 16</inkml:trace>
  <inkml:trace contextRef="#ctx0" brushRef="#br0" timeOffset="11687.3">28103 1719 0,'0'-17'16,"0"34"-16,18-34 0,-1 17 15,2 0 1,-2 0-16,-17 17 0,17-17 0,19 19 15,-18-19-15,16 17 16,-16 1 0,0-18-16,0 0 0,-1 0 15</inkml:trace>
  <inkml:trace contextRef="#ctx0" brushRef="#br0" timeOffset="11905.86">28562 1597 0,'-36'34'31,"36"-15"-31,-17-2 0,17 1 16,-18-1-16,18 0 0,-17 2 0,17 16 15,-17-18-15,-2 2 0,19-2 16,-17 0-16,17 1 0,0 0 0,-18 0 15,18-1-15,0 0 16</inkml:trace>
  <inkml:trace contextRef="#ctx0" brushRef="#br0" timeOffset="12113.04">28579 1597 0,'0'34'16,"0"-15"-16,0-2 0,0 1 0,0 16 0,0-15 15,0 16-15,0 1 0,0 34 16,0-52-16,18 34 0,-18-16 16,0-19-16,18 19 0,-18-1 15,18-18 1</inkml:trace>
  <inkml:trace contextRef="#ctx0" brushRef="#br0" timeOffset="12493.85">28915 1879 0,'0'-36'0,"0"72"0,0-89 16,0 36-16,-18-2 15,18 2-15,0-1 0,-35 36 31,35-1-15,0 2-16,-17 15 16,-2-16-16,19 0 15,0 0-15,0-1 0,0 0 0,0 1 16,19 0-16,-19 0 0,17-18 16,18 17-16,-17-17 15,17 0-15,-18 0 16</inkml:trace>
  <inkml:trace contextRef="#ctx0" brushRef="#br0" timeOffset="13207.97">29267 1738 0,'-17'0'16,"-19"0"-1,1 17 1,35 1 0,-17-1-16,17 2 15,0-2-15,0 0 16,17 19 0,1-18-1,-1-36 1,2 0 15,-2 18-31,-17-18 0,17 1 16,-17 0-16,18-2 15,-18 2 1,0-1 0,18 36 30,-18-1-30,0 2 0,18-2-1,-1 0 1,0-17 0,1-17-1,0 0 16,0 17-31,-1-19 16,0 38 15,2-19-31,-19 17 16,17-17 0,-17 17-1,18-17-15,-1 0 16,2-17-1,-2 17 1,0-17-16,1 17 16,-18-19-1,17 19 1</inkml:trace>
  <inkml:trace contextRef="#ctx0" brushRef="#br0" timeOffset="13762.26">30061 1702 0,'36'-17'32,"-19"17"-32,0 0 15,2 0-15,-2-18 0,1 18 16,16 0-16,-15-17 0</inkml:trace>
  <inkml:trace contextRef="#ctx0" brushRef="#br0" timeOffset="14152.04">30202 1455 0,'88'35'15,"-69"-16"1,-2-2-16,0-17 0,1 17 16,0 1-16,0 0 0,-1 0 0,0-1 15,-17 0-15,18 19 0,-18-18 0,-18 16 16,1 20-16,0-1 0,-19 18 15,-16-1-15,-2 1 0,1-19 0</inkml:trace>
  <inkml:trace contextRef="#ctx0" brushRef="#br0" timeOffset="57345.15">31049 1438 0,'36'0'78,"-19"0"-62,0-17 0,1-2-16,0 19 15,0-17-15,-1 17 16,-52 17 31,-1 2-32,19-2-15,0-17 0,-2 17 16,2-17-16,17 18 0,-18-18 0,1 17 16,0-17-16,-2 19 0,2-2 15,-1-17 1,18 17-16,-17-17 0,17 18 16,17 0-1,1 0 1,-1-18-16,2 0 0,-19 17 0,17-17 15,0 17-15,37 2 16,-37-2 0,18 1-16,-35-1 15,0 19 1,0-19-16,-35 18 16,18-16-1,-2-2-15,2-17 0,-1 17 0,1 1 16,0-18-16,-2 18 0,2-18 0,-1 18 15,1-18-15,-2 17 16</inkml:trace>
  <inkml:trace contextRef="#ctx0" brushRef="#br0" timeOffset="63429.44">31455 1385 0,'70'-18'0,"-70"36"0,18-18 16,-18 17 0,0 2-16,-18 15 15,18-16 1,-18-18-16,18 17 0,-17 2 0,17-2 15,-17-17-15,17 17 16,-18-17 0,36 18-1,-1-18 1,0 0-16,19 0 16,-18 18-16,-1-18 15,0 0-15,2 18 16,-2-1-16,1 0 15,-18 2 1,17-2 0,-34 1-16,17-1 0,-18 0 15,1 2-15,-2-2 16,2 1-16,0-18 0,17 17 16,-18-17-16,18 19 0,-18-19 15</inkml:trace>
  <inkml:trace contextRef="#ctx0" brushRef="#br0" timeOffset="64662.29">31207 2038 0,'36'-19'31,"-18"19"-31,52-34 16,-35 16-16,36 0 16,-18 0-16,-18 18 0,1-17 15,-2 17-15,-15-17 0,16 17 0,-18 0 16,0-18-16,2 18 0</inkml:trace>
  <inkml:trace contextRef="#ctx0" brushRef="#br0" timeOffset="64842.81">31295 2126 0,'54'-19'0,"-1"2"15,0 0-15,-1-1 0,2 1 16,-1-2-16,106-33 15</inkml:trace>
  <inkml:trace contextRef="#ctx0" brushRef="#br0" timeOffset="72519.03">15967 5177 0,'36'0'31,"-18"0"-31,-1 0 16,71 0-16,-52-18 16,-1 18-16,1 0 0,16 0 15,18 0-15,-16 0 0,-20-17 16,2 17-16,-1 0 0,-16 0 15,15 0-15,54 0 16,-70 0-16,0 0 0,0 0 0,-1 0 16,0 0-16</inkml:trace>
  <inkml:trace contextRef="#ctx0" brushRef="#br0" timeOffset="72811.09">16391 5318 0,'18'0'0,"16"0"16,20 0-1,-18 0-15,52-17 16,-54 17-16,2 0 0,-1-18 15,1 18-15,-1 0 0,1 0 16,33-17-16,-50 17 16,-2 0-16,18 0 0,-17 0 15,0-19-15,-1 19 16,0 0-16</inkml:trace>
  <inkml:trace contextRef="#ctx0" brushRef="#br0" timeOffset="80013.28">1998 7629 0,'-36'0'0,"19"17"32,53-17-1,34 0-15,-35 0-16,18 0 0,-1 0 15,19 0-15,0 0 0,35-17 0,-18-1 16,0 18-16,18-17 0,0 0 0,0 17 15,228-36 1,-227 18-16,-2 18 0,1-17 16,18 17-16,-19 0 0,90-19 15,-90 2-15,-17 17 0,1 0 16,-18-17-16,-2 17 0,-15 0 0,-1-18 16,-1 18-16,-16 0 0,35 0 15,-54 0-15,0 0 16,37 0-1,-37 0-15,0 0 16</inkml:trace>
  <inkml:trace contextRef="#ctx0" brushRef="#br0" timeOffset="81083.7">9830 7699 0,'35'18'15,"35"-18"1,-35 0-16,1 18 0,35-18 0,-1 0 15,1 0-15,-19 0 0,19 0 16,-1-18-16,1 18 0,0 0 0,-1 0 16,-16 0-16,-2 0 0,-16-18 15,-2 18-15,2 0 0,-1 0 0,1 0 16,-19-17-16,1 17 0,-1 0 0,0 0 16,2 0-16,-2 0 0</inkml:trace>
  <inkml:trace contextRef="#ctx0" brushRef="#br0" timeOffset="82962.92">17643 8353 0,'0'-19'15,"0"55"1,18-1-1,-18-17-15,0 0 0,0-1 0,0 0 0,18 37 16,-18-37-16,0 0 16,0 2-16,18-2 0,-18 1 15,0-1-15,0 2 0,17-2 16,0 0-16,1-17 16</inkml:trace>
  <inkml:trace contextRef="#ctx0" brushRef="#br0" timeOffset="83573.56">17997 8317 0,'52'17'0,"-34"-17"0,-18 19 0,0-2 16,0 0-16,0 1 16,0 0-16,-18 0 0,18-1 15,-18 0-15,18 1 0,-17-18 0,17 18 16,0 0-16,-17-18 0,17 17 15,-19 0-15,38 2 32,-2-19-17,0 0-15,1 0 16,35-19 0</inkml:trace>
  <inkml:trace contextRef="#ctx0" brushRef="#br0" timeOffset="83724.46">18314 8263 0</inkml:trace>
  <inkml:trace contextRef="#ctx0" brushRef="#br0" timeOffset="83844.73">18331 8546 0,'-17'17'15</inkml:trace>
  <inkml:trace contextRef="#ctx0" brushRef="#br0" timeOffset="84354.84">18614 8229 0,'17'-18'0,"1"36"16,-1-18-16,-17 17 0,0 19 15,-17-19 1,17 1 0,0-1-1,0 2-15,17-19 16,-17 17-1,19 0-15,-2 1 16,-17 0 0,0 0-1,-17-1 1,17 0 0</inkml:trace>
  <inkml:trace contextRef="#ctx0" brushRef="#br0" timeOffset="84646.35">18861 8229 0,'0'0'16,"-18"53"15,18-36-15,0 1-16,18-18 15,-18 17-15,17-17 0,-17 19 16,17-19-16,2 0 0,-2 0 16,18-19-1,-16 2-15,-19-1 32,0 1-32,-19-2 15,2 19-15,-1-17 16,1 17-16,-2 0 15,2 0 1</inkml:trace>
  <inkml:trace contextRef="#ctx0" brushRef="#br0" timeOffset="85274.22">19849 8334 0,'70'-17'0,"-52"17"0,-1 0 16,0 0-16,19-18 15,-18 18-15,-1 0 0,0-17 0,2 17 16,-2 0-16,1 0 0,-1-19 15,2 19-15,-2-17 16</inkml:trace>
  <inkml:trace contextRef="#ctx0" brushRef="#br0" timeOffset="85492.84">20166 8105 0,'17'0'15,"1"0"-15,0 0 16,17 18-16,-18 0 16,1-18-16,-18 17 15,18 36 1,0-35-16,-18-1 0,0 36 16,0-35-16,0-1 15,0 2 1,0-2-16</inkml:trace>
  <inkml:trace contextRef="#ctx0" brushRef="#br0" timeOffset="85797.97">20942 7911 0,'0'0'0,"17"18"0,-17-1 16,18 2-16,-18-2 0,0 0 15,18 37 1,-18-37-16,0 0 0,0 1 0,0 0 15,0 0 1,0-1-16,0 0 16,18-17-16,-18 19 15</inkml:trace>
  <inkml:trace contextRef="#ctx0" brushRef="#br0" timeOffset="86214.95">21225 7999 0,'0'-17'0</inkml:trace>
  <inkml:trace contextRef="#ctx0" brushRef="#br0" timeOffset="86367.07">21225 8158 0,'0'0'15,"0"17"-15</inkml:trace>
  <inkml:trace contextRef="#ctx0" brushRef="#br0" timeOffset="86934.48">21506 7841 0,'-35'53'15,"70"-106"-15,-70 123 16,35-52-16,0-1 0,0 2 15,0 15 1,18-34-16,-18 18 0,17-18 0,-17 17 16,17-17-16,2 0 0,-2 0 15,18 0 1,-16 0-16,-2-17 0,0 17 16,1-35-1,-18 18-15,0-2 16,-18-16-16,18 18 15,0-2-15,-17 19 0,17-17 0,-17 17 16,-2-17-16,2 17 16,-18 0-1,16 0-15</inkml:trace>
  <inkml:trace contextRef="#ctx0" brushRef="#br0" timeOffset="87226.39">21753 7805 0,'36'70'0,"-2"-34"16,-15-18-1,-2-18-15,1 17 0,-1-17 16,2 0-16,-2 0 0,18-17 15,-18 17-15,2-18 16,-2 1 0,-34-2-1,17 2-15,-19 0 0,-16-1 16,18 18-16,0 0 16,-2 0-1</inkml:trace>
  <inkml:trace contextRef="#ctx0" brushRef="#br0" timeOffset="87630.9">22635 7735 0,'106'-18'0,"-212"36"0,230-54 15,-106 36-15</inkml:trace>
  <inkml:trace contextRef="#ctx0" brushRef="#br0" timeOffset="88378.49">21506 8334 0,'53'19'0,"-35"-38"0,123 2 31,-70-1-31,-18 1 0,-1-2 16,1 2-16,142-54 15,-143 37-15,-16 16 0,-1 0 16,1 0-16,-19 1 0,0-19 16,1 19-16,-18-1 0,0-87 15,-35 16 1,18 54-16,-37-18 16,1 1-16,1-2 0,-19 20 0,1-2 15,-18 1-15,-2 16 0,-15 2 0,17 0 16,-36 17-16,-105 17 15,123 0-15,1 19 0,-2-1 0,-34 18 16,36 1-16,-1-2 0,17 1 0,20 18 16,15-18-16,1 18 0,-35 69 15,71-16-15,17-71 16,17-1-16,0 1 0,37 1 0,-1-2 16,35-16-16,0-19 0,17 19 15,2-19-15,16 1 0,1-18 16,-2 0-16,2-18 0,0 18 0,-1-17 15</inkml:trace>
  <inkml:trace contextRef="#ctx0" brushRef="#br0" timeOffset="89856.62">23006 7965 0,'-17'69'16,"17"-33"-16,0-19 0,0 37 16,-19-1-16,19-1 0,-35 19 0,18-1 15,-36 72-15,35-72 0,-18 18 16,2-17-16,-2 0 0,-16-1 16,16 1-16,-18 0 0,20-2 15,-20-16-15,-86 123 16,87-122-16,0-18 0,-1 16 0,-15-16 15,16 16-15,-18-16 0,18-2 16,-18 2-16,-34 16 0,51-16 16,20-18-16,-2-1 0,1-17 15,18 19-15,-2-19 0,2 0 0,-1 0 16,1 17-16,-2-34 16</inkml:trace>
  <inkml:trace contextRef="#ctx0" brushRef="#br0" timeOffset="90164.73">21506 9429 0,'-35'69'0,"18"-50"0,-36 86 15,35-52-15,0-18 16,18 18-16,-18-18 0,18 1 0,0-19 0,0 19 16,18-18-16,0 16 15,-18-16-15,35 0 0,-18 0 0,37-1 16,-20-17-16,2 0 0,-1 0 15,1 0-15,-1-17 0,18-1 16,0 18-16,-18-18 0,-18 18 0,2-18 16</inkml:trace>
  <inkml:trace contextRef="#ctx0" brushRef="#br0" timeOffset="90882.62">18755 10205 0,'18'70'16,"-1"-35"-16,-17-18 15,0 19-15,0-1 0,0 1 0,0-1 16,0 1-16,0 52 16,0-54-16,0-16 0,0 18 15,0-19-15,0 0 0,0 2 0,0-2 16,0 1-16,0-1 15,0 0-15</inkml:trace>
  <inkml:trace contextRef="#ctx0" brushRef="#br0" timeOffset="91072.82">19019 10363 0,'0'35'31</inkml:trace>
  <inkml:trace contextRef="#ctx0" brushRef="#br0" timeOffset="91212.05">19073 10663 0,'0'18'16</inkml:trace>
  <inkml:trace contextRef="#ctx0" brushRef="#br0" timeOffset="92048.88">19319 10257 0,'35'0'16,"-16"18"-16,-2 0 15,-17-1 1,17 0-16,-17 2 0,-17 16 16,17-18-1,0 0-15,0 2 0,-17-2 16,17 1-1,17-18-15,-17 17 16,17-17 0,1 0-16,-1 0 0,2 0 15,-2 19 1,0-19-16,-17 17 0,0 0 16,0 1-1,-17-1-15,17 2 16,-17-2-16,-2-17 0,2 17 0,17 1 15,-35 0-15,18-18 16,-2 18-16,2-18 16</inkml:trace>
  <inkml:trace contextRef="#ctx0" brushRef="#br0" timeOffset="92393.41">19495 10346 0,'18'52'32,"-18"-35"-32,36 19 15,-19-36-15,0 18 0,2-18 16,33 0-1,-35-18-15,2 18 16,-2 0-16,-17-17 0,18-2 16,-18-15-1,0 16-15,-18 1 0,18-2 16,-17 2-16,17 0 0,-19-1 16,-15 0-16,16 0 15,-35 36 1,36 0-16,-1 0 0,-18-1 15,2 0-15</inkml:trace>
  <inkml:trace contextRef="#ctx0" brushRef="#br0" timeOffset="92846.11">19143 11157 0,'106'-18'16,"-212"36"-16,246-53 16,-104 35-16,18-19 0,104-51 15,-106 35-15,2 0 0,16-1 16,-35 19-16,18-19 0,-18 1 16,18 18-16,-17-19 0,-1 1 15,1-1-15,-19 2 0,18-2 0,-18 1 16,-17 18-16,19-19 0,-19 1 0,0-1 15,0-16-15,-19-19 0,2 18 16,0-18-16,-89-122 16,70 140-16,-17-1 0,1 2 0,-19 16 15,-141-34 1,142 70-16,-18 0 0,0 17 16,-18 2-16,0 15 0,-17 2 0,-1 16 0,0 2 15,-123 139 1,125-52-16,68-70 15,18 0-15,2 17 0,-2 124 16,54-142-16,-18 1 16,35 0-16,1-1 0,-1-18 0,18 2 15,18-20-15,-1 20 0,1-37 0,34 36 16,-51-35-16,16-18 16,-18 18-16,2-18 0</inkml:trace>
  <inkml:trace contextRef="#ctx0" brushRef="#br0" timeOffset="93685.05">18261 9287 0,'88'-17'0,"-35"-2"0,-18 2 16,18-18-16,142-71 15,-125 71-15,0-1 0,0-16 16,1 16-16,-18-17 0,18 1 16,-18 16-16,-1-16 0,2-2 15,-1-16-15,18-36 0,-54 53 16,0 0-16,1 1 0,-1-2 0,-17 1 16,-17 1-16,-1-1 0,-16-1 15,-2 1-15,-18 1 0,-16-1 0,0 18 16,0 16-16,-37-15 0,19 16 0,-17 0 15,-19 18-15,18-18 0,0 36 16,-17-18-16,-160 53 0,142-17 16,0-1-16,18 18 0,-1-1 0,1 19 15,17-1-15,-17 1 0,16 17 16,19 19-16,0-2 0,0 2 16,35-2-16,-18 18 0,37-34 0,16-1 15,0 0-15,18 0 0,0 0 16,18-17-16,17-1 0,18-16 0,70 51 15,54-34-15,-71-54 16,-1 0-16,19-17 0,0 0 16,-1-17-16,35 0 0,1-37 15,0 20-15</inkml:trace>
  <inkml:trace contextRef="#ctx0" brushRef="#br0" timeOffset="97246.75">19319 10151 0,'0'-34'0,"-17"15"16,17 2-16,17 53 31,1 16-16,-18-16-15,17 16 0,-17-16 16,19 17-16,-19-1 0,17-16 0,0 16 16,-17-16-16,0-1 15,18 1-15,-18-2 0,0-16 0,17 18 0,-17-19 16,0 0-16,19 2 0,-19-2 16,17 1-1</inkml:trace>
  <inkml:trace contextRef="#ctx0" brushRef="#br0" timeOffset="97834.82">19566 10134 0,'17'-17'0,"2"-19"16,16 1 0,-18 35-16,-17-19 15,17 19-15,-17 36 32,-34 18-17,16-37-15,-18 35 16,36-33-16,-17-2 15,17 0-15,0 1 0,0 0 0,0 0 16,0-1-16,0 0 16,17-17-16,-17 19 0,54 16 15,-37-35 1,0 17-16,2-17 0,-2 17 16,1-17-16,-1 19 0,2 16 31,-19-18-31,-19 2 0,-16 50 31,18-33-31,-54 17 16,54-35-16,-2-1 0,19 0 15,-17 2-15,0-19 0,17 17 0,-18-17 16,18 18-16</inkml:trace>
  <inkml:trace contextRef="#ctx0" brushRef="#br0" timeOffset="100926.54">18085 7487 0,'-88'-52'0,"69"52"16,2-18-16,-18 18 0,-1-18 16,1 18-16,-1 0 0,-16 0 0,-1 18 15,-123 18 1,105-19-16,1 0 0,-72 73 16,72-56-16,-1 20 0,0-2 15,-34 36-15,34-18 0,1 20 0,16-21 16,2 2-16,-18 18 0,16 16 15,20-17-15,-2 18 0,1-17 0,-1 34 16,1 89-16,18-88 0,17-19 16,0 19-16,0-19 0,17 18 15,1 1-15,-1-19 0,54 143 16,-35-142-16,16-1 0,-16-16 0,34 17 16,-18-18-16,2 0 0,16 0 15,1-18-15,-18 1 0,18 0 16,17-18-16,-17 0 0,34 17 0,-34-17 15,17 0-15,17-18 0,-16 1 16,-1-1-16,0 1 0,18-19 0,0 0 16,0 1-16,-1 0 0,2-18 0,15 0 15,-15 0-15,16 0 0,-17-18 16,17 0-16,1 1 0,17-19 0,1 1 16,16-1-16,124-52 0,-141 36 15,0-1-15,-17 0 0,16 1 16,-16-2-16,0 1 0,-1 1 0,1-1 15,-1-1-15,1 1 0,-19-16 16,2 15-16,-2-16 0,-17-1 0,19 0 16,-19 1-16,0-1 0,-18 19 15,1-1-15,0-18 0,-1 18 0,1 1 16,-19-19-16,19 18 0,-18-1 16,18 2-16,-19-1 0,1 0 0,0 1 15,-18-2-15,18 1 0,1 1 0,-20-1 16,20-18-16,-20 18 0,20-18 15,-20 19-15,2-1 0,-1-18 0,18 18 16,-18 1-16,1-2 0,-19 1 0,1 18 16,18-18-16,-19 18 15,0-18-15,1 18 0,0-18 0,-18 17 16,0 1-16,18-1 0,-18 2 0,0-1 16,-18-18-16,18-1 0,-18 1 15,18 1-15,-35-1 0,18-1 0,-1 2 16,-18-18-16,2 16 0,-20-16 0,1 18 15,1-2-15,-1-16 0,-1 34 16,-16-16-16,-1 16 0,0-16 0,19 16 16,-36 1-16,0 16 0,-1-15 15,-16 16-15,17 1 0,-19-2 0,-16 2 16,17 0-16,-17 17 0,-1-18 0,-17 18 16,18 0-16,-18 0 0,-1 0 15,-34 0-15,18 18 0,-18-18 16,-124 34-16,141-15 0,-1-2 15,1 1-15,54-1 0,-19 0 0,1 2 16,17 16-16,0-18 0,-16 19 16,15-19-16,-16 19 0,17-18 0,18 16 15,-18-16-15,0 18 0,18-19 0,0 19 16,-18-19-16,17 18 0,1 1 16,17-1-16,-17 1 0,18-2 0,-18 2 15,17-1-15,19 18 0,-19-18 16,18 18-16,0-18 0,1 1 15,16-1-15,-18 1 0,-15 34 16,33-35-16,1 1 0,17-19 0</inkml:trace>
  <inkml:trace contextRef="#ctx0" brushRef="#br0" timeOffset="104217.07">18014 12462 0,'0'-35'0,"17"17"16,-34 54 15,0 34-16,-2-52-15,2 16 0,-1 2 0,1-1 16,17 1-16,-17-19 0,-2 18 16,2-16-16,17 15 0,-18-16 0,18 0 15,0 0-15,-17-1 0,17 0 16,0 1-16,17 0 0,1-18 31,52 0-15,-52-18-16,-1 18 0,2-18 15,-2 18-15,18-17 0,-17 0 16,0 17-16,-1-18 0,0 0 0,1 0 16,0 18-16,-18-17 0,18 0 15</inkml:trace>
  <inkml:trace contextRef="#ctx0" brushRef="#br0" timeOffset="104401.12">18049 12515 0,'0'-18'0,"18"54"16,0 17-1,-1-18-15,-17-18 16,17 19-16,19 69 16,-36-69-16,18-1 0,-1 0 0,-17-17 15,0 17-15,17-18 0,-17 2 16,19-2-16,-19 1 0,17-1 0</inkml:trace>
  <inkml:trace contextRef="#ctx0" brushRef="#br0" timeOffset="104681.48">18507 12691 0,'19'-17'15,"-2"17"-15,18-17 16,-18-2-16,2 19 15,-2 0-15,-17-17 16,18 17-16,-1 0 0</inkml:trace>
  <inkml:trace contextRef="#ctx0" brushRef="#br0" timeOffset="106351.74">17062 12938 0,'17'-35'15,"1"35"-15,-18 18 32,0-1-17,0 0-15,0 2 0,0-2 0,0 1 16,17-1-16,-17 2 0,0-2 16,17-17-16,-17 17 0,19 1 15,-2-1-15,1 2 0,-1-2 16,2 0-16,-19 1 0,17 0 15,-17 0-15,17-18 0,-17 17 16,0 0-16,0 2 0,0-2 0,0 1 0,0-1 16,0 0-1,-17 2-15,17-2 0,-17-17 16</inkml:trace>
  <inkml:trace contextRef="#ctx0" brushRef="#br0" timeOffset="106520.61">17326 13097 0,'0'-18'16,"0"1"-16</inkml:trace>
  <inkml:trace contextRef="#ctx0" brushRef="#br0" timeOffset="106922.72">17555 12726 0,'-36'19'16,"36"-2"-1,0 0 1,0 1-16,0 0 0,0 0 15,19 16 1,16-16 0,-18-18-16,2 18 0,-2-18 0,0 18 15,1-18-15,0 17 0,0 0 0,-1 2 16,0-2 0,-17 1-16,18-1 0,-18 2 0,0-2 15,-18 0 1,18 1-16,0-1 15,-17-17 1</inkml:trace>
  <inkml:trace contextRef="#ctx0" brushRef="#br0" timeOffset="107332.23">17909 12533 0,'-19'0'0,"2"17"15,-1-17 1,1 36-16,17-19 0,0 1 16,0-1-16,0 19 0,0 35 15,17-37-15,-17 2 0,35 52 16,-35-70-16,19 16 15,-2-15-15,0-2 0,1 1 0,-1-1 16,2 2-16,-2-19 0,0 17 0,1-17 16,0-17-16,0 17 15,-1-19-15,0 19 0,19-17 0,-36-1 0,18-18 16,-1 19-16,0-18 0,-17-1 0,0 19 16,19-18-16,-19-1 0,-19 19 15,19-19-15,-17 1 0,0 1 0,-1 15 16,0 2-16,0-18 0,1 16 15,-18 19-15,17-17 0,-34 0 16,33 17-16,-16 0 0,1 17 16,15-17-16,-16 0 0,-1 0 0,19 17 15</inkml:trace>
  <inkml:trace contextRef="#ctx0" brushRef="#br0" timeOffset="108146.65">16921 12938 0,'88'-53'15,"-71"35"1,0 18-16,2 0 0,-2-17 16,1 17-16,-1 0 15,0 0-15,-17 17 0,19-17 0,-19 18 16,0 0-16,0 0 15,0-1-15,0 0 0,0 2 0,-19-2 16,19 1-16,0-1 0,-17-17 16,17 19-16,-17-2 0,17 0 15,0 1-15,-18-1 16,36-17-16,-1 19 16,0-19-1,2 17-15,-2-17 0,1 0 0,18 17 16,-19-17-16,18 18 0,-17 0 0,0-18 15,-1 18-15,18-1 16,-17 0-16,0 2 0,-1-19 0,-17 17 0,17 1 16,-17-1-16,0 0 0,0 2 15,0-2-15,0 1 0,-17 18 16,0-19-16,-1 18 0,-18 1 0,19-2 16,-36-16-16,18 18 0,-1-19 0,1 0 15,18 2-15,-19-2 0</inkml:trace>
  <inkml:trace contextRef="#ctx0" brushRef="#br0" timeOffset="109708.43">19725 12145 0,'-18'17'47,"-35"36"-32,36-35-15,-1 16 0,-18 2 16,19-18-16,17 18 0,-17-19 0,-1 0 0,18 1 16,-18 18-16,18-19 0,-18 0 15,18 1-15,0 0 0,18-18 16,-18 18-16,18-18 16,0 0-16,-1 0 0,19 0 15,-19 0-15,1-18 16,16 0-16,2 18 0,-18-18 0,18 1 15,-2 0-15,1-1 0,1 0 0,-19 0 16,1 1-16,0 0 0,0-2 16,-1 19-16,-17-17 0,17 17 0,-17-18 15</inkml:trace>
  <inkml:trace contextRef="#ctx0" brushRef="#br0" timeOffset="109916.55">19778 12109 0,'0'0'15,"0"18"-15,0 0 0,0-1 0,0 0 16,0 2-16,0 16 0,17-18 0,-17 19 16,0-19-16,0 18 0,18 1 15,-18-19-15,0 19 0,0 16 16,17-16-16,-17-18 15,0-1-15,0 0 0</inkml:trace>
  <inkml:trace contextRef="#ctx0" brushRef="#br0" timeOffset="110194.73">20113 12003 0</inkml:trace>
  <inkml:trace contextRef="#ctx0" brushRef="#br0" timeOffset="110368.31">20219 12357 0,'18'0'16,"-18"17"0,17-34 15,0 17-15</inkml:trace>
  <inkml:trace contextRef="#ctx0" brushRef="#br0" timeOffset="112429.26">20518 11915 0,'19'35'15,"-19"-16"-15,17-2 0,-17 0 0,17 1 16,-17 0-16,18-18 16,18 35-1,-19-35-15,0 0 0,2 17 0,-2-34 16,1 17-16,35-17 15,-36-1-15,1-18 16,-1 19 0,-17-19-16,-17 19 15,-1-37 1,1 37-16,-2 17 0,2-17 0,17-1 16,-17 18-16,-1 0 0,18-17 15,-17 17-15,-2 0 0,2 0 16,0 0-16,-1 17 15</inkml:trace>
  <inkml:trace contextRef="#ctx0" brushRef="#br0" timeOffset="112749.9">20747 11757 0,'0'-18'0,"19"53"16,-2-18 0,1 2-16,-1-2 15,19 1 1,-19-18 0,1 0-16,18 0 0,-19-18 15,18 1 1,-17-2-16,0-15 15,-18 16-15,0 0 0,0-17 16,-18 18 0,0 17-1,-17 17 1,18 0-16,-2 1 0,2 0 16,-1 17-16</inkml:trace>
  <inkml:trace contextRef="#ctx0" brushRef="#br0" timeOffset="113154.25">20625 12586 0,'34'-36'0,"-15"36"0,-72 36 0,141-89 15,-71 35-15,71-52 16,0-1-16,-35 35 0,18-16 15,70-72 1,-87 89-16,-2-18 0,-16 0 16,16 1-16,-16-2 0,-19 18 0,0-16 0,2 16 15,-2-16-15,-17-1 0,0 17 16,0-16-16,-17 16 0,-19-16 16,19-1-16,-19 17 0,-16 1 0,-2 0 15,1 17-15,-106-17 0,71 35 16,0 17-16,-17 1 0,-2 18 15,-34 16-15,18 1 0,-18 18 0,17-1 16,19 18-16,-1 0 0,0-17 0,35 36 16,0-19-16,19 0 0,16-18 15,2 72-15,34-90 0,17 1 16,0 0-16,19-1 0,16 2 0,19-37 16,0 19-16,17-19 15,1 1-15,-20-18 0,38 0 0,86-35 16</inkml:trace>
  <inkml:trace contextRef="#ctx0" brushRef="#br0" timeOffset="113514.04">21066 12533 0,'52'88'15,"-52"-52"-15,-17-2 0,17 1 0,-88 142 16,52-106 0,-16-19-16,-2 1 0,1 18 0,1-36 15</inkml:trace>
  <inkml:trace contextRef="#ctx0" brushRef="#br0" timeOffset="121049.77">1327 10893 0,'18'0'0,"0"0"15,17 0 1,0 0 0,1 0-16,17 0 15,-18-19-15,18 19 0,-18 0 16,71 0-16,-54 0 16,2 0-16,-1 0 0,-18 0 0,18 0 15,-18 0-15,53-17 0,-18 17 16,-51 0-16</inkml:trace>
  <inkml:trace contextRef="#ctx0" brushRef="#br0" timeOffset="122175.01">1469 11510 0,'212'0'16,"-124"0"-1,-18 0-15,1 0 0,-19 0 16,89-19-16</inkml:trace>
  <inkml:trace contextRef="#ctx0" brushRef="#br0" timeOffset="123494.71">1645 12179 0,'194'-34'0,"-106"16"16,-53 18-16,18-18 0,-17 18 15,-1 0-15,0 0 16</inkml:trace>
  <inkml:trace contextRef="#ctx0" brushRef="#br0" timeOffset="124885.81">1786 12833 0,'195'0'15,"-178"-18"-15,18 18 0,35 0 16,-34-18-16,-1 18 16</inkml:trace>
  <inkml:trace contextRef="#ctx0" brushRef="#br0" timeOffset="125235.61">1803 13433 0,'88'-19'0,"-17"2"15,-52 17-15,15 0 0,-16 0 16,18 0-16,16 0 0,-34 0 16,34 0-1</inkml:trace>
  <inkml:trace contextRef="#ctx0" brushRef="#br0" timeOffset="125425.57">1962 13838 0,'36'0'0,"-19"0"16,1 0-16,0 0 0,0 0 0,16 0 16,-16-17-16,0 17 15,17 0-15,-18 0 0,19-19 0,-18 19 16,35 0-16</inkml:trace>
  <inkml:trace contextRef="#ctx0" brushRef="#br0" timeOffset="129740.84">6214 5723 0,'0'-17'16,"-19"0"-1,19-1-15,0 1 32,-17-19-17,0 36-15,17-17 0,-18 17 16,18-18-16,-18 0 0,0 18 16,1-18-16,0 1 0,-1 17 0,0-17 15,0 17-15,-16-19 0,15 2 16,2 17-16,-1-18 0,1 18 15,-2 0-15,2-17 0,0 17 0,-1 0 16,1 0-16,-2 0 0,2 0 16,0-17-16,-1 34 0,0-17 15,0 0-15,1 0 0,0 0 16,-2 0-16,2 17 16,-1-17-16,1 0 0,0 18 0,-2-1 15,2-17-15,17 19 0,-18-19 16,1 17-16,-2 0 15,2-17-15,17 18 0,-17 0 0,17 0 16,-35 16 0,16-15-16,19-2 0,0 1 15,-17-1-15,17 0 16,0 2-16,-17-2 0,17 1 0,0-1 0,0 2 16,0-2-16,17 0 15,-17 1-15,0 0 0,17 34 16,-17-34-16,19 0 0,-2 0 0,-17-1 15,18 19-15,-1-19 0,0 1 16,2-1-16,-2 0 0,18 19 16,-16-18-16,-2-1 0,0 2 15,1-2-15,-1-17 0,2 17 0,-2-17 16,18 18-16,-17-18 0,0 0 0,16 0 16,2 0-1,-18 0-15,-1 0 0,0 0 0,19-18 0,-18 18 16,-1 0-16,2-17 0,33 17 15,-34-17-15,0 17 16,-1-19-16,0 19 0,1-17 0,0 17 16,0-18-16,-18 1 0,17 17 0,0-19 15,2 2-15,-2 0 16,-17-1-16,18 18 0,-18-17 0,17-2 16,0 2-16,-17 0 0,0-1 15,19 18-15,-19-18 16,0 0-16,17 1 0,-17 0 15,0-1-15,0 0 16,0 0-16,0 1 0,0 0 16,0-2-16,0 2 15,0-1-15,0 1 16,0-2-16,0 2 16,0 0-16,-17-1 0,-2 1 0,19-2 15,0 2-15,-17 17 0,17-17 16,-17-1-16,-1 18 0,18-18 0,-17 18 15,-2-18-15,2 18 0,0 0 16,-1 0 0,0 0-16,0 18 0,1-18 0,0 18 0,-19 0 15</inkml:trace>
  <inkml:trace contextRef="#ctx0" brushRef="#br0" timeOffset="136499.59">4114 10257 0,'71'-71'0,"-54"54"0,2 17 15,-2 0-15,0 0 0,1 0 16,0 17-16,17 19 0,-18-1 16,19 18-16,-18 0 0,16 35 0,-15-17 15,-19 17-15,17 0 0,1-17 16,-1 87-16,-17-87 0,0-18 0,19-1 16,-19 2-16,17-1 15,-17-18-15,17 35 0,1-52 16,-18 0-16,17 0 0,2-1 0,-2 0 15,0 1-15,1-18 16,0 0-16,0-18 0,16 1 16,-15 0-16,16-1 0,-18 0 15,0-17-15,2 18 0,-2-2 0,1-16 16,-1 18-16,2-2 0,-2 2 16,0 17-16,1 17 15,-18 2-15,18-2 16,0 37-16,-1-2 0,18 36 0,-17-18 15,53 125-15,-36-71 0,18-19 16,35 142-16,-53-142 16,1-15-16,-2-2 0,2 17 15,35 54-15,-19-1 0,-16-87 16,-36-18-16,17 1 0,-17 68 16,0-86-16,0 16 0,-17-16 15,0-18-15,17 16 0,-36 2 16,18-18-16,1-1 0,-2-17 15,2 19-15,0-19 0,-1 17 0,1-17 16,-2 0-16,2 0 0,0 0 16,-1 0-16,0-17 0</inkml:trace>
  <inkml:trace contextRef="#ctx0" brushRef="#br0" timeOffset="143370.2">10941 6165 0,'0'17'16</inkml:trace>
  <inkml:trace contextRef="#ctx0" brushRef="#br0" timeOffset="156487.79">8066 5301 0,'-36'0'0,"19"0"0,-19 0 16,18 0-16,1 0 16,0 0-16,-19 17 15,18-17-15,1 17 16,0-17-16,-2 19 16,2-19-16,17 17 15,-18-17-15,1 18 0,0-1 16,-2 2-16,19-2 15,-17 18 1,-1-35-16,18 17 0,0 2 0,-17-19 16,17 17-16,-19 18 0,19-17 15,0 0-15,-17-1 16,17 0-16,0 2 16,0-2-16,-17 1 15,17-1-15,0 0 16,0 2-1,17 16 1,-17-18-16,0 2 0,17 15 31,2-16-31,-19 0 0,0 0 0,17-1 16,1-17-16,-18 17 0,17 1 0,2-18 16,-19 18-16,17 0 0,0-1 15,1 0-15,-1-17 0,2 19 0,15-2 16,-16 1-16,0-18 15,17 17-15,-18-17 0,1 17 0,18-17 16,-2 19-16,-15-2 0,16-17 16,-18 0-16,2 0 0,33 18 15,-16-18-15,-19 0 16,18 0-16,-17 0 0,0 0 0,16 17 16,-15-17-16,-2 0 0,18 0 0,-18 0 15,2 0-15,-2 0 0,18 0 16,-16 0-16,33 0 0,-34 0 15,17 0-15,0-17 16,-17 17-16,0 0 0,16 0 16,-15 0-16,33-18 0,-16 18 15,-19-17-15,1 17 0,-1 0 16,36-19-16,-35 19 0,0 0 16,17-17-16,-18 0 15,1 17-15,0 0 0,0-18 16,-1 18-16,0-17 0,2 17 15,-19-19-15,17 19 0,1-17 16,-1 17 0,2-17-16,-2-1 15,0 0 1,1 18-16,-1-18 16,2 18-16,-2-17 0,-17 0 15,17 17-15,1-18 16,0 0-1,0 0-15,-1 18 0,-17-17 16,17 17-16,2-17 16,-19-2-16,17 19 15,-17-17-15,18 17 0,-18-18 16,17 1-16,-17-2 16,17 19-16,-17-17 15,19 0 1,-19-1-16,0 1 15,17-2-15,-17 2 16,0 0 0,0-1-16,0 0 15,-17 0 1,17 1 0,-19 17-16,19-17 0,-17-2 15,0 2-15,-1-1 16,1 1-16,-2 17 15,2-17-15,-18-2 16,17 2-16,0-1 16,1 18-16,0 0 0,-37-17 15,20-2-15,15 19 16,2 0 0,-1-17-16,-18 17 0,19 0 0,-18-17 15,-1 17-15,2-18 16,-2 18-16,1 0 15,18-17-15,-2 17 0,-33 0 16,35 0-16,-2 0 16,2 0-16,-18 0 0,-1 0 0,1 0 15,-1 0-15,2 0 0,-144 17 16,126-17-16,-18 18 16,-1-18-16,-53 34 15,1-15-15,70-2 0,0 1 0,1-1 16,-2 2-16,-34 15 15</inkml:trace>
  <inkml:trace contextRef="#ctx0" brushRef="#br0" timeOffset="171295.5">4026 11315 0,'88'-17'15,"-52"17"1,-1-17-16,89-2 0,-54 2 16,-18 17-16,19-18 0,0 1 0,17 17 15,1-19-15,-1 2 0,0 0 16,0 17-16,0-18 0,19 18 0,-19-17 15,0-2-15,0 19 0,70-34 16,-70 34-16,-17-18 0,0 18 16,-1-18-16,-16 18 0,16 0 0,-18-18 15,-16 18-15,-1 0 0,18-17 16,-35 17-16,-1 0 0,0 0 16,2 0-16,-2 0 0,1 0 15,-1 0 1</inkml:trace>
  <inkml:trace contextRef="#ctx0" brushRef="#br0" timeOffset="171718.44">6073 10857 0,'34'0'47,"-16"17"-47,0-17 0,0 0 16,-1 0-16,0 0 0,2 19 0,-2-19 15,1 0-15,16 0 0,-15 17 16,-2-17-16,1 0 0,-1 0 0,19 17 16,-19-17-16,1 18 0,0-18 15,0 18-15,-1-18 16,0 18-16,-17-1 15,18 0-15,-18 1 16,-18 0-16,18 0 0,-17-18 16,17 17-16,-17 0 0,-1 2 15,0-2-15,18 1 0,-35-1 0,18 0 16,-2 2-16,2-2 16,17 1-16,-18-1 0</inkml:trace>
  <inkml:trace contextRef="#ctx0" brushRef="#br0" timeOffset="177828.7">7925 10593 0,'-18'17'47,"18"0"-47,-36 19 16,19-18-16,0 16 15,-2 2-15,2-1 0,-1-18 16,1 19-16,0-18 0,17-1 0,-19 2 16,19-2-16,-17 0 0,17 19 15,0-18-15,0-1 16,0 0-16,17-17 16,2 0-16,-2 0 15,18 0-15,-18 0 0,2 0 0,15-17 16,2 17-16,-1-17 15,0 17-15,1-18 0,-2 18 0,2-18 0,18 0 16,-37 1-16,18 17 0,-18-17 16,2 17-16,-2 0 15,-17-19-15,17 19 0</inkml:trace>
  <inkml:trace contextRef="#ctx0" brushRef="#br0" timeOffset="178129.52">7889 10574 0,'-18'53'15,"18"-35"-15,18 71 16,0-72-16,-18 18 16,0 18-16,18-18 0,-1 36 15,-17-35-15,0-2 0,17-16 16,-17 18-16,18 17 0,-18-36 16,0 1-16,18 16 0,0-15 15,-18-2-15,0 1 16,17-18-16</inkml:trace>
  <inkml:trace contextRef="#ctx0" brushRef="#br0" timeOffset="179077.36">8577 10557 0,'36'-35'0,"-90"52"47,20 1-31,15-18-16,-16 17 0,18-17 0,-2 0 15,2 19-15,0-2 16,-1-17-16,18 17 0,-17-17 15,17 18-15,17 0 16,-17 0-16,18-18 16,-1 17-16,0-17 0,2 0 15,-2 17-15,1-17 0,-1 0 0,2 19 16,-2-19-16,0 0 16,1 17-16,0 1 0,0-1 15,-18 0-15,0 19 16,-18-18-16,18-1 15,-18-17-15,18 19 0,-35 15 16,18-16-16,-2 0 0,2 0 16,-1-18-1,18 17-15</inkml:trace>
  <inkml:trace contextRef="#ctx0" brushRef="#br0" timeOffset="179364.1">9001 10434 0,'17'71'31,"-17"-54"-31,0 0 0,17 18 0,-17-16 16,0-2-16,0 18 0,0-17 15,18 17-15,-18-18 0,0 2 0,0 33 16,18-35-16,-18 2 16,0-2-16,18-17 0</inkml:trace>
  <inkml:trace contextRef="#ctx0" brushRef="#br0" timeOffset="179601.85">8877 10751 0,'0'-17'31,"17"-2"-15,2 2-16,-2 17 16,36-17-16,-18-1 15,0 0-15,18 0 16,-36 1-16,19 17 16,-18-17-16</inkml:trace>
  <inkml:trace contextRef="#ctx0" brushRef="#br0" timeOffset="180109.29">9565 10469 0,'0'0'15,"0"36"1,-18-19 0,1 18-16,-2-18 15,2 19-15,0-19 0,17 19 0,-18-18 16,1-1-16,-2 19 0,19-19 16,-17 1-16,17-1 0,0 0 0,0 2 15,17-19 1,-17 17-16,19-17 0,-2 0 15,18 0-15,-18 0 0,2-17 16,16 17-16,-18-19 0,19 19 16,-1-17-16,-18 17 0,19-17 0,-19 17 15,1-18-15,18 1 0,-19 17 0,19-19 16,-19 2-16,-17 0 16,18 17-16,-18-18 0</inkml:trace>
  <inkml:trace contextRef="#ctx0" brushRef="#br0" timeOffset="180344.82">9741 10415 0,'-18'36'0,"18"-18"16,0-1-16,18 2 0,-18-2 0,0 18 15,0-18-15,18 54 16,-18-18-16,18-36 0,-18 19 16,0-18-16,0 16 0,17-15 15,-17 16-15,0-18 0,17 2 16,-17-2-16</inkml:trace>
  <inkml:trace contextRef="#ctx0" brushRef="#br0" timeOffset="180778.37">10147 10257 0,'-18'0'0,"0"18"16,-16 0-16,16-18 0,0 34 16,-17-15-16,18 33 15,-2-52 1,19 17-16,0 2 16,19-19-16,15 0 15,-16 0 1,0-19-16,0 2 0,-1 17 15,-17-17-15,17 17 0,1 0 16,0 0 0,-18 17-16,0 0 15,18-17-15,-18 19 0,0-2 0,0 1 16,17 35-16,-17-36 16,0 1-16,17 35 0,-17-36 0,0 19 15,19-18-15,-19-1 0,0 0 16,0 19-16,0-1 15,0-18-15</inkml:trace>
  <inkml:trace contextRef="#ctx0" brushRef="#br0" timeOffset="181129.03">8525 11774 0,'52'-53'0,"-34"35"0,17 1 0,0 0 15,1-19-15,17 18 0,-1-16 16,1-2-16,18 1 0,52-18 15,-53 17-15,1 1 0,0 0 16,-1 17-16,54-34 0,-72 16 16,55 1-16,-55 16 15,-16 2-15,-19 17 0,37-17 16,-20-1-16,-15 18 0,-2 0 16,1 0-1,-18 18-15</inkml:trace>
  <inkml:trace contextRef="#ctx0" brushRef="#br0" timeOffset="181513.49">9371 11633 0,'52'-35'0,"-33"35"16,33 17-1,-52 1-15,0-1 16,0 2-16,-17 33 0,-1-16 16,1 17-16,-36 16 0,-1 2 15,37-35-15,0-19 16,-2 1-16,19 0 15,-17 0-15,17-1 0,17 0 32,19-34-32,-19 17 15,37-17-15,-20-1 0,54-35 16,-34 36-16,-18-2 0,16-16 16,-16 18-16,-2-2 0,2-15 15,16-1-15,2-1 16,-37 1-16</inkml:trace>
  <inkml:trace contextRef="#ctx0" brushRef="#br0" timeOffset="181964.29">10535 10698 0,'0'-17'31,"18"17"-31,-1 0 0,0-18 16,2 18-16,-2-18 0,1 18 16,18 0-16,-2 0 15</inkml:trace>
  <inkml:trace contextRef="#ctx0" brushRef="#br0" timeOffset="182142.33">10482 11033 0,'53'0'31,"-35"-18"-15,-1 1-16,0 17 0,37-17 16,-18-1-16,-19 0 0,18 18 0,18-35 15,18 18 1,-54-2-16</inkml:trace>
  <inkml:trace contextRef="#ctx0" brushRef="#br0" timeOffset="187005.73">20166 15602 0,'71'0'0,"-54"0"15,0 0-15,1-17 0,0 17 16,17 0-16,-18 0 0,2-19 16,-2 19-16,1 0 0,-1 0 0,2 0 15</inkml:trace>
  <inkml:trace contextRef="#ctx0" brushRef="#br0" timeOffset="187208.66">20289 15761 0,'70'-18'0,"-34"18"16,-1 0-16,-16-18 0,33 18 16,-16 0-16,-2-18 0,2 18 15,-1 0-15</inkml:trace>
  <inkml:trace contextRef="#ctx0" brushRef="#br0" timeOffset="192346.39">9247 11774 0,'35'-35'16,"-16"35"-16,-19-18 0,34 0 16,-16 18-16,0 0 0,-18-17 15,18 17-15,-1 0 0</inkml:trace>
  <inkml:trace contextRef="#ctx0" brushRef="#br0" timeOffset="194636.68">12087 10117 0,'-17'17'16,"17"0"-16,-19 1 0,2-1 0,17 19 15,-17-19-15,-1 19 0,18-18 0,-17 16 16,-2-15-16,19 16 0,0-18 16,-17 0-16,17 2 0,-17 16 15,17-18-15,0 2 0,17-19 16,-17 17-16,17-17 15,2 17-15,16-34 0,-18 17 16,19 0-16,-1 0 0,1-17 0,16-2 16,1 2-16,-18-1 0,18 1 15,-17-2-15,16-15 0,-35 16 16,19 18-16,-36-17 0,18-2 16,-1 2-16,-17 0 15</inkml:trace>
  <inkml:trace contextRef="#ctx0" brushRef="#br0" timeOffset="194851.09">12193 10117 0,'0'69'31,"18"-16"-31,0-35 0,-18 18 16,17-2-16,0 2 0,1 35 15,0-36-15,-18 1 16,18-19-16,-1 54 0,0-37 16,2 2-16,-19-18 0,17-1 15</inkml:trace>
  <inkml:trace contextRef="#ctx0" brushRef="#br0" timeOffset="195188.04">12563 9939 0,'54'-34'16,"-37"34"-16,54 34 16,-54-16-1,0 0-15,2 17 16,-2 1-16,1 16 0,-1-16 16,2 16-16,-2-16 15,-17-19-15,17 54 16,-17-54-16,0 2 15,18-2-15</inkml:trace>
  <inkml:trace contextRef="#ctx0" brushRef="#br0" timeOffset="195395.24">12529 10257 0,'0'-18'0,"17"1"15,0 0-15,19 17 16,34-54-16,19 20 16,-18-2-16,-2 18 0,2-18 15,-1 19-15,72-36 0,-89 35 16,88 1-16,-89 0 16,19-1-16,53 18 0,-71 0 15</inkml:trace>
  <inkml:trace contextRef="#ctx0" brushRef="#br0" timeOffset="196805.95">20237 14843 0,'0'-17'0,"-18"52"47,0-18-47,0 19 16,1-19-16,-19 37 0,1-20 15,-1 37-15,2-18 16,16-18-16,-35 18 0,18 1 16,17-37-1,18 0-15,-18 1 0,18 0 0,0 0 0,-17-18 16,17 17-16,17 0 15,1-17-15,0 0 16,0 0-16,35 0 16,-18 0-16,-1-17 0,2 17 0,-1-17 15,1 17-15,52-36 16,-17 18-16,-54 18 0,19-17 16,-19 17-16,1-17 0,-1 17 0,2 0 15,-2-19-15,0 19 16,1-17-1</inkml:trace>
  <inkml:trace contextRef="#ctx0" brushRef="#br0" timeOffset="197097.49">20271 14861 0,'-17'36'32,"17"52"-17,0-36-15,0 1 16,0 0-16,0 89 0,-17-1 15,17-89-15,0 19 16,-18-18-16,18 18 0,-18 34 16,0-17-16,18-52 0,0-1 15</inkml:trace>
  <inkml:trace contextRef="#ctx0" brushRef="#br0" timeOffset="199514.05">24522 15778 0,'53'0'16,"-17"0"-1,104-17-15,-33 17 0,-19-18 16,124 0-16,123-17 16,-230 18-16,214-2 15,-231 2-15,53 17 16,-1-18 0</inkml:trace>
  <inkml:trace contextRef="#ctx0" brushRef="#br0" timeOffset="199753.47">24963 16183 0,'71'-17'0,"34"0"16,-34-1-16,18 0 0,-1 0 15,71-16-15,-71 16 16,0 0-16,0-17 0,71-1 16,-53 19-16,-54-1 15,36-18-15,-52 36 0,-18-17 16,-1 0-16,2 17 0</inkml:trace>
  <inkml:trace contextRef="#ctx0" brushRef="#br0" timeOffset="204306.64">31155 2161 0,'106'0'15,"-89"0"-15,19 0 0,-19 0 16,18 0-16,1-18 0,35 18 16,17-17-16,-54-2 15,2 19-15,52-34 0,-53 16 16,1 1-16,-1-2 0,1 2 16,16-18-16,18-18 15,-51 36-15,-2-1 0,1-18 16,18 19-16,-19-19 0,18 1 0,-18-1 15,19 2-15,-19-1 0,1-1 0,0 19 16,-18-19-16,18 1 16,-18-1-16,17-16 15,-34-36-15,17 52 0,0 1 16,-18 17-16,18-17 0,-18 0 16,0-1-16,1 19 0,17 0 15,-17-2-15,-2-16 0,19 18 0,-17-2 16,-1 19-16,-35-52 15,36 35-15,-1-2 0,-18 2 16,-16 0-16,34-1 0,-17 0 16,18 0-16,-19 1 0,1 0 15,-18-1-15,18 0 0,16 0 16,-15 18-16,16-17 0,1 17 16,-19-17-16,-17 17 0,35-19 15,-34 19-15,16 0 0,2 0 16,15 0-16,2 0 0,-18 0 15,16 0-15,-15 0 0,16 0 0,-18 0 16,19 19-16,-36-19 0,18 17 16,18-17-16,-2 0 0,-16 17 15,18-17-15,0 18 0,-19-18 16,1 18-16,16 0 0,2-18 16,-18 17-16,35 0 15,-17-17-15,-2 18 0,2-18 0,17 18 16,-17-18-16,-1 18 0,0-1 15,0 0-15,1 2 16,0-19-16,17 17 16,-19 1-16,19-1 15,0 0-15,-17-17 0,17 19 16,0-2 0,-18 1-16,18-1 15,0 19-15,0-19 16,0 1-1,0 0-15,0 17 16,0-18-16,0 1 0,0 0 16,0 0-16,0-1 15,0 0-15,0 2 0,0-2 16,0 1-16,0-1 0,0 2 16,0 15-16,0-16 15,0 18-15,0-19 16,0 0-16,0 1 15,0 0-15,0 0 0,0-1 16,0 0-16,0 2 16,18-2-16,-18 1 0,0-1 15,17 19-15,-17-19 16,0 1-16,19-1 0,-19 2 0,17-2 16,-17 0-16,17 19 15,-17-18-15,18-18 0,-18 17 16,18 0-16,-18 1 0,18 0 15,-18 0-15,17-18 16,-17 17-16,17-17 0,-17 17 16,0 2-16,19-19 15,-19 17-15,17-17 0,-17 18 16,18-1-16,-1 0 16,-17 2-1,17-19-15,-17 17 0,19-17 16,-2 18-1,1-1 17,-1 2-17,2-19 17,-2 0-17,0 17 1,1-17-16,-1 0 15,2 0 1,-2 0 0,0 0-1,1 0-15,0 0 16,0 0 0,-1 0-1,0 0 16,2 0 1,-2 0 15,-17-17 109,18-2-125,-18 2 47,17 17 563,-17-18-126</inkml:trace>
  <inkml:trace contextRef="#ctx0" brushRef="#br0" timeOffset="206199.21">12405 11033 0,'53'0'16,"-18"0"-1,1 0-15,174-52 32,-156 34-32,16-18 0,89-17 15,-88 36-15,-18-18 0,-1 16 16,55-33-16,-55 16 0,-16 2 15,17 16-15,-18-18 0,-1 2 0,-15-2 16,16 1-16,-18-1 0,-17 19 16,36-54-16,-36 36 15,0-1-15,0 2 0,-17-20 0,17 1 16,-19 1-16,-16-19 0,18 18 16,-54-88-16,18 89 0,-52-72 15,51 89-15,-70-54 0,54 54 16,0-1-16,-88-16 15,-20 16-15,73 36 16,17 0-16,-19 0 0,19 0 0,0 19 16,0 15-16,-106 37 15,106-18-15,-18-1 0,0 19 16,0 0-16,-52 105 0,87-87 16,0 16-16,37-34 0,-73 141 15,72-124-15,18 0 0,-36 105 16,35-122-16,18 70 15,0-70-15,18-18 0,-1-1 0,0 2 16,2-1-16,16-18 0,1 1 16,-2-2-16,20 2 0,-2-18 15,1-1-15,0 0 0,35 2 16,-53-19-16,18-19 0,1 19 0,-2-17 16,1 17-16,0-17 0,1-1 15,-2 0-15,1 0 0,0-16 0,-18 16 16,18 0-16,-1 0 0,-16 1 15,-1 0-15,1-2 0</inkml:trace>
  <inkml:trace contextRef="#ctx0" brushRef="#br0" timeOffset="207063.2">13057 11139 0,'0'52'16,"0"-33"-16,0-2 0,0 18 16,18 1-16,-18-1 0,0 18 15,18 52-15,-1-69 0,-17 18 0,0-20 16,0 1-16,17 1 16,-17-1-16,0 18 0,0-17 0,0-19 15,19 1-15,-19 16 0,0-15 16,0-2-16,0 1 15</inkml:trace>
  <inkml:trace contextRef="#ctx0" brushRef="#br0" timeOffset="207404.49">13075 11210 0,'-70'71'16,"52"-54"-1,18 18-15,-18-17 0,18 17 0,-18 0 0,1 18 16,0-17-16,-2 35 16,19-54-16,-17 35 15,17-16-15,0-19 0,-18 19 16,18-18-16,0-1 16,0 0-16</inkml:trace>
  <inkml:trace contextRef="#ctx0" brushRef="#br0" timeOffset="207628.88">12846 11333 0,'35'-18'0,"-18"18"0,-69 18 0,123-36 0,-54 18 16,0 0-16,19 0 0,-18 0 15,16 18-15,37-18 16,-35 18-16,-19 0 0,18-18 0,1 17 0,-1 0 16,-18-17-16,2 18 15,15 0-15,-16-18 0,0 18 0,0-1 16</inkml:trace>
  <inkml:trace contextRef="#ctx0" brushRef="#br0" timeOffset="-204303.58">8013 6147 0,'17'35'78,"-17"1"-47,17-19-31,-17 37 0,19-20 16,-19 20-16,17-37 16,-17 0-16,0 2 0,0-2 15,18 18-15,-18 1 16,0-19-16,17 18 16,-17-16-1,0-2 32,19-34 47,15 17-79,20 0 1,-20 0 0,-16 0-16,0 0 0,0 0 15,35 0-15,-1-19 16,19 19-16,-18 0 16,-18 0-16,-17 0 0,70-17 15,-53 17 1,-18 0-16,19-18 0,18 18 15,-37-17-15,0 17 16,1-17-16,-1 17 0,2-19 16,-2 2-1,0 17-15,-17-18 16,18 1-16,-18-2 16,0 2-16,-18-18 0,18 17 15,0 0-15,-17-16 16,17-2-16,-17 1 15,-2-1-15,2 19 16,17-1-16,0-18 16,-18 19-16,18 0 31,-17 51 0</inkml:trace>
  <inkml:trace contextRef="#ctx0" brushRef="#br0" timeOffset="-203721.88">8630 6623 0,'0'-34'0,"0"86"31,17-34-31,-17 0 0,0 16 0,18 54 16,0 19-16,0 16 16,-1-70-16,0 71 15,-17-1-15,19-17 16,-19-54-16,17 2 0,-17-18 15,0 33-15,18-33 16,-18 17-16,0-1 16,0-34-16,0 0 0,0 0 15,0 16-15</inkml:trace>
  <inkml:trace contextRef="#ctx0" brushRef="#br0" timeOffset="-203305.62">8630 7823 0,'35'52'32,"-35"-33"-32,18-2 15,-18 1-15,35 18 16,1 16-16,-1-16 15,-18-19 1,2-17 0,15-36-1,1 19-15,-16-18 16,15-18 0,-16-18-1</inkml:trace>
  <inkml:trace contextRef="#ctx0" brushRef="#br0" timeOffset="-200798.13">9882 17489 0,'17'-35'0,"-34"18"16,-18 34 15,18-17-15,17 17-16,-19-17 0,19 18 15,-17 0-15,0 17 16,17-18-16,-18 19 0,0 16 16,18 2-16,0-37 15,0 19-15,0-19 16,18 37-16,0-2 15,16-16-15,-34-19 16,36 0-16,-1 1 16,-18-18-16,2-18 15,-2 18-15,1 0 0,18-17 16,-19-18 0,18-1-16,-17 19 15,-18 0-15,18-19 0,-18 18 16,0-35-16,0 36 0,0-18 15,-36-36-15,36 53 16,-18 0-16,1 1 16,0 0-16,17-1 0,-19 0 0,2 0 0,-1 18 15,18-17-15,-17 17 0,-2 0 16,2 0-16,0 0 16,17 17-16,0 1 0,0 0 15</inkml:trace>
  <inkml:trace contextRef="#ctx0" brushRef="#br0" timeOffset="-200361.23">10129 17613 0,'0'34'15,"0"-15"1,0 16 0,18 1-16,-18-2 0,18-16 15,-1-1-15,-70-210 0,123 405 16,-51-195-16,16 0 15,-18-17-15,2 0 16,15 0-16,-16-17 16,-1 0-16,2-2 0,-19-16 15,17 18-15,-17 0 16,0-19-16,0 18 16,-17 1-16,17-2 0,0 2 15,0 0 1,0-1-16,-19 18 0</inkml:trace>
  <inkml:trace contextRef="#ctx0" brushRef="#br0" timeOffset="-200115.8">10518 17313 0,'-19'-18'16,"55"194"31,16-70-32,-52-70-15,19-2 0,16 37 16,18 0-1,-36-54 1,-17 2-16</inkml:trace>
  <inkml:trace contextRef="#ctx0" brushRef="#br0" timeOffset="-199929.8">10553 17701 0,'-18'0'16,"124"-54"15,-89 37-15,36 0 0,-18-19-16</inkml:trace>
  <inkml:trace contextRef="#ctx0" brushRef="#br0" timeOffset="-199685.47">10853 17259 0,'0'19'47,"0"-2"-31,0 18-16,34 53 15,2-17-15,-18-1 16,-441-316-16,899 616 16,-459-335-1,1 1-15,-1-19 16,2 1-16,-2-1 16</inkml:trace>
  <inkml:trace contextRef="#ctx0" brushRef="#br0" timeOffset="-199387.13">11241 17471 0,'0'36'31,"0"-1"-15,17 18-16,-17-35 16,17 16-16,2-15 15,-19-2-15,17 37 0,1-37 16,-1 0-16,-17 1 15</inkml:trace>
  <inkml:trace contextRef="#ctx0" brushRef="#br0" timeOffset="-199227.89">11153 17313 0,'-18'0'0</inkml:trace>
  <inkml:trace contextRef="#ctx0" brushRef="#br0" timeOffset="-198692.19">11611 17613 0,'18'-18'16,"-18"0"0,0 0-16,0-16 15,0-2 1,-18 18 0,18 1-16,-18 34 31,0 1-16,36 0-15,-18 34 16,18-52 0,-18 18-16,18 0 0,-1 0 15,0-1-15,2-17 16,-2 0-16,1 0 16</inkml:trace>
  <inkml:trace contextRef="#ctx0" brushRef="#br0" timeOffset="-198411.55">11822 17489 0,'0'0'47,"0"18"-47,0 0 16,19-1-16,-19 0 16,0 19-16,17-18 0,-17-1 15,0 0-15,0 2 16,0-2-16,17-17 0,-17 18 15,0-53 17,18-1-17,-18 19-15,18-1 16,-18-18-16,18 19 16,-1-18-16,19 17 15,-36 0-15,35 1 0</inkml:trace>
  <inkml:trace contextRef="#ctx0" brushRef="#br0" timeOffset="-197987.67">12634 17259 0,'35'0'31,"-17"0"-31,17-17 16,1 17-16,-1 0 15,1 0-15,-2-17 16,20 17-16,-20 0 15,-16 0-15,0-18 0,0 18 16,-1 0-16,0-18 16</inkml:trace>
  <inkml:trace contextRef="#ctx0" brushRef="#br0" timeOffset="-197674.73">12793 17030 0,'17'0'0,"2"0"16,15 0-16,1 0 15,18 19-15,-35-2 16,18-17-16,16 35 15,18 1-15,-51-19 16,-2 0-16,18 19 0,-35-18 16,19-1-16,-19 0 0,-19 37 15,19-37-15,-35 54 16,-18-1-16,0 18 16,35-52-16,1-18 0</inkml:trace>
  <inkml:trace contextRef="#ctx0" brushRef="#br0" timeOffset="-190863.21">14010 16466 0,'17'0'0,"-51"17"62,-2 1-46,36 0-16,-18-18 16,18 18-16,-17-1 15,17 0 1,0 2 0,17-19-1,1 0-15,-1 0 16,2 0-16,-2 0 0,0 0 15,1 0-15,0 0 0,0 0 16,-1 0-16,0 17 0,1-17 16,0 0-16,-18 18 0,18-18 15,-18 17-15,0 2 16,0-2-16,-18-17 16,18 17-16,-18 1 0,0-18 0,18 17 15,-17 2-15,0-19 0,-1 0 16,18 17-16,-18-17 0,0 17 15,1-17 1</inkml:trace>
  <inkml:trace contextRef="#ctx0" brushRef="#br0" timeOffset="-190607.74">14239 16395 0,'0'-17'0,"18"52"31,-1-17-31,-17 0 0,19 70 31,-19-71-31,0 0 0,17 19 16,-17-18-16</inkml:trace>
  <inkml:trace contextRef="#ctx0" brushRef="#br0" timeOffset="-190254.91">14451 16395 0,'0'18'16,"0"35"0,18-36-1,-18 1-15,17-18 16,-17 18-16,17-18 0,2 0 15,-2-18-15,1 18 16,-18-18-16,17 1 16,-17-18-1,-17 17-15,-1-17 16,1 18-16,-2 17 16,19-19-16,-17 19 0,0-17 15,-1 17 1,0 0-16,0 0 0,1 17 0,0-17 0,-2 19 15</inkml:trace>
  <inkml:trace contextRef="#ctx0" brushRef="#br0" timeOffset="-189802.35">13922 16361 0,'17'88'0,"18"-36"16,1 72 0,-19-71-16,1-18 0,0 1 15,17 52-15,-18-71 0,1 19 16,0-19-16,0 1 0,-1-1 16,-17 0-16</inkml:trace>
  <inkml:trace contextRef="#ctx0" brushRef="#br0" timeOffset="-188489.28">14327 17207 0,'-34'0'16,"15"0"-16,2 18 31,34-1 0,19-17-15,-19 17-16,18-17 15,-16 19 1,-2-19-16,0 17 16,1 1-1,-18-1 1,0 0-16,0 2 16,-18-19-16,18 17 15,-17 1-15,0-1 16,-2 2-16,2-19 15,-1 17-15</inkml:trace>
  <inkml:trace contextRef="#ctx0" brushRef="#br0" timeOffset="-188258.94">14274 17119 0,'0'0'0,"19"18"15,-19-1-15,17 0 0,-17 1 16,17 0-16,-17 17 16,18-18-16,-18 2 0,0-2 0,17 18 15,2-18 1,-19 19-16</inkml:trace>
  <inkml:trace contextRef="#ctx0" brushRef="#br0" timeOffset="-188019.3">14539 17119 0,'0'18'31,"0"-1"-31,0 0 16,0 1-16,0 0 15,0 0-15,18-1 0</inkml:trace>
  <inkml:trace contextRef="#ctx0" brushRef="#br0" timeOffset="-187726.1">14715 17119 0,'0'-18'15,"0"54"1,18-2 15,-1-16-31,2-18 16,-2 0-1,0-18-15,1 1 16,-18-18 15,0 17-31,0 0 0,-18 18 16,18-17-16,-17 0 15,0 34 1,-2-17-16</inkml:trace>
  <inkml:trace contextRef="#ctx0" brushRef="#br0" timeOffset="-187141.17">14769 17718 0,'-36'19'31,"72"-38"-31,-72 55 16,36-19-1,17 1 1,2-1-16,-19 2 15,17-19-15,-17 17 0,17 0 0,1 1 16,-18 0-16,18 0 16,-18-1-16,0 0 15,0 1-15,0 0 16,0 0-16,-18-18 0,18 17 16,-18 0-16,1 2 0,0-2 15</inkml:trace>
  <inkml:trace contextRef="#ctx0" brushRef="#br0" timeOffset="-186943.11">14698 17754 0,'35'17'16,"-35"1"-16,0-1 15,17 2-15,-17-2 0,36 54 16,-36-54-16,17 18 16,1 1-16,-18-19 0,18 0 15,0 19-15</inkml:trace>
  <inkml:trace contextRef="#ctx0" brushRef="#br0" timeOffset="-186718.43">15015 17683 0,'0'54'31,"0"-37"-31,0 0 0,0 1 0,0-1 15,0 2-15,18-19 0,-18 17 16,0 0-16,17 1 16,-17 0-16</inkml:trace>
  <inkml:trace contextRef="#ctx0" brushRef="#br0" timeOffset="-186441.18">15174 17754 0,'0'35'16,"17"-35"-16,-17 17 16,-17-69-16,52 123 15,-17-71 1,17-19 0,-35 2-16,0-1 15,0 1-15,0 0 16,0-2-1,-17 2-15,17-1 16,-18 18-16,18-17 0,-18 17 16,0 0-16,1 0 15</inkml:trace>
  <inkml:trace contextRef="#ctx0" brushRef="#br0" timeOffset="-184665.77">15915 16942 0,'-53'17'0,"36"-17"0,17 19 16,-19-2-16,19 1 15,0-1 1,0 2 0,19-19-16,-2 17 15,0-17-15,1 0 0,-18 17 0,18-17 16,0 0-16,-1 18 0,0-18 16,2 18-16,-2-18 15,1 18-15,-18-1 16,-18 0-1,18 1 1,-17 0-16,-2 0 16,2-1-16,17 0 15,-17-17-15,-1 19 16,0-19 0</inkml:trace>
  <inkml:trace contextRef="#ctx0" brushRef="#br0" timeOffset="-184349.95">15845 16942 0,'0'36'15,"17"-1"-15,-17 18 16,17-18-16,-17-17 15,18 17-15,-18 0 0,0 1 0,18-2 16,-18 2-16,0-18 0</inkml:trace>
  <inkml:trace contextRef="#ctx0" brushRef="#br0" timeOffset="-182584.26">16215 16854 0,'0'-17'15,"18"-1"-15,16 18 16,2 18 15,-18-1-31,-1 0 0,-17 2 16,0 16-16,0-18 15,0 0-15,0 2 0,0-2 0,0 1 16,0-1-16,-17 2 0,17-2 16,0 18-16,-18-35 15,18 18-15,0 0 16,18-18 0,-1 0 15,0-18-31,2 18 0,-2-18 15,1 18-15,-1-18 16,0 1-16,2 17 0,-2-17 0,1-2 16</inkml:trace>
  <inkml:trace contextRef="#ctx0" brushRef="#br0" timeOffset="-182104.47">16621 16713 0,'-18'0'16,"18"17"-1,0 19 16,0-19-31,18 1 0,-1 18 16,-17-19-16,17 0 0,1-17 16,0 19-16,0-19 15,-18 17-15,17-17 16,0 0 0,2-17-16,-2 17 15,1-19-15,-18-15 16,17 34-16,-17-18 15,0 0 1,0 0-16,-17 1 16,17 0-16,0-2 15,-18 19 1,18-17-16,-17-1 0,-2 1 16,2 17-1,0 0-15,-1-17 16,0 34-1</inkml:trace>
  <inkml:trace contextRef="#ctx0" brushRef="#br0" timeOffset="-181749.55">16814 16607 0,'-17'18'15,"17"18"-15,0-19 0,0 0 16,17 1-16,-17-1 0,19 2 16,-2-2-16,0 0 15,1-17-15,-1 0 16,19 0-1,-19-17-15,1 0 0,-18-2 16,18 2 0,-18-1-16,-18-35 15,18 36-15,-18 17 0,18-35 16,-17 35-16,17-19 16,-17 19-16,17-17 0,-19 17 15,2 0 1,-1 36-16</inkml:trace>
  <inkml:trace contextRef="#ctx0" brushRef="#br0" timeOffset="-179795.69">16621 17313 0,'52'-18'15,"-34"18"-15,0-17 0,-1 17 16,0 0-16,54-36 16,-18 1-16,-18 17 0,1 0 0,-1-16 15,18 16-15,-17-18 0,-1 19 16,-1-19-16,2 19 0,-1-18 16,1-1-16,-1 19 0,-17-1 15,0-18-15,-18 19 0,17 0 16,0-19-16,1 18 0,-18 1 0,18 0 15,0-37-15,-18 20 16,17-2-16,-17 18 16,0 1-16,0-19 0,0 1 15,0 17-15,0 0 0,0 1 16,0 0-16,0-1 0,-17 18 16,17-18-16,-18 0 0,0 18 0,0-17 15,-16 0-15,16-2 16,-35 2-16,17-1 15,1 1-15,-1 17 0,19-19 0,-54 2 16,19 17-16,16-17 0,2 17 16,-2 0-16,1 0 0,18-18 15,-54 18-15,35 0 0,1 0 16,17 0-16,-17 0 0,0 0 16,-35 0-16,51 18 0,-16-18 15,-1 0-15,-33 17 0,-20 19 16,37-36-16,-2 17 15,-34 18-15,35-16 0,18-2 16,-1 0-16,-34 1 0,35 0 16,18 0-16,-54-1 15,54 0-15,-19 1 0,-18 18 16,20-19-16,16 0 16,1 2-16,17-2 0,-36 18 15,19-16-15,-1 15 16,18-16-16,0-1 0,0 2 15,-18-2-15,18 18 16,0 18-16,0-36 0,0 2 16,0 16-16,0-18 15,0 19-15,0-19 0,0 1 16,0 52-16,18-34 16,-18 16-16,18-34 15,-18 0-15,0 17 0,17 1 16,0-19-16,2 1 0,-2 16 15,1-15-15,16 16 16,-15-18-16,33 19 16,-16-36-16,16 35 0,19-17 15,-1 0-15,-51-18 16,16 0-16,-1 17 0,90-17 16,-106-17-1,18 17-15,-2 0 0,37-18 16,-35 0-16,-1 18 0,18-18 15,-1 1 1,-33 0-16,15-2 0,-16 19 16,0 0-16,0-17 0,-1 17 15,0-18-15,1 18 0,0 0 16,-18-17-16</inkml:trace>
  <inkml:trace contextRef="#ctx0" brushRef="#br0" timeOffset="-178188.51">17009 17278 0,'17'17'16,"0"1"-16,2-1 15,-2-17-15,1 0 16,-1 17-16,0-17 15,2 0-15,-2 19 0,1-19 16,-1 0-16,2 0 16,-2 17-16,0-17 15</inkml:trace>
  <inkml:trace contextRef="#ctx0" brushRef="#br0" timeOffset="-177809.45">17009 17507 0,'53'35'0,"-36"-35"15,1 17-15,-1-17 16,0 0-16,2 0 0,-2-17 16,18 17-16,-35-17 15,19 17-15,-19-18 0,17 0 16,0-34-1,1 16-15,-18 18 16,0 1-16,0-2 0,18 2 0,-18 0 16,0-1-16,0 1 15</inkml:trace>
  <inkml:trace contextRef="#ctx0" brushRef="#br0" timeOffset="-175713.34">20942 16749 0,'0'-19'16,"0"55"31,0-1-47,0-17 15,-17 17-15,17 18 16,-19-35-16,19 52 15,0-52 1,0-1-16</inkml:trace>
  <inkml:trace contextRef="#ctx0" brushRef="#br0" timeOffset="-175404.82">21242 16871 0,'17'19'15,"-17"-2"-15,0 35 16,0-33 0,-17-2-16,17 18 0,0-16 15,0-2-15,-17 0 0,17 1 16,0 0-16,0 0 16,0-1-16</inkml:trace>
  <inkml:trace contextRef="#ctx0" brushRef="#br0" timeOffset="-174790.11">21718 16678 0,'0'-36'0,"17"36"0,1 0 15,18 19 1,-36-2-16,0 0 16,0 1-16,0-1 15,0 2-15,0-2 0,-18 18 16,18 1-16,-18-19 16,18 0-16,-18 2 15,18-2-15,0 1 16,0-1-1,18-17 1,0 0 0,0 0-16,-1 0 15,0-17-15,2 17 0,16-18 16,-18 18-16,2-17 0,-2 17 0</inkml:trace>
  <inkml:trace contextRef="#ctx0" brushRef="#br0" timeOffset="-174614.22">22159 16713 0,'18'0'16,"-18"17"0,0 2-1,0-2-15,0 0 0,0 1 16,0 0-16,0 0 16,0 16-16,0-15 0,-18-2 15,18 1-15,0-1 16,0 0-16,0 2 15</inkml:trace>
  <inkml:trace contextRef="#ctx0" brushRef="#br0" timeOffset="-174101.36">22423 16501 0,'18'-18'0,"0"36"31,-18 0-31,-18 0 16,18-1 0,0 0-16,0 2 15,-18-19-15,36 17 16,-18 1-1,18-18-15,0 0 0,-18 17 16,17 2-16,0-19 16,2 17-16,-2 0 15,-17 1 1,0-1-16,-17 19 16,-2-19-1,-15 37 1,16-54-16</inkml:trace>
  <inkml:trace contextRef="#ctx0" brushRef="#br0" timeOffset="-173900.29">22777 16607 0,'0'88'16,"0"-34"-16,-18-37 0,18 36 15,-18-18-15,18-18 16,-18 19-16,18-18 16,0-1-16,18 0 0,-18 2 15</inkml:trace>
  <inkml:trace contextRef="#ctx0" brushRef="#br0" timeOffset="-173302.63">23341 16342 0,'0'0'0,"-18"36"15,1-19 1,-2 1-1,2 18-15,0-19 16,-1 0-16,18 19 0,-18-1 16,0 1-16,1-19 15,17 1-15,0-1 0,0 2 16,0-2-16,0 0 16,17 1-16,1-1 15,0-17-15,17 0 16,1 0-16,-19 0 15,37 0-15,-37 0 16,35 0-16,-33 0 16,-2 0-16,-17-17 0,35 17 15,-17-18 1</inkml:trace>
  <inkml:trace contextRef="#ctx0" brushRef="#br0" timeOffset="-173032.44">23499 16395 0,'-17'0'15,"0"18"-15,17 0 16,0 0-16,-19-1 0,19 18 0,0 54 15,0-72 1,0 18-16,0 18 0,0 1 16,0-2-16,0-16 15,0-19-15,0 0 16,0 19-16,0-18 16,0-1-16</inkml:trace>
  <inkml:trace contextRef="#ctx0" brushRef="#br0" timeOffset="-172651.92">23694 16483 0,'-19'18'16,"2"18"-16,17 17 15,0-36-15,17 37 16,2-20 0,-2 1-16,18-16 15,-16-2 1,-2-17-16,18-17 0,1-2 16,-36 2-1,17-18 1,-17 18-16,0-19 15,-17 18 1,-1-18-16,0 19 16,0 17-16,1-17 15,-19 17 1,19 0 0</inkml:trace>
  <inkml:trace contextRef="#ctx0" brushRef="#br0" timeOffset="-172353.75">23817 16431 0,'36'70'31,"16"36"0,-34-88-31,-230-160 16,195 142-16,317 159 15,-265-176 1,-18-1-16,2 1 16,-2-19-16,-17-17 15,0 18 1,-17 18-16,-19-19 16,18 36-1,-52 0 1,52 0-16,-35 36 15,36-19-15</inkml:trace>
  <inkml:trace contextRef="#ctx0" brushRef="#br0" timeOffset="-163776.47">31825 2673 0,'-71'300'16,"36"-178"-16</inkml:trace>
  <inkml:trace contextRef="#ctx0" brushRef="#br0" timeOffset="-163376.35">31843 2531 0,'-53'88'31,"36"-52"-15,-19 34-16,18-34 0,-18 52 16,2-18-16,16-16 15,1-37-15,-2 36 16,2-35-16</inkml:trace>
  <inkml:trace contextRef="#ctx0" brushRef="#br0" timeOffset="-163071.39">31825 2585 0,'53'17'0,"0"0"16,-18 1-1,1-18-15,52 36 16,17-19 0</inkml:trace>
  <inkml:trace contextRef="#ctx0" brushRef="#br0" timeOffset="-160836.7">9618 5513 0,'229'-54'15,"-177"37"-15,2 17 16,-1-17-16,18-2 0,17 2 0,0-1 16,177-52-1,-177 35-15,17 16 0,1-15 0,0 16 16,17-18-16,-16 19 0,-2-19 0,19 19 16,140-35-1,-123 16-15,18 1 0,-18-1 0,-17 19 16,16-19-16,160-34 0,-141 52 15,0-17-15,-1-1 0,1-16 16,1 16-16,16 1 0,0-18 0,-17 18 16,194-54-16,-160 37 0,-15 16 15,-2 1-15,0-1 0,0 2 16,177-20-16,-177 20 0,1-2 16,-1 18-16,0-16 0,19 15 15,157-33-15,-175 16 16,17 19-16,-18-18 0,1 16 0,16-15 15,2-2-15,-19 18 0,19-16 0,-19 16 16,194-35-16,-176 36 16,159-37-16,-177 37 0,19-19 15,-19 19-15,0-1 0,0 1 16,1-2-16,-18-15 0,17 16 0,0 0 16,160-17-16,-160 18 0,-18-1 15,18 0-15,-17 0 16,353-35-16,-388 53 15,211-35-15,-159 35 0,89-36 16,-89 36-16,-52-17 0,17 17 16,-1-17-16,2 17 0,123-18 15,-125 18-15,125-17 0,-123 17 16,-20-19-16,20 19 16,-18 0-16,-2-17 0,20 17 0,-18 0 15,122-17-15,-104 17 0,-37-18 16,19 18-16,-1 0 0,1-18 15,105 18-15,-124-18 0,19 18 16,-36 0-16,19 0 0,-2-17 0,-34 17 16,17 0-16,53-17 15,-53 17-15,54 0 0,-1 0 16,-70 0-16,69-19 16,-70 19-16,1 0 15,0 0-15,53 0 0,-72 0 16,54 19-16,-54-19 0,2 0 15,-1 0-15,-18 0 16,18 0-16,-18-19 0,18 19 0,0 0 16,35-17-16,-53 17 15,-16 0-15,-2 0 0,54-18 16,-54 18-16,36 0 16,-35 0-1,-1 0-15,19-17 16,-19 17-1,1-17 1</inkml:trace>
  <inkml:trace contextRef="#ctx0" brushRef="#br0" timeOffset="-160456.45">29285 2707 0,'-18'-17'16,"89"52"15,-54-35-31,1 0 0,35 18 16,-36 0-16,19-18 15,-18 17-15,35 0 0,-1 19 16,-16-18-16,-19-1 0,1 2 16,-18-2-16,18 0 15,0 18-15,-36 1 16,0 17-16,-17-18 0,-36 53 15,18-52-15,-106 69 16,-34 1-16,69-53 16,1 0-16,-1 1 0</inkml:trace>
  <inkml:trace contextRef="#ctx0" brushRef="#br0" timeOffset="-123700.6">12175 11281 0,'0'-19'0,"18"2"16,0-1-1,0 1 1,-1-2-16,0 2 16,19-18-1,-18 35-15,-18-17 16,17 17-16,-17-19 0,17 38 62,2-19-46,-2 0 0,1 0-16,-1 0 0,-17-19 15,17 19-15,2 0 16,-2-17-16,1 17 15,-1 0-15,2 0 16,-2 0-16,0 0 16,-17-17-16</inkml:trace>
</inkml:ink>
</file>

<file path=ppt/ink/ink24.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22:39.510"/>
    </inkml:context>
    <inkml:brush xml:id="br0">
      <inkml:brushProperty name="width" value="0.05292" units="cm"/>
      <inkml:brushProperty name="height" value="0.05292" units="cm"/>
      <inkml:brushProperty name="color" value="#0070C0"/>
    </inkml:brush>
  </inkml:definitions>
  <inkml:trace contextRef="#ctx0" brushRef="#br0">5217 2580 0,'-18'0'47,"53"17"-31,-18-17-16,19 0 15,-1 17-15,54-17 16,-37 0-1,-16-17-15,52 17 16,-36 0 0,-16 0-16,35 0 0,-18-17 15,-1 17-15,55-18 16,-72 18 0,-18-17-16,54-2 15,-35 19 1,-36-17-16,52 17 15,-34-17 1,0-1-16,-1 18 16,0-18-1,1 0-15,0-16 16,0 15 0,-1-16 15,-17 18-31,0 0 0,0-2 15,0 2 1,0-18 0,-17-1-16,-1 1 15,18 18-15,-36-19 16,19 19 0,17-1-16,-35-18 15,17 19-15,0 0 16,1-2-16,-19 2 15,19-1 1,-1 1-16,1 0 0,0 17 16,-2-19-16,2 2 0,-1 17 15,-18-18-15,2 1 16,16-2-16,-18 2 16,19 17-16,-36-17 15,-18-1 1,36 0-16,-1 18 15,19 0-15,-54-18 16,19 18-16,16-17 16,2 17-16,16 0 15,0 0-15,-53 0 16,54 0-16,-18 17 0,-1 1 16,19-18-1,-18 18-15,-1 17 16,-17 1-16,35-19 15,1-17-15,-19 35 16,1 1-16,18-1 16,-19 1-16,19-19 15,-18 36-15,16-1 16,19-33-16,0-2 0,-17 18 16,17-18-16,0 19 15,0-1-15,17-16 16,-17-2-16,19 0 0,-2 1 15,18 18-15,36-2 16</inkml:trace>
  <inkml:trace contextRef="#ctx0" brushRef="#br0" timeOffset="430.05">6681 2526 0,'53'0'15,"-18"0"-15,89-17 0,-54 0 16,18 17-16,0-18 0,18 0 0,123-17 16,-122 18-16,245-19 15,-228 36 1,-19-18-16,90 1 0,-125 17 0</inkml:trace>
  <inkml:trace contextRef="#ctx0" brushRef="#br0" timeOffset="5915.13">29946 2721 0,'-988'71'16,"812"-54"-16,17 0 0,-17 1 15,-1 0-15,-140 17 16</inkml:trace>
  <inkml:trace contextRef="#ctx0" brushRef="#br0" timeOffset="6690.25">17546 3656 0,'283'-18'0,"-107"1"0,0-2 16,18 2-16,18 0 0,-1 17 0,18-18 15,1 0-15,228 0 0,-246 18 16,18 0-16,-18-17 0,0 17 16,-2 0-16,-15 0 0</inkml:trace>
  <inkml:trace contextRef="#ctx0" brushRef="#br0" timeOffset="14406.82">5799 3638 0,'35'-17'16,"-18"17"-16,1 0 0,18 0 0,-2-19 15,2 19-15,140-17 16,-52 0-16,-53 17 15,0 0-15,-2-18 0,2 18 0,-1-18 16,125 0 0,-124 18-16,34-34 15,-69 34-15,-19 0 0</inkml:trace>
  <inkml:trace contextRef="#ctx0" brushRef="#br0" timeOffset="14655.64">6346 3780 0,'35'0'16,"-18"-19"-1,19 19-15,-1-17 0,1 17 0,16-18 16,1 18-16,0-17 0,-1-2 15,19 19-15,-35-17 16,-1 17-16,1-17 0,-2 17 0,-16 0 0,35 0 16,-36 0-16,2 0 15</inkml:trace>
  <inkml:trace contextRef="#ctx0" brushRef="#br0" timeOffset="17112.5">6945 3409 0,'36'0'0,"-19"0"16,19-17 15,-19 17-31,1 0 0,-1-19 16,2 19-1,-2-17-15,0-1 16,1 18-1,-18-36 1,17 36-16,-17-17 16,0 0-16,0-1 15,19 1-15,-19-2 16,0 2 0,0 0-16,17-1 15,-17 0 1,0 0-16,0-16 15,0 15 1,0 2 0,0-1-16,-17 18 15,17-17-15,-19 0 16,19-2-16,-17 19 0,17-17 16,-18-1-16,1 1 15,0-2 1,-2 2-16,2 17 15,-1-17-15,-18 17 16,19-18 0,0 18-16,-1-18 15,0 18-15,0 0 0,1-18 16,0 18-16,-1 0 16,18-17-16,-36 17 15,2-17 1,15 17-16,2 0 0,-18 0 15,16 0 1,-15 0-16,16 0 16,-18 0-16,19 0 15,0 0-15,-1 0 0,0 0 16,-17 0-16,18 0 16,-2 0-16,2 0 0,-1 0 15,-16 0-15,15 0 16,2 17-16,-1-17 0,1 0 15,-2 0-15,2 0 16,-18 0-16,17 0 16,0 0-16,-16 0 0,16 17 15,0-17-15,-17 0 0,18 0 16,-19 18-16,1-18 16,-1 0-16,19 18 0,-18-18 15,-1 0-15,1 18 16,-1-18-16,19 0 15,0 17-15,-1-17 0,0 0 16,0 0-16,1 17 16,0-17-16,-2 0 0,2 0 15,-1 19 1,1-19-16,17 17 16,-19-17-16,19 18 15,-17-1-15,17 2 16,-17-19-16,17 17 15,-18 0 1,18 1-16,0-1 16,0 2-1,0-2 1,0 0-16,0 1 0,0 0 16,0 0-1,0-1 1,18 0-16,-18 2 0,0-2 15,17-17-15,-17 18 16,17-18-16,-17 17 16,19 0-16,-2-17 15,-17 19-15,18-19 16,-1 17-16,2-17 16,-19 18-16,17-18 15,0 0-15,1 0 16,0 17-16,0-17 15,-1 0-15,0 0 16,1 0 0,0 0-16,0 0 0,-1 0 15,0 0-15,2 0 16,16 19 0,-18-19-16,2 0 15,-2 0 1,0 0-16,1 0 0,-1 0 15,2 0-15,-2 0 0,0 0 16,1 17-16,18-17 16,-2 0-16,-16 0 15,0-17-15,17 17 16,18 0 0,1 0-16,-37 0 15,0 0-15,1 0 0,-1 0 16,19-19-16,-1 19 0,-17 0 15,0 0-15,16 0 0,-15 0 16,-2-17-16,1 17 0,16 0 16,2 0-1,-18 0-15,-1-18 16,2 18-16,-2 0 0,0 0 16,1 0-16,0 0 15,0 0 1,-1 0-1,0-17-15,1 17 32,0 0-32,0 0 15,-1 0 17,-17-19-32,17 19 0,2 0 15,16-17 1,-18 0-16,19 17 15,-1-35-15,-18 35 16</inkml:trace>
  <inkml:trace contextRef="#ctx0" brushRef="#br0" timeOffset="41979.12">19098 5190 0,'36'-17'0,"-19"17"0,1-19 0,35 19 16,52-17-16,-51 0 16,16 17-16,1-18 0,17 18 0,0-17 15,17 17-15,-15-19 0,15 19 16,0-17-16,-15 17 0,120 0 15,-103-17-15,-2 17 0,-17 0 16,19 0-16,-19 0 0,-17 0 0,-1 0 16,0 0-16,0 0 0,-16 0 0,-1 0 15,-18 0-15,-18 0 0,19 0 16,-19 0-16,19 0 0,-18 0 0,-1 0 16,0 0-16,1 0 15,0 0-15</inkml:trace>
  <inkml:trace contextRef="#ctx0" brushRef="#br0" timeOffset="42481.07">22643 4556 0,'0'-19'16,"0"72"-1,0-35-15,0 0 0,0 34 16,0-16-16,0-18 16,0 16-16,0-15 0,0 16 0,0-18 15,0 36-15,0-35 0,0 18 16,0-19-16,0 0 0,0 1 15</inkml:trace>
  <inkml:trace contextRef="#ctx0" brushRef="#br0" timeOffset="42758.01">22591 4573 0,'0'0'16,"18"0"-16,16 17 31,-15-17-31,-2 0 0,1 18 0,-1 0 16,2-18-16,-2 18 0,35-1 15,-33 0-15,15 2 16,-16-2-16,0-17 0,0 0 0,-1 18 16</inkml:trace>
  <inkml:trace contextRef="#ctx0" brushRef="#br0" timeOffset="42981.81">23226 4432 0,'-17'0'0,"-2"0"16,2 17-1,-1 2-15,18-2 0,-17 0 16,0 1-16,17 18 0,-19-19 0,2 18 16,-18 1-16,35-2 0,-19 2 0,-15 16 15,16-16 1,18-18-16,-17-1 0,17 2 0,0-2 15</inkml:trace>
  <inkml:trace contextRef="#ctx0" brushRef="#br0" timeOffset="43215.1">23173 4432 0,'0'-18'15,"0"53"1,17 18 0,-17-35-16,0 18 0,0 34 15,0-35-15,19 36 0,-19-37 16,0 2-16,0-1 16,17 1-16,-17-19 0,17 19 0,-17-18 15,0 16-15,18-16 0,0 0 0,0 0 16</inkml:trace>
  <inkml:trace contextRef="#ctx0" brushRef="#br0" timeOffset="43981.45">23543 4820 0,'18'-35'15,"-36"70"-15,54-89 0,-36 37 16,0 0-16,0-1 0,0 1 0,0-19 16,0 1-1,-18 35 1,0 0-16,1 0 15,17 18-15,-36 16 0,19-15 16,17 16-16,-18-18 16,1 19-16,17-1 0,0-18 0,0 2 15,17-2-15,-17 0 0,18 1 16,-1 0-16,2 0 0,-2-18 16,18 17-16,-17-17 0,0 0 15,16 0-15,-16 0 0,35-17 16,-17 17-16,-19 0 0,18-18 15,-16 18-15,-2-18 0,18 0 16,-18 1-16,2 0 0,-2-2 0,0 2 16,-17-1-16,18 1 0,-18-2 0,0 2 15,18 17-15,-18-17 0,0-1 0,0 1 16,0-2-16,-18 19 16,18-17-16,-18 17 0,1 0 15,0 17 1,-2 2-16,2-19 0,17 17 15,-18 1-15,18-1 0,-17 0 16,17 2-16,-17-19 0,17 17 0,0 1 16,0 18-16,17-19 15,0-17-15,1 0 16,-1 0-16,2 0 16,-2 0-16,-17-17 15,35-19-15,-17 18 16,-18 1-16,18-2 0,-18 2 15,0 0-15,17-1 0,-17 1 16,0-2 0,17 55-1,-17-18 1,0-1 0,0 0-16,19 2 0,-19-2 0,17 1 15,1-1-15,-1 2 16,0-19-16,2 17 15</inkml:trace>
  <inkml:trace contextRef="#ctx0" brushRef="#br0" timeOffset="44383.19">24355 4661 0,'0'-35'0,"0"70"47,0 18-31,0-35-16,0-1 15,0 19 1,0-19-1,18-17 1,16-17 0,2-2-16,-36 2 15,18 17-15,-1-17 0,0 17 16,2-18-16,-2 18 16,1 0-16,-1 0 15,2 0-15,-19 18 16,17-18-16,0 0 0,1 17 15,0-17-15,0 0 16,-1 17 0</inkml:trace>
  <inkml:trace contextRef="#ctx0" brushRef="#br0" timeOffset="46113.9">25483 4644 0,'107'-54'0,"-90"54"0,18 0 16,-16-17-16,15 17 15,-16 0-15,18-17 0,-19 17 0,18 0 0,1-19 16,-19 19-16,0-17 0,19 17 15,-18 0-15,-1-18 0</inkml:trace>
  <inkml:trace contextRef="#ctx0" brushRef="#br0" timeOffset="46358.84">25854 4290 0,'36'0'16,"-1"18"-16,-18-18 16,0 18-16,19-18 0,-18 18 0,35 16 15,-18-15-15,-17-2 16,0 1-16,-1-1 0,-17 2 0,17-2 16,-17 0-16,0 1 0,0-1 0,0 2 15,-17 15-15,17-16 0,-17 0 16,-37 34-16,37-16 15,-71 16-15,52-33 0</inkml:trace>
  <inkml:trace contextRef="#ctx0" brushRef="#br0" timeOffset="77027.03">27283 4202 0,'0'36'15,"0"-18"-15,0-1 0,0 0 0,0 37 16,0-37-1,0 36 1,0-35-16,0-1 0,0 2 0,0-2 16,18 0-1,-18 1-15</inkml:trace>
  <inkml:trace contextRef="#ctx0" brushRef="#br0" timeOffset="77456.36">27477 4256 0,'0'34'16,"17"20"0,-17-37-1,19 0-15,-19 2 0,17-2 0,0 1 16,1-1 0,0-17-16,-18 19 0,18-38 15,-1 19 1,18-17-16,-35-1 15,0 1-15,0-19 16,0 19-16,0-1 16,0 0-16,-35-17 15,35 18-15,-17 17 16,-1-18 0,-18 36-1,19-18-15</inkml:trace>
  <inkml:trace contextRef="#ctx0" brushRef="#br0" timeOffset="77989.09">27777 4202 0,'0'-17'0,"17"17"0,2 0 15,-2 0 1,0 0-16,1 17 16,-1-17-1,2 18-15,-19 0 0,0 0 31,0 16-15,0-16 0,0 0-16,17 0 15,-17-1 1,0 0-16,0 2 16,0-2-1,0 1-15,-17-1 16,-19 36-1,18-35-15,1-1 0,0 2 0</inkml:trace>
  <inkml:trace contextRef="#ctx0" brushRef="#br0" timeOffset="78485.64">27530 4890 0,'141'-34'16,"-106"34"-16,124-54 15,-106 37-15,0-2 16,-1 2-16,2 0 0,-1-1 0,-18-18 0,18 19 16,-18-18-16,18 17 0,-18-17 0,54-36 15,-54 37 1,-1-2-16,2-18 0,-18 20 0,18-20 15,-19 2-15,0-1 0,-17 17 0,18-16 16,-18-1-16,0 18 0,-18-1 16,1-17-16,0 1 0,-19 16 0,-18-16 15,20-2-15,-37 18 0,0 2 16,1 16-16,-1 1 0,-88-19 16,89 36-16,-1 0 0,2 0 0,-21 17 15,2 2-15,-88 33 16,88-16-16,18 16 0,-1 1 15,-53 71-15,89-53 0,-1-19 16,2 19-16,-1-1 0,16 54 16,19-53-16,0-19 0,19 1 15,104 123-15,-70-140 16,18 16-16,-19-16 0,18-18 16,54 18-16,-53-19 0,0-17 15,-19 0-15,18 0 0,-16 0 0,-1 0 16,-1-17-16,1-2 0,35 2 15,-52-1-15</inkml:trace>
  <inkml:trace contextRef="#ctx0" brushRef="#br0" timeOffset="84529.14">2818 5684 0,'-53'-35'16,"35"35"-16,1 0 0,17-17 0,-19 17 15,2 0 1,53 17 46,-19-34-46,1 17 0,-1 0-16,2-19 0,-2 19 15,0-17-15,1 17 16,-1-18-16,2 1 0,-2 0 15,0-2-15,1 2 16,0-1 0,-18 1-16,18-2 0,-18 2 15,17 0-15,-17-1 16,17 0-16,-17 0 16,0 1-16,19 17 15,-19-17-15,0-1 0,0 0 16,17 18-16,-17-18 0,0 1 15,18 17-15,-18-17 0,0-2 16,0 2 0,0-1-16,17 18 0,-17-17 15,0-2-15,0 2 0,0 0 16,-17-1-16,17 1 16,0-2-16,0 2 0,-18 0 15,18-1-15,0 0 16,-17 0-16,17 1 15,-19 0-15,2-1 16,17 0-16,-17 18 0,17-18 16,-18 18-16,0-17 0,0 0 15,1-2-15,0 19 0,-2 0 16,2-17-16,-1 17 0,1 0 16,0 0-16,-2 0 0,2 0 0,-1 0 15,-18 0-15,19 0 16,0 0-16,-1 17 0,1-17 0,-2 0 15,2 19-15,0-2 0,-1-17 16,18 17-16,-18 1 16,0 0-16,18 0 0,-17-1 0,0 18 15,17 1-15,0-19 0,0 0 16,-19 19-16,19-18 0,0-1 16,0 19-16,0 16 0,0-33 15,19-2-15,-19 18 0,0-17 0,0 0 16,0-1-16,0 0 0,17 1 15,-17 0-15,0 0 0,17-1 16,1 0-16,-18 2 0,18-2 16,17 1-16,-18-18 15,19 17-15</inkml:trace>
  <inkml:trace contextRef="#ctx0" brushRef="#br0" timeOffset="86424.64">10033 5578 0,'34'18'62,"1"-1"-46,1-17 0,-19 0-16,54 0 0,-18 0 15,-18 0-15,1 0 0,-1 0 16,18 0-16,-18 0 0,1 0 16,-2 0-16,2-17 0,-1 17 15,1 0-15,-1-18 0,-1 18 0,2 0 16,-1-17-16,-16 17 0,15-17 15,20-2-15,-37 19 0,18-17 16,-17 17-16,0 0 0,-1-18 0,0 18 16,2-17-16,-2 17 0,1-19 15,-1 19-15,2-34 0,-2 16 16,-17 0-16,17 0 0,-17 1 16,0 0-16,0-1 15,18 0-15,-18-17 0,0 18 0,0-19 16,0 18-16,-18 1 0,18-2 15,0-15-15,-17 16 0,17 1 16,-17-2-16,17 2 0,-19 0 0,2-1 16,-1 0-16,1 0 0,17 1 15,-36 0-15,19-1 0,-1 18 0,0-18 16,0 0-16,1 1 0,0 17 0,-1-17 16,0 17-16,0-19 0,1 19 15,0-17-15,-2 17 0,-16-18 0,18 18 16,-2 0-16,2 0 0,0-17 15,-1 17-15,-18-19 0,2 19 16,-2 0-16,1 0 0,0-17 16,17 17-16,0 0 0,1 0 15,0 0-15,-2 0 0,-16 0 16,18 0-16,-2 0 0,2 17 0,0-17 16,-1 0-16,1 0 0,-2 0 15,2 19-15,0-19 0,-19 0 16,18 17-16,1-17 0,0 0 0,-2 0 15,2 18-15,-1-18 0,1 0 16,17 17-16,-17-17 0,-2 0 0,2 19 16,-18-2-16,16-17 15,2 17-15,0-17 16,-1 18-16,0 0 16,0-18-16,18 18 15,-17-18-15,17 17 16,-17 0-16,17 1 15,-18-18-15,18 18 0,-18 0 16,18-1-16,0 0 16,-18 2-16,18-2 0,0 1 15,0-1-15,-17 0 0,17 2 16,0-2-16,0 1 0,0-1 16,0 2-16,0-2 0,0 0 15,0 19-15,0-18 0,0-1 16,0 0-16,0 1 0,17-18 15,-17 36-15,18-19 0,-18 0 16,18 2-16,-18-2 0,18 1 16,-1-1-16,0 2 0,1-2 15,0 0-15,34 18 16,-33-35-16,-2 19 0,18-19 16,-16 17-16,-2-17 0,0 0 0,1 17 15,-1-17-15,2 0 0,-2 0 16,0 18-16,1-18 0,18 0 15,-19 0-15,0 0 16,-17 18-16,19-18 16,-2 0-16,1-18 15,-1 18-15,0-18 16,2 18-16</inkml:trace>
  <inkml:trace contextRef="#ctx0" brushRef="#br0" timeOffset="91985.92">5375 6442 0,'-17'-17'0,"52"34"31,-17 1-15,0-18-16,-1 0 0,0 0 0,19 0 15,-18 0-15,52 0 16,-18 0-16,2 0 0,-1 0 0,18 0 15,-1 0-15,1 0 0,0 0 16,-2 0-16,143 0 16,-124 0-16,-17 0 0,-1 0 15,177-18-15,-176 1 16,-1 17-16,1 0 0,-18 0 0,18-17 16,-19 17-16,1 0 0,-17 0 15,16 0-15,-16-18 0,-1 18 16,18 0-16,-18 0 0,-16 0 0,15 0 0,37-18 15,-54 18 1,1 0-16,0 0 0,17 0 0,-18 0 16,19 0-16,-18 0 15,-1-18-15,19 18 16,-19 0-16,1 0 31,-1 0-15,2 0 15,-2 0 0</inkml:trace>
  <inkml:trace contextRef="#ctx0" brushRef="#br0" timeOffset="93462.68">13525 6620 0,'17'17'62,"19"-17"-46,-19 0-16,1 0 0,-1 0 0,2 0 16,15 0-16,-16 0 15,18 0-15,86 0 16,-34 0-16,-34 0 0,16 0 15,1-17-15,70 17 16,-70 0-16,0 0 0,34 0 0,-17-19 16,107 19-16,-125 0 0,18-17 15,-17 17-15,34 0 0,-34 0 16,17 0-16,-17 0 0,-1 0 0,1-18 16,17 18-16,53 0 15,-70 0-15,0 0 0,-19 0 0,1 0 16,18-17-16,-18 17 0,-18 0 0,1 0 15,-2 0-15,37 0 16,-36 0-16,1 0 0,-19 0 0,18 0 16,-17 0-16,0 0 0,-1 0 15,0 0-15,2 0 0,-2 0 0,1 0 16,-1 0 0,19 0-1,-19 0 1,1 0-1,-1 0 1</inkml:trace>
  <inkml:trace contextRef="#ctx0" brushRef="#br0" timeOffset="100082.01">3594 4890 0,'-17'0'0,"-2"0"0,2 0 15,-1 0 1,1 0-16,-19 0 15,19 18 1,-1-18-16,1 18 16,-2-18-16,2 0 0,0 0 15,-1 18 1,0-18-16,0 17 16,1 0-1,0-17-15,17 18 16,0 0-1,0 0-15,-18-1 16,18 0-16,0 2 16,0-2-16,0 1 15,0-1-15,0 19 16,0-19-16,0 1 16,18-1-16,-18 2 0,0-2 15,0 0-15,0 1 0,0 0 0,0 0 16,17-1-16,-17 0 0,0 1 15,17 18 1,-17-19-16,0 0 0,0 2 0,18-2 0,-18 1 16,18-1-1,-18 2-15,0-2 16,18 0-16,-18 1 16,17-1-1,-17 2 16,17-19-15,2 0 15,-2 0 1,1 0-17,-1 0 1,2 0-16,-2 0 15,18 0 1,-18 0-16,2 0 0,-2 0 0,18 0 16,-17 0-16,17 0 15,1 0-15,-1-19 0,89 19 16,-90-17-16,37 17 0,-18 0 16,-1-18-16,2 18 0,16-17 15,-16 17-15,16-17 0,-18 17 0,2-19 16,-1 19-16,-18 0 0,18-17 0,18 17 15,-37 0-15,20-18 0,-2 18 16,1 0-16,-17-17 0,16 17 0,-16 0 16,16 0-16,-16-19 0,17 19 15,-18 0-15,1 0 0,-1 0 16,-1-17-16,20 17 0,-18 0 0,-19 0 16,18 0-16,1-17 0,-2 17 15,-16 0-15,18 0 0,-19 0 0,19 0 16,-19 0-16,1 0 0,16 0 0,-15 0 15,-2-18-15,18 18 0,-16 0 16,15 0-16,-16 0 0,35 0 16,-18 0-16,-17-18 0,0 18 0,16 0 15,-15 0-15,16 0 0,-18 0 16,19 0-16,-19 0 0,1 0 0,18 0 16,-19 0-16,0 0 0,1 0 15,0 0-15,17 0 0,-18 0 16,1 0-16,0 0 0,0 0 0,-1 0 15,0 0-15,2 0 0,-2 0 16,1 0-16,-1 0 0,2 0 16,-2 18-16,0-18 0,1 0 0,-1 0 15,2 0-15,-2 0 16,0 18-16,1-18 0,0 0 0,0 0 16,-1 17-16,0-17 0,2 0 15,-2 17-15,1-17 0,-1 0 0,0 0 16,2 19-16,-2-19 0,1 0 0,-1 17 15,19-17-15,-19 0 16,1 0-16,0 18 0,17-18 0,-18 0 16,19 0-16,-18 0 0,-1 17 0,19-17 15,-19 0-15,1 0 0,35 0 16,-36 19-16,18-19 0,-16 0 16,-2 0-16,0 0 0,1 0 0,18 0 15,-19 17-15,0-17 0,1 0 16,0 0-16,0 0 0,-1 0 0,0 0 15,19 17-15,-18-17 0,-1 0 16,2 0-16,-2 0 0,0 0 16,37 18-16,-37-18 0,0 0 15,1 0-15,18 0 0,-19 0 16,0 0-16,19 0 0,-18 0 0,-1 0 0,19 0 16,-1 0-16,1 0 15,-19 0-15,0 0 0,18 0 16,-16 0-16,-2 0 0,18 0 0,-17 0 15,34 0-15,-33 0 16,-2 0-16,18 0 0,-18 0 0,19 0 16,-18 0-16,-1 0 0,2 0 0,15 0 15,-16 0-15,0 0 0,0 0 16,-1 0-16,0 0 0,1 0 0,0 0 16,0 0-16,-1 0 0,0 0 0,2 0 15,-2 0-15,1 0 16,18 0-16,-19 0 0,0 0 15,1 0-15,-1 0 0,2 0 16,-2 0-16,0 0 0,1 0 16,0 0-16,0 0 0,-1 0 0,0 0 15,2 0-15,-2 0 0,1 0 16,-1 0-16,0 0 0,2 0 16,-2-18-16,1 18 15,-1 0-15,2 0 0,-2 0 16,0 0-16,1 0 15,-1 0-15,2 0 0,-2 0 16,0-17 0,1 17-16,0 0 15,0 0-15,-1 0 32,0 0-32,2 0 15,-2 0 1,1-17-1,-1 17-15,0 0 16,2 0-16,-2 0 16,1 0-1,-1 0-15,2 0 16,-2 0-16,0 0 16,1-19-1,0 19 1,0 0-1,-1 0 1,0-17 15,1 17 1,0 0-17,-18-18 1,18 18-16,-1-17 31,0 17-15,-17-19-1,19 19-15,-2-17 32,1 0-17,-1-1 16,0 0 1,-17 0-17,19 1 1,-19 0 15,17 17-15,-17-18-16,0 0 15,-17 0 1,17 1-16,0 0 31,0-2-15,0 2 0,0-1-1,0 1 1,0-2-16,-19 2 15,19 0 1,-17-1 0,17 1-16,-17-2 31,-1 2-15,1 0-1,-2-1 1,2 18-1,17-18 1,-17 18 0,-1-18-1,0 18-15,0 0 32,1 0-17,0 0-15,-1-17 16,0 17-16,0 0 15,1 0 1,0 0 0,-19 0-1,18 0 1,1 0 0,-2 0-16,2 0 0,0 0 15,-1 0 1,-18 0-1,19 0 1,0 17-16,-1-17 16,0 0-1,0 0-15,1 0 16,0 0 0,-19 0-1,18 0-15,1 18 16,0-18-1,-19 0 1,18 0 0,1 0-16,-2 0 15,2 0-15,0 0 16,-1 18 0,1-18-1,-2 0-15,2 0 0,0 0 16,-1 0-16,0 0 15,-17 0-15,18 0 16,-2 0-16,2 0 0,-1 0 16,1 18-16,0-18 0,-2 0 0,2 0 15,-1 0-15,1 0 0,-2 0 16,-15 0-16,16 0 0,0 0 16,0 0-16,1 0 0,0 0 0,-1 17 15,0-17-15,0 0 0,1 0 16,0 0-16,-2 0 0,2 0 15,-1 0 1,1 0-16,-2 0 16,2 0-16,0 0 0,17 17 0,-18-17 15,-18 0 1,2 0 0,-2 0-16,1 0 15,-1 0 1,19 0-1,-18 0 1,18 0-16,-19 0 16,18 0-1,1 0-15,-2 0 16,2 0-16,0 0 16,-1 0-16,1 0 0,-2 0 0,2 0 15,0 0-15,-1 0 16,0 0-16,-17 0 15,18 0-15,-2 0 0,2 0 16,-1 0-16,1 0 16,0 0-16,-2 0 0,2 0 15,-1 0-15,1 0 0,-2 0 16,2 0-16,0 0 0,-1 0 16,0 0-16,-17 0 0,18 0 15,-1 0-15,0 0 0,0-17 16,1 17-16,-19 0 0,19 0 15,-18 0-15,-1 0 0,19 0 16,-18 0-16,16 0 0,-15 0 0,-2 0 16,-16 0-1,34 0-15,0 0 0,0 0 16,-16 0-16,15 0 0,2 0 16,-18 0-16,-1 0 15,19 0-15,-1 0 0,1 0 16,-2-17-16,2 17 0,0 0 15,-1 0-15,0 0 0,-17 0 16,-1 0-16,19 0 16,-1 0-16,1 0 15,0 0-15,-2 0 0,2 0 0,-1 0 16,1 0-16,-2 0 0,-15 0 0,16 0 16,0 0-16,-34 0 15,34 0-15,-35 0 16,0 0-16,18 0 0,-1 0 15,1 0-15,-18 0 16,18 0-16,-1 0 0,19 0 16,-36 0-16,18 0 0,-1 0 0,-16 0 15,-36 17-15,52-17 16,-17 0-16,1 0 0,16 17 0,-16-17 16,-38 0-16,56 0 15,-20 19-15,-34-19 0,54 0 16,-54 17-16,34-17 15,-16 0-15,16 0 16,37 18-16,-18-18 0,-1 0 0,-34 0 16,52 0-16,1 0 15,-2 0-15,2 0 0,0 0 16,-18 0-16,16 0 16,2 0-1,0 0-15,-1 0 16,0 0-16,0 0 15,1 0-15,0 0 16,-1 0-16,0 0 16,0 0-16,1 0 15,0 0 1,-2 0 0,2-18-16,-1 18 0,-18 0 31,2 0-31,34-17 0,-18 17 15,1 0-15,-2 0 16,2 0-16,0-19 16,-1 19-16,0 0 15,0 0 1,1-17 0,0 17-16,-2 0 15,2 0-15,-1 0 16,1-17-1,0 17-15,-2 0 16,2 0-16,-1 0 16,1 0-1,-2-18-15,2 18 16,0 0 0,-1 0-16,1 0 0,-2 0 15,2 0 1,-18-18-1,17 18-15,0 0 16,1 0 0,0 0-1,-2 0 1,2 0 0,-1 0-1,1 0-15</inkml:trace>
  <inkml:trace contextRef="#ctx0" brushRef="#br0" timeOffset="103234.72">8462 5032 0,'0'-18'0,"0"0"31,17 0-15,-17 1-16,19-18 15,-2 35 1,1-36-16,-1 36 0,2-17 0,-2 0 15,0-2-15,1 19 0,-1-17 16,2-1-16,-2 1 0,18 17 0,1-36 16,-2 36-16,-15-17 15,16-1-15,-18 1 0,19 17 16,35-36-16,-37 36 0,20-17 16,-2-1-16,1 0 0,0 0 0,-1 18 15,19-17-15,-18 0 0,1 17 16,16-19-16,-18 2 0,19 17 0,-18-18 15,1 18-15,-2-17 0,1 17 0,0 0 16,53-17-16,-53 17 0,18 0 16,-19-19-16,18 19 0,-16 0 15,-1 0-15,-1 0 0,-16 0 16,52 0-16,-35 0 16,-18 0-16,18 0 0,-18 0 0,18 0 15,35 0-15,-34 0 0,16 0 16,-35 0-16,36 0 0,-18 0 0,88 19 15,-89-19-15,19 0 0,-18 0 16,18 0-16,-19 0 0,19 0 16,-18 0-16,88 0 0,-70 0 15,0 17-15,17-17 0,-18 0 16,53 0-16,-52 0 16,-1 0-16,1 0 0,0 17 0,-1-17 15,-16 0-15,104 0 0,-87 18 16,0-18-16,-2 0 0,2 17 15,70-17-15,-70 0 0,-1 19 16,1-19-16,0 0 0,-1 0 16,1 17-16,0-17 0,-1 0 0,1 0 15,-2 17-15,2-17 0,0 0 16,-18 18-16,18-18 0,-1 0 0,1 0 16,-19 18-16,19-18 0,-18 0 15,0 18-15,53-18 0,-36 17 16,-16-17-16,34 17 0,17 2 15,-52-2-15,1-17 16,-2 18-16,18-18 0,-16 17 0,-1 0 16,16-17-16,38 19 0,-54-2 15,-1 1-15,2-18 0,-20 17 16,54 2-16,-52-2 0,18 0 16,-20 1-16,2-18 0,16 18 0,2 0 15,-20-18-15,20 17 16,-18 0-16,16 1 0,1 0 0,0-18 15,35 35-15,-36-18 0,2 2 16,-1-2-16,-1 1 0,1-1 16,54 19-16,-72-19 0,18 1 15,18-1-15,34 19 0,-52-1 16,53 1-16,-53-19 16,35 18-16,-17-17 0,-1 0 0,-18-1 15,19 19-15,0-19 0,-1 1 16,1-1-16,0 2 0,-1 15 0,1-16 15,17-1-15,71 19 0,-71-1 16,-18-17-16,18 0 0,-17-1 16,17 0-16,-17 1 0,17 0 0,1 0 15,-20 16-15,21-15 0,-2-2 16,88 18-16,-88 1 0,0-19 16,-18 1-16,18 18 0,0-19 15,2 0-15,191 54 16,-210-54-16,35 2 0,-18 16 0,0-18 15,0 0-15,0 2 0,0-2 0,0 1 16,2-1-16,-2 2 0,0-2 16,0 0-16,0 1 0,0 0 15,70 17-15,-68-18 0,-2 1 16,0 0-16,-18-18 0,1 18 0,-19-1 16,19-17-16,-1 17 0,1 2 15,0-19-15,-18 17 0,18-17 0,-19 18 16,1-18-16,0 17 0,18-17 15,-36 19-15,1-19 0,-2 0 16,1 17-16,-16-17 0,15 0 0,-16 0 0,0 0 16,0 0-16,-1 17 0,0-17 15,2 0-15,-2 0 16,-17-17-16,18 17 16,-18-17 15,-18-2-16,18 2-15</inkml:trace>
  <inkml:trace contextRef="#ctx0" brushRef="#br0" timeOffset="103608.55">22679 6301 0,'0'0'32,"35"19"-32,-16-2 15,-2-17-15,-17 17 0,17-17 16,1 18-16,-1 0 0,2-18 0,-2 18 15,0-1-15,1-17 0,0 17 0,0 1 16,-1 0-16,0 0 16,-17-1-16,19 0 0,-19 2 15,0-2-15,0 1 0,0-1 16,-19-17-16,2 19 16,17-2-16,-17 0 0,-1 1 0,0-18 15,-17 17-15,18 2 0,-2-2 0,-16 0 16,18 1-16,-19 0 0,19-18 15,-1 18-15,-18-18 0</inkml:trace>
  <inkml:trace contextRef="#ctx0" brushRef="#br0" timeOffset="106331.45">25749 5878 0,'-18'0'0,"53"0"46,36-17-30,-37 17-16,2-19 0,-1 19 16,1 0-16,16 0 0,-16-17 0,-1 17 15,1 0-15,-2 0 0,20-17 0,-37 17 16,19 0-16,-19 0 0,1 0 16,-1 0-16,2-18 0,-2 18 0,0 0 15,1 0-15</inkml:trace>
  <inkml:trace contextRef="#ctx0" brushRef="#br0" timeOffset="106659.67">26225 5561 0,'34'0'0,"-68"0"0,87 0 0,-36 0 0,1 0 15,-1 0-15,19 17 0,-19-17 16,37 18-16,-37-1 16,36 2-16,-35-2 0,-1 0 15,0 1-15,1 0 0,18 34 16,-36-34-16,0 18 15,0-19-15,-18 19 0,0-19 16,0 18-16,-16 1 0,16-1 0,-18 1 16,19-2-16,-19 2 0,-16 16 15,35-33-15,-2-2 0</inkml:trace>
  <inkml:trace contextRef="#ctx0" brushRef="#br0" timeOffset="124206.34">27794 5649 0,'0'-17'0,"0"51"31,0 2-15,0-18-16,0-1 0,0 18 0,0-17 15,0 17-15,0 1 0,0 35 16,0-37-16,0-16 16,0-1-16,0 19 0,0-19 0,0 1 15,0 0-15,0 0 0</inkml:trace>
  <inkml:trace contextRef="#ctx0" brushRef="#br0" timeOffset="124600.5">28023 5702 0,'-17'35'16,"34"18"-1,-17-35 1,0-1-16,19 0 0,-19 2 16,17-2-16,18 18 15,-18-16-15,19-19 16,-1 0-16,-16 0 0,-2 0 0,0 0 15,1-19-15,-1 2 0,19-18 16,-36 16 0,0-33-1,0 34-15,-17 0 0,17 1 0,0 0 0,-36-19 16,18 18 0,1 1-16,-19 17 15,1 0 1,18 0-16,-19 0 15</inkml:trace>
  <inkml:trace contextRef="#ctx0" brushRef="#br0" timeOffset="125373.77">28499 5508 0,'36'17'16,"-18"-17"-16,-1 19 15,-17-2-15,0 18 16,0-18-1,0 2-15,-17-2 16,34 18 0,-17-17-16,19 0 15,-19-1-15,0 0 16,17-17-16,-17 36 16,17-18-16,-34-1 15,0 0 1,17 2-16,-19-2 15,2-17 1,17 18-16</inkml:trace>
  <inkml:trace contextRef="#ctx0" brushRef="#br0" timeOffset="125551.89">28799 5720 0,'0'-18'16</inkml:trace>
  <inkml:trace contextRef="#ctx0" brushRef="#br0" timeOffset="125871.64">29223 5384 0,'0'-18'16,"0"54"-1,0 16 1,0-33-1,0-2-15,0 1 0,35 18 16,-35-19-16,19 0 16,-2 1-16,0-18 15,1 17-15,-1-34 32,-17-1-17,-17 18 1,-18 0-16,18 0 15,-37 18 1,18-1-16</inkml:trace>
  <inkml:trace contextRef="#ctx0" brushRef="#br0" timeOffset="126410.71">28253 6249 0,'53'0'0,"0"0"0,-18 0 0,1 0 0,-1 0 16,18 0-16,18-19 0,69 2 16,-70 17-16,20-17 0,-21-1 15,2 1-15,18-2 0,-37 2 0,177-54 16,-158 54-1,141-88 1,-141 69-16,-1 1 0,-18-1 0,19-17 16,88-106-16,-71 54 15,-70 70-15,0-18 16,-1 17-16,-17-16 0,0 16 0,-17 1 16,-1-18-16,-18 18 0,2-18 15,-90-35-15,36 34 16,0 20-16,0-2 0,0 1 0,-36 18 0,0-2 15,1 2-15,-1 17 0,-193 0 16,141 0-16,-2 36 16,2-19-16,18 18 0,-1 1 0,-17 16 0,17 1 15,1 18-15,-1-1 16,18 1-16,-195 176 16,248-159-16,17-18 0,19 1 0,16 0 15,1-1-15,17 36 16,18-36-16,70 37 0,-16-55 15,16-16-15,18-1 0,19 1 0,-2-2 16,142-16 0,-106 0-16,1-18 0,139-18 15,-157 18-15,0-18 0,-1 1 0,-17 0 0</inkml:trace>
  <inkml:trace contextRef="#ctx0" brushRef="#br0" timeOffset="132390.53">29311 3868 0,'54'-18'0,"-37"0"0,0 18 16,37-18-16,122-35 15,-88 36-15,0-1 0,-18 1 16,1 17-16,53-36 15,-53 19-15,-1 17 0,-18-18 0,107-18 16,-123 36 0,-19 0-16,19 0 0,-18 0 0,16 0 15,20 19 1,-37-19-16,0 17 0,2 18 0,69 72 16,-53-55-1,53 106-15,-70-104 16,17-1-16,1-1 0,-1 1 0,-18 1 15,0-2-15,37 37 16,-18-37-16,-19-16 0,18 35 16,-17-37-16,-18-16 0,18 0 15,-18 0-15,17 16 0,-17 20 16,-17-54-16,17 17 16,0 0-16,-18 2 0,0-2 0,0 1 15,1-1-15,-71 54 16,52-53-16,-87 52 15,70-52-15,18 0 0,-1-1 16,-52 0 0,52 2-16,19-19 0</inkml:trace>
  <inkml:trace contextRef="#ctx0" brushRef="#br0" timeOffset="138002.57">11637 5120 0,'18'-18'0,"-18"70"47,0-16-31,0-18-16,0-1 16,0 2-16,0-2 0,-18 18 0,18-17 15,-35 70 1,35-70-16,-36 35 0,36-36 15,-35 18-15,35-16 16,-17-2-16,0-17 0</inkml:trace>
  <inkml:trace contextRef="#ctx0" brushRef="#br0" timeOffset="138630.51">12466 4908 0,'-71'0'16,"54"18"-16,0-18 0,-1 18 0,-18-1 16,2 18-1,-2 1-15,18-2 0,18-15 0,-17-19 16,17 17-16,-17 18 16,34-18-16,0-17 31,1 0-31,-1-17 15,2 17-15,-2 0 0,-17-17 0,53-1 16,-53 1-16,18 17 16,-1-19-1,0 19-15,1 19 16,0 16 0,-18-18-16,0 0 15,18 19-15,-18-18 0,0-1 0,0 19 0,0-19 16,17 19-16,-17-1 15,0 0-15,0-17 0,0 0 16,17-1-16,-17 0 0</inkml:trace>
  <inkml:trace contextRef="#ctx0" brushRef="#br0" timeOffset="139195.73">12890 5085 0,'-19'-36'15,"2"19"1,-18 17 0,18-18-1,-2 18-15,-15 35 16,16-35-16,0 17 0,0 2 15,1-2-15,0 18 16,17-18-16,0 2 16,0-2-1,17-17 1,0 0-16,1 0 0,0-17 16,0 17-16,-1-19 15,0 19-15,2-17 0,-2 0 16,1 17-1,-1-18-15,0 36 16,2-1 0,-19 0-16,0 2 15,17-19-15,-17 17 0,0 1 16,0-1-16,18 19 16,-18-19-16</inkml:trace>
  <inkml:trace contextRef="#ctx0" brushRef="#br0" timeOffset="139840.57">13313 5066 0,'-18'0'0,"1"0"31,17-17-15,0 0 0,-19-1-1,19 0 1,-17 18-1,0-18 1,-1 18 0,1 18-16,-2-18 0,2 18 0,0-18 15,17 18-15,-18-18 16,0 17-16,0 0 0,18 2 16,-17-19-16,17 17 15,17 1 1,1-18-16,0 0 15,0 0 1,16 0 0,-15 0-16,-19 17 0,17-17 0,1 17 15,-1 19 1,-17-18 0,0-1-16,0 2 0,0-2 0,17-17 15,-17 35 1,0-17-16</inkml:trace>
  <inkml:trace contextRef="#ctx0" brushRef="#br0" timeOffset="141103.73">12537 5649 0,'70'0'0,"-52"0"16,18 0-1,-2 0-15,73 0 16,-55 0-16,1 0 0,1 0 0,15 0 0,-16-17 16,1 17-16,104-19 15,-104 19-15,-2-17 0,-16 17 16,-2 0-16,2-18 0,-1 18 16,1-17-16,52-19 15,-53 36-15,-18-17 0,2-1 16,-2 18-16,0-17 0,-17-2 0,18 2 15,0-18 1,-18 17-16,18-17 0,-18 0 16,0 17-16,0-17 15,0 18-15,0-2 0,0 2 0,0-1 16,-18-52 0,0 52-16,18 1 0,-18-2 0,-16-51 15,15 52 1,2 1-16,-1-18 0,-16-1 15,15 19-15,2-19 0,-1 19 0,1-1 16,-54-35 0,53 36-16,-52-18 15,34 16-15,2 19 0,-56-34 16,56 34 0,-1-18-16,-1 18 0,1 0 0,-1 0 15,2-18-15,-73 18 16,90 0-16,-18 0 0,-72 0 15,2 0 1,69 0-16,-69 18 16,87-18-16,-18 0 15,2 0-15,-2 0 0,-52 18 16,70-18-16,-16 17 16,-20 0-16,37-17 15,-19 19-15,-16-2 16,52 1-16,-19-1 0,2 0 15,0-17-15,-1 19 0,0-2 0,0 1 16,-16 18 0,16-19-16,0 0 0,0 1 0,1 0 15,17 17-15,-17-18 16,-2 37 0,2-20-16,17-15 0,0 16 0,-18 35 15,18-35 1,18 1-16,-18 69 15,17-51-15,2-20 0,-2 2 16,-17-18-16,17 18 0,37 33 16,-37-33-16,0-19 15,1 1-15,18 18 16,-36-19-16,17 0 0,0 1 0,-17 0 16,36 17-16,-18-18 15,-1 2-15,2-19 16,-2 0-1</inkml:trace>
  <inkml:trace contextRef="#ctx0" brushRef="#br0" timeOffset="143303.85">28359 4044 0,'300'-230'0,"-212"177"16,-17 1-16,17 16 0,-17-16 16,175-89-1,-158 87-15,0 20 0,0-2 0,0 1 0,-17-18 16,18 18-16,-19-1 0,124-35 16,-140 37-16,16-2 15,-35 36-15,0-18 16,-17 1-16,34 0 15,-33-2-15,-2 19 0,1 0 0,-18-17 16,17 17-16,2-18 16</inkml:trace>
  <inkml:trace contextRef="#ctx0" brushRef="#br0" timeOffset="143596.68">29982 2880 0,'35'-18'0,"-18"18"0,36 0 16,-35 0-16,52 18 15,-34-18-15,-1 17 0,18 0 16,-18 2-16,18-2 0,-18 1 0,1 18 16,17-2-16,-35-16 15,-1 18-15,-17-19 0,0 0 16,0 1-16,0 18 0,-17-19 0,-1 19 0,0-19 16,0 18-16,-16 1 0,-2-1 15,18-18-15,1 2 0,-19-2 0,19 0 16,-18 1-1</inkml:trace>
  <inkml:trace contextRef="#ctx0" brushRef="#br0" timeOffset="144759.6">31569 2562 0,'18'0'0,"-18"-17"16,18 17-1,-1 0 1,0 0 0,-17-19-1,-17 55 95,0-18-95,-1-1-15,-18 19 0,19-19 0,-19 18 16,19 1-16,-18-19 0,18 19 0,-37 34 15,37-52-15,-19 34 16,19-33 0,17-2-16,0 1 0,17-1 15,36-17 1,-35 0-16,35 0 16,-18 0-16,1 0 15,86-17 1,-86-1-16,-1 18 0,-18 0 0,19-17 0,-1 17 15,18-36 1,-35 36 0</inkml:trace>
  <inkml:trace contextRef="#ctx0" brushRef="#br0" timeOffset="145000.65">31710 2509 0,'-17'17'16,"17"54"-1,-18-35 1,0 69 0,0-69-16,1 16 0,0 36 15,-1-52-15,18-1 16,0-16-16,-18-2 0,18 35 15,0-33-15,0-2 16,18-17-16</inkml:trace>
  <inkml:trace contextRef="#ctx0" brushRef="#br0" timeOffset="145539.07">32063 2545 0,'0'-19'0,"-36"55"31,19-1-16,17-18-15,0 2 0,0-2 16,17 37 0,-17-37-16,19-17 0,16 35 15,-18-35-15,0 18 16,2-18-16,-2 0 0,1 0 0,18 0 16,-19 0-1,0-18-15,1 0 0,0-16 16,-36-20-1,18 37-15,-18-2 16,-16-15 0,15 16-16,2 18 0,-18-17 15,16 17-15,2 0 16</inkml:trace>
  <inkml:trace contextRef="#ctx0" brushRef="#br0" timeOffset="146252.62">32434 2456 0,'17'-18'0,"18"36"16,-16-18-1,-2 0 1,0 18 0,-17 0-16,0-1 0,-17-17 15,0 36 1,-2-36-16,19 17 0,-17 1 15,17-1 1,0 0 0,0 2-16,0-2 0,17-17 0,-17 18 15,0-1-15,0 19 16,19-36-16,-19 17 16,-19 1-1,2 18 1,-1-19-16,-35 36 15,36-35-15,-1-18 16,0 34-16,0-15 0,1-2 0</inkml:trace>
  <inkml:trace contextRef="#ctx0" brushRef="#br0" timeOffset="147087.53">31869 3321 0,'124'-19'16,"-107"19"-16,36 0 0,-18-17 0,18 17 16,1-17-16,122-18 15,-123 35-15,18-19 0,-19 2 16,1 0-16,0-1 16,-1 0-16,2 0 0,-1-16 0,-18 15 0,18-16 15,-1 1-15,-16-2 0,17 1 0,-18 16 16,1-15-16,-1-2 15,-18 1-15,19 0 0,-19-1 0,1 19 16,-18-19-16,36-35 16,-36 37-16,0-37 15,0 54-15,-19-19 0,19 18 16,-17-16-16,-1 15 0,1-16 16,-2 1-16,2-2 0,0 18 0,-18-18 15,16 2-15,2 16 0,-18-18 0,-1 19 16,19 0-16,-54-19 15,37 18-15,-20 1 0,1 0 16,0-2-16,-123 2 16,124 17-16,-2-18 0,1 18 0,-88 0 15,106 0 1,-18 0-16,-1 18 0,-15-18 0,16 17 16,-1-17-16,1 19 0,-16-2 15,15-17-15,1 17 0,0 1 0,18 0 16,-18 0-16,1-1 0,-2 0 0,20 2 15,-20-2-15,18 1 0,19-1 16,-36 0-16,18 2 0,18 16 0,-19-18 16,1 2-16,-18 33 15,35-35-15,1 2 0,-19 15 16,19 2-16,-1-1 0,1 1 0,-2 16 16,2-16-16,0 105 15,17-89-15,0 2 16,0-20-16,17 20 0,-17-1 0,17-1 15,2 1-15,-2-17 0,18 16 0,-18-16 16,37-1-16,-18 1 0,16-1 0,-16-18 16,16 2-16,18-2 0,-16 0 15,-1 1-15,-1-1 0,89 2 16,-105-19-16,-1 0 0,-18 0 16,19 0-16,18 17 15,-37-17-15</inkml:trace>
  <inkml:trace contextRef="#ctx0" brushRef="#br0" timeOffset="162075.66">14354 5066 0,'35'0'15,"-70"0"48,-18 19-63,35-19 15,1 0-15,-36 17 16,35-17-16,0 18 0,0-18 0,-52 17 16,52-17-16,1 0 15</inkml:trace>
  <inkml:trace contextRef="#ctx0" brushRef="#br0" timeOffset="162310.32">14142 4978 0,'-36'18'16,"19"0"-16,17 0 0,-35 52 31,18-35-31,17-18 0,-19 19 0,19-18 0,0-1 16,0 2-16,36 15 15,-19-16-15,18-18 16,-16 18-16,-2-18 0,18 0 16,-17 0-16</inkml:trace>
  <inkml:trace contextRef="#ctx0" brushRef="#br0" timeOffset="167236.01">23031 11681 0,'0'-17'0,"0"-1"16,0 1 15,-17 52 0,0 18-15,17-36-16,-18 1 0,1-1 0,17 19 16,-19-19-16,19 1 0,-17 0 15,17 17-15,0-18 0,-17-17 0,17 18 16,0 0-16,0 0 0,0-1 15,17-17-15</inkml:trace>
  <inkml:trace contextRef="#ctx0" brushRef="#br0" timeOffset="167560.09">23331 11876 0,'0'34'16,"-17"20"-1,17-37 1,-17 54 0,-1-54-16,18 2 0,0 15 0,-18-16 15,18-1-15,-18 2 0,18-2 16,0 0 0</inkml:trace>
  <inkml:trace contextRef="#ctx0" brushRef="#br0" timeOffset="168037.27">23685 11646 0,'17'0'0,"19"0"16,-19 0-16,-17 18 15,18-18-15,-1 36 16,-17-19-16,-17 0 16,17 1-16,-18 18 0,1-19 15,-2 0-15,2 19 0,-18-18 0,17-1 16,0 0-16,1 1 0,17 0 0,-17 0 16,-1-18-16,18 17 0,-18-17 15,18 17-15,-18 2 16,36-19-16,0 17 15,0-17-15,-1 0 16,0 0-16,19 0 0,-18 0 16,-1-17-16,0 17 0,2 0 0,16 0 15,-18-19-15,2 19 0</inkml:trace>
  <inkml:trace contextRef="#ctx0" brushRef="#br0" timeOffset="168226.76">24002 11840 0,'17'0'0,"2"18"16,-19 0-1,17-1-15,-17 0 0,-17 54 16,17-35-16,-19-19 16,19 18-16,-17-16 0,0 15 15,-1 1-15,18-16 0,-18-2 16,18 0-16,0 1 0</inkml:trace>
  <inkml:trace contextRef="#ctx0" brushRef="#br0" timeOffset="168738.01">24549 11610 0,'17'0'0,"2"19"31,-19-2-31,-19 18 16,19-16-1,-17-19-15,17 17 0,0 0 31,0 1-31,17-1 16,2 2 0,-2-19-16,-17 17 15,17 0 1,-17 19-16,-17-18 0,-19 16 16,19-16-16,-1 0 15,1 0-15,-2-1 0,-15 19 16</inkml:trace>
  <inkml:trace contextRef="#ctx0" brushRef="#br0" timeOffset="168949.29">24902 11788 0,'17'17'32,"-34"0"-32,17 1 0,0 0 15,0 0-15,-19-1 0,19 0 0,-17 1 16,17 18-16,-17-19 0,17 0 0,0 2 16,-18-2-16,18 1 0</inkml:trace>
  <inkml:trace contextRef="#ctx0" brushRef="#br0" timeOffset="169441.55">25325 11593 0,'-18'36'16,"18"-19"-16,-17-17 0,17 18 15,-17-1-15,-2-17 0,19 19 0,-17-19 16,-1 17-16,18 0 0,-17 1 16,-2-1-16,19 2 0,0-2 15,0 0-15,0 1 16,36 0-1,-18-18-15,-1 0 16,2 0-16,-2 0 0,18 0 16,-18 0-16,2 0 0,-2 0 15,36-18-15,-35 18 0,-1 0 16,-17-18-16,17 18 0,2-17 0,-2 0 16</inkml:trace>
  <inkml:trace contextRef="#ctx0" brushRef="#br0" timeOffset="169655.01">25449 11558 0,'-18'35'32,"18"-18"-32,-18 2 15,18-2-15,0 1 0,0-1 0,0 36 16,0-35-16,0 18 0,0 34 15,0-52-15,0 16 16,0 2-16,0-1 0,0 1 16,0-19-16,18 1 0,-18-1 15,0 2-15</inkml:trace>
  <inkml:trace contextRef="#ctx0" brushRef="#br0" timeOffset="169905.52">25890 11717 0,'17'17'31,"-17"18"-15,0-16-16,-17-2 0,17 18 15,0-17-15,-19 17 0,2-18 0,17 19 16,-17-18-16,17 16 0,-18-15 0,18-2 16,-18 1-16,18-1 0</inkml:trace>
  <inkml:trace contextRef="#ctx0" brushRef="#br0" timeOffset="170987.78">26718 11417 0,'-17'-17'0,"-1"51"16,-18 2 0,19-1-16,17-18 0,-17 19 0,-1-18 15,18 16-15,-18 2 0,18-18 16,0 18-16,0-19 0,0 18 0,0-18 16,0 2-16,18-2 0,-18 18 0,18-17 15,-1 0-15,0-1 16,2-17-16,-2 0 15,1 0-15,-1 0 0,2 0 16,-2-17 0,-17-1-16,0 0 15,-17 18-15,17-18 16,-19 1 0,2 0-16,-18-2 15,16 19 1,2 0-1</inkml:trace>
  <inkml:trace contextRef="#ctx0" brushRef="#br0" timeOffset="171352.45">26947 11558 0,'0'35'16,"0"-18"-16,-17 19 15,17-1-15,0-16 0,0-2 16,0 0-16,0 1 0,0-1 0,17 2 16,2-2-16,-19 0 15,17-17-15,1 0 0,-1 18 0,0-18 16,2 0-16,-2-18 15,1 18-15,-1 0 0,2-17 0,-2 0 16,0-2-16,-17 2 16,0-1-16,0 1 0,0 0 15,-17-2-15,17 2 0,0-1 0,-17 1 16,-2-2-16,2 2 16,-1 0-16,1 17 0,-19 0 15,19 0 1,-1 0-16,1 17 0,-2-17 0,2 17 15</inkml:trace>
  <inkml:trace contextRef="#ctx0" brushRef="#br0" timeOffset="172131.67">27971 11700 0,'18'-19'16,"-1"19"-16,0 0 15,37 0 1,-37 0-16,0-17 0,19 17 0,-18 0 16,18 0-16,-19 0 0,18 0 15,-18-18-15,19 18 0,-19 0 0,1 0 0,0-17 16,0 17-16,-1 0 0,0-19 15,2 19-15,-2 0 0,1-17 16,-1 17-16</inkml:trace>
  <inkml:trace contextRef="#ctx0" brushRef="#br0" timeOffset="172446.89">28306 11434 0,'0'-17'15,"17"17"1,19 17-16,16 1 16,-33-18-1,16 18-15,35 17 16,-52-35-16,-1 17 0,2 1 15,-2 0-15,0-18 0,-17 18 0,18-1 16,0 0-16,-18 2 16,18-2-16,-18 1 0,-18-1 15,18 2-15,-36 15 0,19-16 16,0 18-16,-19-2 0,1 2 16,-1-1-16,1-18 0,-1 19 0,2-18 0,-2 16 15</inkml:trace>
  <inkml:trace contextRef="#ctx0" brushRef="#br0" timeOffset="173700.29">29699 11134 0,'-17'36'15,"17"35"1,-17-36 0,17-18-16,0 19 0,-19-1 0,19-18 15,-17 19-15,17-19 0,0 19 0,-18-18 16,18-1-16,0 0 16,-17 1-16,17 0 0,0 0 0,0-1 15</inkml:trace>
  <inkml:trace contextRef="#ctx0" brushRef="#br0" timeOffset="173971.2">29646 11134 0,'36'0'31,"-36"18"-31,17-18 16,-17 18-16,18-18 0,-18 18 0,18-18 0,-18 17 16,18 0-16,-18 2 15,17-19-15,0 17 16,1 1-16,0-18 0</inkml:trace>
  <inkml:trace contextRef="#ctx0" brushRef="#br0" timeOffset="174204.29">30123 11081 0,'-18'19'15,"0"-19"-15,1 34 16,0-34-16,17 18 16,-19 18-16,2-19 0,-1 0 0,1 19 15,-2-18-15,2-1 0,0 19 16,-1-19-16,1 18 0,-2-16 16,19-2-16,0 0 0,-17-17 0,17 18 15</inkml:trace>
  <inkml:trace contextRef="#ctx0" brushRef="#br0" timeOffset="174434.67">30123 11134 0,'-18'54'31,"18"-1"-16,0-36-15,0 18 0,-18-18 0,18 19 16,0-18-16,0 18 0,0-19 16,0 18-16,0-17 0,0 0 0,0-1 15,0 0-15,0 1 0,0 0 16,18 0-16,-18-1 16,18-17-16</inkml:trace>
  <inkml:trace contextRef="#ctx0" brushRef="#br0" timeOffset="174778.37">30353 11576 0,'17'-36'0,"-34"72"0,34-90 15,-17 37-15,0 0 0,0-1 16,0 0-16,0 0 0,0 1 16,-17 0-1,-2 17 1,19 17 0,-17 0-16,17 1 0,-18 0 0,18 0 15,0-1-15,0 0 16,0 1-16,0 0 15,18 0-15,-1-1 0,2-17 16,-19 17-16,34-17 0,1 0 16,-16 19-16,-2-19 0,0-19 15,19 19-15</inkml:trace>
  <inkml:trace contextRef="#ctx0" brushRef="#br0" timeOffset="175192.45">30846 11434 0,'-17'-17'15,"34"34"-15,-34-51 0,-1 34 16,0 0 0,0 0-16,1 0 15,0 0-15,-2 17 0,-33 18 16,52-17 0,-19 0-16,2 16 15,0-34-15,17 18 16,17 18-1,0-19 1,2-17-16,-2 0 0,37-17 16,-54-1-1,17 0-15,0 18 0,-17-18 0,18 1 16,-18 0-16,18 17 0,-18-18 16,18 0-1,-18 36 32,0 34-31,0-34-16,17 0 15,0 0 1,1-18 0</inkml:trace>
  <inkml:trace contextRef="#ctx0" brushRef="#br0" timeOffset="175533.55">31058 11452 0,'-19'36'47,"19"-19"-16,0 0-31,-17 1 16,34 0-1,19-36 17,-18 18-17,-1-18-15,2 18 16,15-17-16,-16 17 15,0 0 1,0 17 0,-1 1-16,0-18 15,-17 18-15,18-18 0</inkml:trace>
  <inkml:trace contextRef="#ctx0" brushRef="#br0" timeOffset="188015.11">31817 11346 0,'34'0'16,"1"-36"-16,18 72 0,-35-36 0,-18 0 16,36-36-16,-54 72 0,36-53 0</inkml:trace>
  <inkml:trace contextRef="#ctx0" brushRef="#br0" timeOffset="188189.3">31851 11540 0,'18'18'0,"176"-266"0,-211 284 16,-143 176-16,196-212 0,-19 0 0,125-248 16,-266 496-16,194-425 0,-122 354 0,104-371 0</inkml:trace>
  <inkml:trace contextRef="#ctx0" brushRef="#br0" timeOffset="188447.93">32557 11222 0,'0'36'31,"0"-18"-15,0-1-16,0 19 0,-18 35 31,1-54-31,17 18 0,-17 1 16,17-19-16,-19 18 0,19-17 16,0 0-16,-17 16 15</inkml:trace>
  <inkml:trace contextRef="#ctx0" brushRef="#br0" timeOffset="189099.08">32874 11293 0,'-17'17'32,"-1"2"-17,1-2-15,-2 1 16,2 18-16,-18-2 16,17-16-16,-17 18 0,18-2 15,-1-16-15,0 0 16,18 0-16,0-1 15,18 0 1,0-17 0,-1 0-16,18 0 15,-17 0-15,17 0 0,-18 0 16,2 0-16,16 0 16,1 0-16,-19-17 0,0 17 15,18 0-15,-16-17 0,-2 17 16</inkml:trace>
  <inkml:trace contextRef="#ctx0" brushRef="#br0" timeOffset="189355.51">32893 11310 0,'-19'36'15,"19"-18"-15,-17-1 0,-1 36 16,18-35-16,-17 18 16,-2 34-16,2 1 15,0-36-15,17 1 0,0-2 16,0-16-16,0 18 0,0-19 15</inkml:trace>
  <inkml:trace contextRef="#ctx0" brushRef="#br0" timeOffset="190237.41">23843 13252 0,'0'-19'15,"18"55"1,-18-1 0,-18 1-16,18 34 31,0-18-31,0-33 0,0 16 15,-17 1-15,17-19 0</inkml:trace>
  <inkml:trace contextRef="#ctx0" brushRef="#br0" timeOffset="190463.23">24126 13393 0,'17'17'16,"-17"1"-1,0 16-15,-17 2 16,17-1-16,-19 1 16,2 16-16,17-33 15,-17 15-15,-1 2 16</inkml:trace>
  <inkml:trace contextRef="#ctx0" brushRef="#br0" timeOffset="190933.72">24655 13198 0,'70'0'15,"-70"18"-15,0-1 16,0 2-16,-52 69 16,34-54-1,0-15-15,0-2 16,1-17-16,0 35 15,-2-18-15,19 2 0,-17-19 16,17 17-16,17 1 31,2-18-31,15 0 16,-16 0 0,0 0-16</inkml:trace>
  <inkml:trace contextRef="#ctx0" brushRef="#br0" timeOffset="191101.73">24866 13393 0,'17'17'15,"-17"1"1,-17-1-16,17 0 16,0 2-16,0-2 0,-17 1 0,17-1 15,0 2-15,-18-2 16,18 0-16,-17 1 0,17-1 0</inkml:trace>
  <inkml:trace contextRef="#ctx0" brushRef="#br0" timeOffset="191637.32">25590 13128 0,'52'0'16,"-52"17"-16,0 19 15,-17-1 1,-1-18-16,1-17 0,-19 36 15,36-19-15,-17-17 16,17 18 0,17 0-1,0-18-15,2 0 16,-19 18-16,17-1 16,1-17-16,-18 17 15,0 2-15,0-2 16,-18 1-16,1-1 15,-2 0-15,2 2 16,0-19-16</inkml:trace>
  <inkml:trace contextRef="#ctx0" brushRef="#br0" timeOffset="191852.66">25871 13304 0,'19'36'31,"-38"-72"-31,19 125 16,-17-54-16,0-1 16,17-15-16,-18-2 15,18 1-15,0 18 0,-18-19 16,18 0-16</inkml:trace>
  <inkml:trace contextRef="#ctx0" brushRef="#br0" timeOffset="192218.28">26401 13181 0,'-52'52'16,"16"1"0,1-17-16,16-18 15,-15 16-15,34-15 16,-18-2-1,18 1-15,0-1 16,18 0-16,-1 2 16,0-19-1,19 0-15,-1 0 16,1 0-16,-19 0 16,1 0-16,-1 0 0,2 0 15,15-19 1,-34 2-16</inkml:trace>
  <inkml:trace contextRef="#ctx0" brushRef="#br0" timeOffset="192439.92">26507 13164 0,'-18'0'16,"0"17"-16,18 0 0,-17 18 15,70-104-15,-106 157 0,53-71 16,-17 18-16,17 1 16,0-2-16,-19 20 15,19-20-15,0-15 0,0 16 16,0-18-16,0 19 16,0-19-16,0 18 0</inkml:trace>
  <inkml:trace contextRef="#ctx0" brushRef="#br0" timeOffset="192834.54">27918 13216 0,'35'-18'15,"18"18"1,-36 0-16,19-17 0,-1 17 0,-18 0 16,19 0-16,-1 0 0,18 0 15,-18 0-15,54 0 16,-54 0-16,1 0 16,-1 0-16,-18-17 15,0 17-15</inkml:trace>
  <inkml:trace contextRef="#ctx0" brushRef="#br0" timeOffset="193077.31">28447 13004 0,'52'18'15,"-33"0"-15,16 16 16,-18-15-16,-17-2 0,36 37 16,-36-2-16,0-35 15,0 19-15,-17-1 0,-2 18 16,-16 0-16,35-35 16,-36 35-16,36-36 0,-17 1 15</inkml:trace>
  <inkml:trace contextRef="#ctx0" brushRef="#br0" timeOffset="193819.29">29346 13004 0,'-17'36'16,"-1"-19"0,18 19-16,-17-1 15,17-18 1,0 2-16,0-2 15,0 0-15,0-51 47,0 15-31,17-33-16,1-19 16,-1 53-1,-17 0-15,19-16 0,-19 16 16,17 36 15,0-1-15,-17 0-16,0 1 15,18-18-15,0 18 16,0-18-16,-1 0 16,19-18-16,-19 18 31,18 0-31,-35-18 15,17 36 1,2-18-16,-19 18 0,17 0 16,-17 16-1,0-15-15,0-2 0,0 1 16,0-1-16,18 2 16,-18 15-16</inkml:trace>
  <inkml:trace contextRef="#ctx0" brushRef="#br0" timeOffset="194163.8">29946 13057 0,'17'-53'16,"-17"35"-1,0 1-15,-17 34 16,17 1 0,-17 0-16,-1 0 15,18-1-15,0 0 16,35-34-16,-87 88 15,69-71-15,-17 17 0,0 2 0,35-19 16,-18 17-16,19-17 16,-18 0-1,-1 0-15,19 0 0</inkml:trace>
  <inkml:trace contextRef="#ctx0" brushRef="#br0" timeOffset="194674.58">30334 13040 0,'-17'-18'16,"17"0"-16,-18 18 16,1 0-1,-2 18-15,2-18 16,17 18-16,-17-18 0,17 17 16,-18 0-16,18 2 15,-18-19-15,18 17 0,0 1 16,0-1-16,-18-17 15,36 19 1,-18-2-16,18-17 16,105-124-1,-123 107 1,-105 158 0,122-141-16,-17-17 15,17 17-15,2 0 16,-2-19-1,1 38 1,-1-2 0,-17 0 15,19 1-15,-19-1-1,17-17 1,0 0-1,1 0-15,-1-17 16,2 17-16,-2-18 16,0 18-16,19-17 15,-1 17-15,-18 0 0,2-17 16,-2 17-16,1 0 0</inkml:trace>
  <inkml:trace contextRef="#ctx0" brushRef="#br0" timeOffset="195068.29">30951 13022 0,'36'-18'31,"-18"18"-31,-1 0 16,0 0 0,2 0-16</inkml:trace>
  <inkml:trace contextRef="#ctx0" brushRef="#br0" timeOffset="195276.26">30934 13181 0,'17'17'15,"2"-17"-15,-2-17 16,1 17-16,-1 0 15,36 0 32</inkml:trace>
  <inkml:trace contextRef="#ctx0" brushRef="#br0" timeOffset="198452.48">31675 12916 0,'71'0'0,"-54"18"16,1 0-16,-18-1 0,0 0 16,0 19-16,0-18 15,-18-1-15,1 19 0,17-19 16,-36 18-16,19-16 0,-19 15 16,36-16-16,-35-1 15,35 2-15,-17-2 16,51-17-1,20 0 1,-37 0-16,0 0 16,2 0-16,16 0 0,-18 0 0,2 0 15,15 0-15,-16 0 0,-1-17 0,2 17 16,33 0-16,-34 0 16,-18-19-16,18 19 0,-1 0 0,0-17 15</inkml:trace>
  <inkml:trace contextRef="#ctx0" brushRef="#br0" timeOffset="199061.55">31905 12686 0,'17'-17'32,"-17"0"-17,17 17-15,-17-18 0,18 0 0,-18 0 16,18 1-16,0 0 0,-1-2 16,0-16-16,2 1 0,16-20 0,-18 18 15,0 2-15,19-20 0,-18 2 16,-1 16-16,2 2 0,-2-20 0,0 20 15,1 15-15,0-16 0,-18 18 16,18-2-16,-18 2 0,17 0 0,-17-1 16,0 0-16,17 18 15,-17-18-15</inkml:trace>
  <inkml:trace contextRef="#ctx0" brushRef="#br0" timeOffset="199520.26">32151 11928 0,'18'-18'15,"-1"18"-15,-17-17 0,19 17 16,-2-17-16,18-1 15,-17 0-15,0 18 0,-1-18 16,0 18 0,19 18-1,-36 0-15,0 0 0,18-1 16,-18 18 0,0-17-16,0 0 0,0-1 0,17 0 15,-17 37-15,0-37 0,0 2 16,0-2-16,17 0 0,-17 1 15,0-1-15,0 2 0,0-2 16,19 18-16,-19-17 16,0 0-16</inkml:trace>
  <inkml:trace contextRef="#ctx0" brushRef="#br0" timeOffset="200150.4">31975 12528 0,'0'-18'0,"0"72"0,-18-54 16,18 17-16,0 18 0,0-17 15,-18 0-15,18-1 0,-17 36 16,17-35-16,0-1 16,0 0-16,17 2 15,-17-2-15,18-17 0,0 0 0,0 18 16,-1-18-16,19-18 15,16 18-15,-35 0 0,37-17 16,-18-2-16,-19 19 16,36-17-16,-18 17 0,0 0 15</inkml:trace>
  <inkml:trace contextRef="#ctx0" brushRef="#br0" timeOffset="201436.33">26789 12228 0,'0'18'0,"36"-18"16,-19 0-16,0 0 0,1 0 15,18 0-15,34 0 0,-35-18 16,1 18-16,16-18 0,1 1 16,-17 0-16,-1-2 0,0 2 0,1-1 15,34-35-15,-52 36 0,-1-18 16,19 16-16,-36-15 0,35-20 15,-18 2-15,2-1 16,-19 17-16,0-16 0,17-1 0,-17 18 16,-17-18-16,17-1 15,0 2-15,-19 16 0,2-17 0,-1 18 0,-52-53 16,35 52-16,-72-34 16,2 18-16,-2 16 15,55 18-15,-54 18 16,18-17-16,53 34 15,-36-17-15,18 18 0,0-1 0,1 2 16,-2-2-16,1 18 0,1 1 16,-55 52-16,73-35 0,-20-1 15,-16 55-15,52-73 16,-16 20-16,15-1 0,2-18 0,-1 70 16,18-69-16,0-1 0,0 1 15,18 16-15,-1-16 0,2-2 16,15 20-16,37-1 0,-36-18 15,18-18-15,-17 2 0,-1-2 16,18 0-16,-18-17 0,1 0 16,-2 18-16,37-18 0,-36 0 15,1 0-15,-2 0 0,2-18 0,-1 18 16,1 0-16,35 0 16,-37 0-16,2-17 0</inkml:trace>
  <inkml:trace contextRef="#ctx0" brushRef="#br0" timeOffset="202676.46">27601 10729 0,'-18'35'16,"18"-17"-16,-18 0 0,18-1 0,0 0 15,0 19-15,0-18 16,0-1-16,0 0 0,18 19 16,0-18-16,-1-1 15,0 2-15,1-19 16,0 0-16,17 0 16,-18-19-16,2 19 0,-19-17 15,17-1-15,-17 1 16,0-19-16,0 19 0,0-19 15,0 18-15,-17 1 0,17 0 16,-19-19-16,2 18 0,0 1 16,-1 0-16,0 17 15,0 0 1,-16 0-16</inkml:trace>
  <inkml:trace contextRef="#ctx0" brushRef="#br0" timeOffset="203087.92">27847 10676 0,'0'36'16,"0"16"-1,18-52-15,-1 53 16,-17-36 0,19 1-16,-2-18 0,0 18 15,1-18-15,0 0 16,0 0-16,-1 0 0,-17-18 16,36 0-1,-19 1-15,1 0 0,-18-19 16,17 18-16,-17 1 31,17 0-31,-17 51 31,0-16-31,0 0 16,0 17-16,0-18 0,0 1 16,19-18-1,-19 18-15,17-18 16</inkml:trace>
  <inkml:trace contextRef="#ctx0" brushRef="#br0" timeOffset="203560.63">28377 10464 0,'0'-35'0,"0"70"31,0-17-31,0 0 0,17 16 15,-17 2-15,-17 18 16,17-20-16,0-16 0,0 18 16,0-2-16,-18 20 0,18-20 15,0-16-15,0 0 16,-18 0-16,18-1 16,-18-17-16,18 17 0,36-457 15,-89 880 1,124-898-16,-159 899 15,105-458 1,-17-1 0,17 18-16,-17-18 15,36 0-15,-18 1 16,-18 0-16,53-19 16,-36 18-16,1 1 0,-1 0 15,0 17 1,2-19-16,-2 38 15,-17-2 1,0 0 0,0 19-16,-17-18 15,17-1-15,0 0 16,0 1-16,0 0 16</inkml:trace>
  <inkml:trace contextRef="#ctx0" brushRef="#br0" timeOffset="204181.81">28711 10588 0,'0'-18'0</inkml:trace>
  <inkml:trace contextRef="#ctx0" brushRef="#br0" timeOffset="204499.22">28799 10817 0,'36'-35'16,"-18"17"-1,-18 0-15,17 1 16,-34 52 31,17 1-31,0-19-1,0 0-15,17-17 16,19 18-16,-1-18 15,-18 0-15,2 0 16</inkml:trace>
  <inkml:trace contextRef="#ctx0" brushRef="#br0" timeOffset="209212.48">8691 9406 0,'-34'0'0,"51"18"31,36-18-31,53 17 16,-53-17-16,-1 0 16,19-17-16,-1 17 0,1 0 15,70 0-15,-70-18 0,0 18 16,-19 0-16,1 0 0,-17 0 16,16 0-16,-16 0 0,-19 0 0,18 0 15,1 0-15,-1 0 0,18 18 16</inkml:trace>
  <inkml:trace contextRef="#ctx0" brushRef="#br0" timeOffset="212549.8">16153 9477 0,'53'0'15,"-18"0"-15,-18 0 0,19 0 0,-1 0 0,18 0 16,0 0-16,70 0 0,-52 0 16,-18 0-16,52-19 15,-34 19-15,-18 0 0,-35 0 16,18 0-16,-19 0 0</inkml:trace>
  <inkml:trace contextRef="#ctx0" brushRef="#br0" timeOffset="214012.35">3030 8612 0,'-19'0'0,"55"0"15,16 18 1,-33-18-16,16 0 16,18 0-16,18-18 15,-1 18-15,-35 0 16,1 0-16,-1 0 0,1-18 15,52 18-15,-54 0 0,-16-17 16,18 17-16,-19 0 0,0 0 0,2 0 16</inkml:trace>
  <inkml:trace contextRef="#ctx0" brushRef="#br0" timeOffset="-214501.29">4653 8612 0,'34'18'15,"2"-18"-15,-18-18 0,-1 18 16,18 0-16,1 0 0,69-18 15,2 1-15,-55 0 16,18 17-16</inkml:trace>
  <inkml:trace contextRef="#ctx0" brushRef="#br0" timeOffset="-213895.27">6098 8648 0,'53'0'0</inkml:trace>
  <inkml:trace contextRef="#ctx0" brushRef="#br0" timeOffset="-213144.41">7051 8665 0,'54'0'15,"-37"0"1,0 0-16,89 17 16,-88-17-16,17 0 0,0-17 15,1 17-15,-2 0 0,2 0 16,-1 0-16,1 0 0,-1 0 15,1 0-15</inkml:trace>
  <inkml:trace contextRef="#ctx0" brushRef="#br0" timeOffset="-204551.59">3558 8560 0,'53'-19'15,"-35"19"-15,0 0 0,0 0 16,-1 0-16,0 0 0,2 0 0,16-17 16,-18 17-16,0 0 15,2-18-15,-2 18 0,1-17 16,-1 17-16,2-17 0,-2 17 0,0 0 15,1-19 1,-1 19-16,-17-17 0,19 17 0,-19-18 16,17 18-16,-17-17 15,0-2-15,17 19 16,-17-17-16,0 0 0,18-1 16,-18 1-1,0-2-15,0 2 16,0 0-16,0-19 15,0 18-15,0 1 16,0 0-16,0-2 0,-18-16 31,18 18-31,0 0 0,-17-2 16,0 2-16,17-1 0,-19 1 16,2-2-16,17 2 0,-18 17 15,1-17-15,0 17 0,17-18 16,-36 0-16,18 0 15,-35 1-15,36 17 0,-1-17 16,-18 17-16,2-18 0,16 18 16,0 0-16,-17 0 0,18 0 0,-2 0 15,-16 0-15,-53-18 16,35 18-16,36 0 16,-19 0-16,-16 0 15,-36 0 1,52 0-16,1 18 0,16-18 0,-50 0 15,50 0-15,-15 0 0,-2 0 16,18 0-16,-35 18 16,36-18-16,-18 0 0,18 17 0,-2-17 15,2 0-15,-18 0 0,-1 17 16,19 1-16,-1-18 0,1 18 16,-2 0-16,2-18 0,0 0 15,-1 17-15,0 0 16,0 2-16,1-19 15,17 17-15,-17-17 0,17 18 16,-19-18-16,19 17 16,-17 2-16,17-2 15,0 0-15,0 1 0,0 18 16,0-19 0,0 0-16,0 1 0,17 0 15,-17 0-15,0-1 0,19 0 0,-19 19 16,17-18-16,-17-1 0,17 0 0,1 19 15,0-18-15,34 35 16,-16-18-16,-18-18 16,16 2-16,-15-2 0,16-17 0,-18 17 15,19 1-15,-1-18 0,-18 18 0,19-18 16,-1 0-16,1 0 0,-2 0 16,2 0-16,-1 0 0,1-18 0</inkml:trace>
  <inkml:trace contextRef="#ctx0" brushRef="#br0" timeOffset="-202389.18">5693 8577 0,'36'17'32,"-2"1"-17,-16-18-15,0 0 16,34 18-1,-34-18-15,0 18 0,0-18 16,-1 0-16,19 0 0,-19 0 0,1 0 16,-1 17-16,19-17 0,-19 0 15,1-17-15,-1 17 0,19 0 16,-19 0-16,1 0 0,18 0 0,-19-18 16,0 18-16,37-18 0,-37 18 15,0-18-15,2 18 0,-2 0 16,-17-17-16,18 17 0,-1-17 0,2 17 15,15-19-15,-16 2 16,-18-1-16,17 18 0,2-17 0,-2 0 16,0 17-16,-17-19 15,18 2-15,-18-1 0,18 18 16,-18-17-16,18 17 0,-18-19 0,17 19 16,-17-17-16,17 0 0,-17-1 15,19 18-15,-19-17 16,17 17-16,-17-19 0,0 2 0,18 0 15,-18-1-15,0 0 16,0 0-16,17 1 16,-17 0-16,0-2 0,-17-16 15,17 18 1,0 0-16,0-2 0,-18 19 0,18-17 16,-17-18-16,-2 16 15,19 2-15,-34-18 16,16 17-1,0 18-15,18-18 0,-18 18 16,1-17-16,0 17 0,-2-17 16,2 17-16,-1 0 0,1-18 15,0 18-15,-2 0 16,2 0-16,-1-18 16,1 18-16,-2 0 0,2 0 0,0 0 15,-1 0-15,0 0 0,0 0 16,1 0-16,0 0 0,-1 0 15,0 0-15,0 0 0,1 0 0,0 0 16,-2 0-16,2 0 16,-18 0-16,18 18 0,-2-18 15,2 0-15,-1 0 0,1 0 16,-2 0-16,2 0 16,0 0-16,-1 0 0,0 18 0,0-18 15,1 0-15,0 0 16,-1 0-16,-18 17 15,19-17-15,0 0 16,-2 17-16,2-17 16,-1 0-1,1 18-15,-2-18 16,2 18-16,0-18 16,17 18-1,-18-18-15,1 17 16,-2 0-1,2 2 1,0-2 0,17 1-1,-18-18-15,18 17 0,0 2 16,-18-2 0,18 0-16,0 18 15,0-16 1,18-2-16,-18 0 15,0 19 1,0-18-16,18-1 0,-18 0 16,0 2-16,17-19 0,-17 17 0,0 1 15,17-1-15,2 0 16,-19 2-16,17-2 0,1-17 0,-18 18 16,17-18-16,0 17 15,2 2-15,-2-19 16,1 0-16,-1 17 15,2 0-15,-2-17 16,0 0-16,1 18 16,0-18-16,0 0 15,-1 17 1,0-17-16,1 19 16,0-2 15</inkml:trace>
  <inkml:trace contextRef="#ctx0" brushRef="#br0" timeOffset="-198756.97">7174 7872 0,'459'-71'16,"-142"54"-1,-193-2-15,-19 19 0,19 0 16,0-17-16,-1 17 0,1 0 0,17-18 15,-18 18-15,18 0 0,-17 0 16,-1 0-16,1 18 0,88-18 16,-107 0-16,1 0 0,-36 0 15,20 0-15,-21-18 0,20 18 16,-37 0-16,19 0 0,-18 0 16,1 0-16,-20 0 0,2 0 0,-18 0 0,16 0 15,-16 0-15,0 0 0,0 0 16,-1 0-16,0 0 0,2 0 15,-2 0-15</inkml:trace>
  <inkml:trace contextRef="#ctx0" brushRef="#br0" timeOffset="-198285.53">10226 7448 0,'71'36'31,"-54"-19"-31,0 0 0,19-17 0,-1 36 16,36-1-16,-1 18 15,-34-35-15,-18-1 16,-1 0-16,36 19 0,-35-18 15,16 18-15,-15-19 0,-2 0 16,-17 1-16,0 0 0,18 0 16,-18 16-16,0-16 0,-18 0 15,18 0-15,-36 35 0,19-36 16,0 1-16,-1 18 16,1-19-16,-2 0 0,2 1 0,0-1 0,-1 2 15,0-2-15,0 0 0,1-17 16</inkml:trace>
  <inkml:trace contextRef="#ctx0" brushRef="#br0" timeOffset="-197470.55">11902 7960 0,'0'88'15,"0"-52"-15,17-2 16,-17-16-16,0 18 0,18-2 0,0 2 15,0-18 1,-1 16-16,-17-15 0,17-2 0,1 1 16,0-18-1,17-18 1,-18 1-16,2-2 0,-19 2 16,17-18-16,-17 17 15,0-17-15,18-1 0,-18-52 16,0 53-16,0 18 0,0-2 15,0-15-15,0 16 0,0 0 0,0 0 16,0 1 0</inkml:trace>
  <inkml:trace contextRef="#ctx0" brushRef="#br0" timeOffset="-197043.28">12483 7960 0,'-34'17'15,"16"-17"-15,18 17 0,-18-17 0,18 19 16,-18-2-16,18 1 0,0-1 0,-17 2 15,17-2-15,0 0 0,0 1 16,0-1-16,0 2 0,17-19 16,-17 17-1,18-17-15,18-17 16,-19-2 0,-17 2-16,17-1 15,-17 1 1,19 0-16,-19-2 15,0 55 17,17-1-17,-17-18 1,18 2-16,-18-2 16,17 0-1,2-17-15</inkml:trace>
  <inkml:trace contextRef="#ctx0" brushRef="#br0" timeOffset="-196770.07">12854 7942 0,'-17'-18'15,"-1"36"-15,1-18 0,-2 18 16,19-1-16,-17 0 0,17 2 15,-17 16-15,-1 1 0,18-2 16,0-16-16,0-1 16,0 2-16,0 15 0,0-16 0,18-18 15,-18 18-15,0 0 0,17-18 0,0 17 16,2-17-16,16 0 16,-18-17-16,0 17 15,19 0-15,-18-18 16,-1 18-16,2-18 0,15 18 15</inkml:trace>
  <inkml:trace contextRef="#ctx0" brushRef="#br0" timeOffset="-196299.36">13137 8065 0,'0'-17'0,"-18"17"16,0 0 0,-17 0-16,18 17 15,-2 2-15,2-2 16,141-53-16,-266 89 15,142-35-15,-17-1 0,17 2 16,17-2 0,1-17-1,-1 0 1,2 0-16,-2-17 16,0 17 15,1 17-16,0-17-15,0 0 16,52-17 0,-18-19-1,-16 1 1,-1-18-16,1-18 16,-19 36-1,-17 17-15,18 0 0,-18 1 16,18 0-16,-18 34 31,0 0-31,18 54 16,-18-54-1,0 90 1,17-72 0,-17-18-16,17 2 15</inkml:trace>
  <inkml:trace contextRef="#ctx0" brushRef="#br0" timeOffset="-195978.31">13330 8084 0,'36'-36'16,"123"-35"15,-142 54-31,0 17 0,-17 17 32,19-17-32,-19 17 15,17 37 1,-17-37-16,18-17 15,-18 36-15,0-19 0,17-17 16,-17 18-16,0-1 0,19-17 16</inkml:trace>
  <inkml:trace contextRef="#ctx0" brushRef="#br0" timeOffset="-195442.23">13859 7977 0,'0'17'0,"-17"2"16,17 16-1,17-35-15,-17 17 16,19-17-1,-2-17 1,1-1-16,-18 1 16,0-2-16,0 2 15,17 53 48,19-19-48,-19-17 1,1 18-16,-1-18 0,2 0 16,-2 0-16,0 0 15,1 17-15,18-17 0,-2 0 16</inkml:trace>
  <inkml:trace contextRef="#ctx0" brushRef="#br0" timeOffset="-195099.71">13471 8489 0,'71'-36'16,"-18"19"-16,1 17 0,-2-18 15,18 1-15,-16 17 0,16-19 0,-18 2 16,2 0-16,-1 17 0,-1-18 15,1 18-15,-17-17 0,-18 17 0,35-19 16,-36 19-16,1 0 0</inkml:trace>
  <inkml:trace contextRef="#ctx0" brushRef="#br0" timeOffset="-194899.27">13649 8612 0,'-19'0'16,"38"0"-16,15 0 16,1-18-16,1 18 0,-1-17 15,18 0-15,0-2 16,-1 2-16,2-1 0,-1 1 0,52-19 16,-51 19-16,-1-1 0,-1 18 15,-16-17-15,-1-2 0,1 2 0,-19 17 16,18-17-16</inkml:trace>
  <inkml:trace contextRef="#ctx0" brushRef="#br0" timeOffset="-194646.36">14918 8084 0,'53'0'31,"-35"0"-31,35 0 0,-36 0 0,1 0 16,18-19-16,-2 19 0,-16 0 15,-1 0-15,19 0 0,-19-17 0,1 17 16,0 0-16,0 0 0,-1 0 15</inkml:trace>
  <inkml:trace contextRef="#ctx0" brushRef="#br0" timeOffset="-194408.22">15218 7889 0,'71'17'16,"-37"-17"-16,-15 0 0,-2 18 0,18 0 16,-18-18-16,2 18 0,16-1 0,-18 19 15,2-1-15,-19-18 16,0 2-16,0 15 0,0-16 16,-36 52-16,18-16 0,-18-20 15,2 20-15,16-37 0,1 0 16</inkml:trace>
  <inkml:trace contextRef="#ctx0" brushRef="#br0" timeOffset="-189322.35">16470 8030 0,'-17'35'16,"17"-16"-1,0-2-15,0 0 0,0 1 16,-18-1-16,18 19 16,0-19-16,0 19 0,0 16 15,0-33 1,0-2-16</inkml:trace>
  <inkml:trace contextRef="#ctx0" brushRef="#br0" timeOffset="-188922.32">16787 8048 0,'0'-18'0,"-17"18"32,0 18-17,-1-18-15,18 17 16,-18 19 0,36-19-16,-18 18 15,18-16 1,-18-2-16,0 0 15,0 1-15,0 18 16,-18-19-16,-18 19 16,19-19-1,17 1-15,-17-18 0,-2 17 0,2 0 16,-1-17 0,1 19-16</inkml:trace>
  <inkml:trace contextRef="#ctx0" brushRef="#br0" timeOffset="-188708.74">16929 7960 0,'36'-36'0,"-36"18"16,17 1 0,0 34 15,-17 1-31,0 0 15,0 0-15,0-1 0,0 0 16,-17 2-16,17-2 0,0 1 0,0-1 16,-17 2-16,17-2 0,0 0 15,0 1-15,0-1 16</inkml:trace>
  <inkml:trace contextRef="#ctx0" brushRef="#br0" timeOffset="-188516.25">17141 7872 0,'0'34'31,"0"-16"-15,0 52-1,0-51-15,0-2 16,0 1-16,0 18 15</inkml:trace>
  <inkml:trace contextRef="#ctx0" brushRef="#br0" timeOffset="-188349.95">16929 8118 0,'53'-34'15,"-36"15"-15,1 19 0,18-17 0,16-1 16,-16 1-16,-2 17 0,-15-19 0,16 2 16,18 17-16,-18-17 0,1 17 15</inkml:trace>
  <inkml:trace contextRef="#ctx0" brushRef="#br0" timeOffset="-188054.92">17246 8313 0,'0'0'0,"53"-19"15,-35 19-15,18-17 16,-2 17-16,2-17 0,34 17 0,-17-18 16,0 0-16,1 18 0,15-18 0,-16 18 15,1-17-15,-20 17 0,2-17 0,16 17 16,-16 0-16,-18-19 16,18 19-16,-19 0 0,18-17 0</inkml:trace>
  <inkml:trace contextRef="#ctx0" brushRef="#br0" timeOffset="-187778.22">17987 7854 0,'18'18'16,"-36"-36"-16,72 36 0,-37-1 15,18-17-15,-18 17 0,2 1 16,-2 0-16,18 0 0,-17-1 0,0 0 16,-1 2-16,0 16 0,2-18 15,-19 2-15,0 15 0,-19-16 16,2 35-16,0-36 0,-1 19 16,0-18-16,0 16 0,1-15 0,-19 16 15,19-18-15,-1 0 0,1-17 16,0 19-16,-2-2 0</inkml:trace>
  <inkml:trace contextRef="#ctx0" brushRef="#br0" timeOffset="-186934.21">18869 7977 0,'0'0'0,"0"17"0,0 2 15,0-2-15,0 1 16,0-1-16,0 19 0,0-19 16,-18 18-16,18 1 0,0-19 15,0 1-15,0 0 16,0 0-16,0-1 0,0 0 16</inkml:trace>
  <inkml:trace contextRef="#ctx0" brushRef="#br0" timeOffset="-186564.48">19186 7977 0,'-17'0'0,"-1"17"0,1-17 31,17 19-31,17-2 16,-17 1-16,18-1 0,-18 2 15,17-19-15,-17 34 16,19-34-16,-19 18 0,17-1 15,-34 19 1,17-19-16,-19 1 16,19 0-16,-17-18 15,17 18-15,-18-18 0,1 0 16</inkml:trace>
  <inkml:trace contextRef="#ctx0" brushRef="#br0" timeOffset="-186367.84">19434 7818 0,'17'-17'0,"-17"52"31,0-17-31,-17 0 16,17-1-16,0 36 15,-19-35-15,19-1 0,0 0 16,0 2-16</inkml:trace>
  <inkml:trace contextRef="#ctx0" brushRef="#br0" timeOffset="-186213.49">19575 7889 0,'18'-17'0,"-18"-1"16,-18 53-16,53-52 31,-35 34-31,0 0 16,0 1-1,-17 0-15</inkml:trace>
  <inkml:trace contextRef="#ctx0" brushRef="#br0" timeOffset="-186053.05">19434 8013 0,'0'0'16,"17"-19"0,18 2-1,-16 17-15,-2-17 16,0 17-16,19 0 0,-1-18 0,-18 18 16,19 0-16,16 0 0</inkml:trace>
  <inkml:trace contextRef="#ctx0" brushRef="#br0" timeOffset="-185825.27">20227 8172 0,'71'-19'16,"-54"19"-16,1 0 0,35-17 16,-36 17-16,19 0 0,-1 0 15,-18-18-15,37 18 16,-1-17-16</inkml:trace>
  <inkml:trace contextRef="#ctx0" brushRef="#br0" timeOffset="-185553.12">20686 7889 0,'35'-17'16,"-70"34"-16,106-34 0,-54 34 0,0-17 15,19 17-15,-36 1 16,18 0-16,-1 0 15,-17-1-15,0 0 0,0 2 16,0-2-16,0 1 0,-17 18 0,-1-19 16,18 0-16,-17 1 0,17-1 15,-19-17-15,2 19 0,17-2 16,-17-17-16,17 17 16</inkml:trace>
  <inkml:trace contextRef="#ctx0" brushRef="#br0" timeOffset="-185133.46">21215 7889 0,'71'17'16,"-54"1"-16,-17 0 15,0 0-15,0-1 16,0 0-1,0 19 1,0-18 0,0-1-1,0 19 1,-17-19 0,17 1-16,-36-1 15,19 2 1</inkml:trace>
  <inkml:trace contextRef="#ctx0" brushRef="#br0" timeOffset="-184934.3">21445 7960 0,'0'17'31,"0"0"-31,0 37 16,-18-37 0,18 2-16,0-2 15,0 18-15,-18-18 0,18 2 16,0-2 0</inkml:trace>
  <inkml:trace contextRef="#ctx0" brushRef="#br0" timeOffset="-184640.51">21709 7942 0,'-18'0'0,"18"18"15,0-1-15,18 19 16,-18-1 0,0-18-1,0 2-15,0 15 0,-18-16 16,18-1-16,-17 2 16,0-2-16,-2 0 0,2 1 15,17 0 1</inkml:trace>
  <inkml:trace contextRef="#ctx0" brushRef="#br0" timeOffset="-184460.3">21886 7942 0,'0'0'0,"17"18"31,-17-1-16,18 0 1,-18 2-16,-18 16 16,18-18-1,-17-17-15</inkml:trace>
  <inkml:trace contextRef="#ctx0" brushRef="#br0" timeOffset="-184324.62">21797 8136 0,'89'-35'16,"-72"18"-16,18 17 0,-18 0 0,2-19 15,-2 19-15,1 0 0,-1 0 0</inkml:trace>
  <inkml:trace contextRef="#ctx0" brushRef="#br0" timeOffset="-183885.6">21145 8560 0,'34'0'16,"-15"0"-16,-2 0 15,18 0-15,1 0 0,-1-19 0,18 19 16,0-17-16,-1-1 0,19 1 0,-18 17 15,18-17-15,0-19 16,51 1-16,-68-1 0,16 19 0,-16-1 16,-2-18-16,1 2 0,0-2 15,-18 1-15,18-18 0,18-18 16,-36 19-16,1-37 0,-19 54 16,-17 0-16,0-1 0,-17 2 15,-2-2-15,-16 1 0,-53-18 16,18 35-16,-18 1 0,17 17 15,-36 0-15,2 0 0,0 17 16,17 18-16,-19-18 0,19 19 0,0 18 16,0-20-16,-36 90 0,36-18 15,71-53-15,-1 35 16,36-53-16,-1 1 0,0-2 16,19 20-16,16-20 0,-16 2 15,70 18-15,-53-37 16,0 0-16,-1 1 0,2-18 0,-1 0 15,35 17-15,-36-17 0</inkml:trace>
  <inkml:trace contextRef="#ctx0" brushRef="#br0" timeOffset="-183109.06">22626 8189 0,'53'-17'16,"-35"17"-16,18 0 15,-19 0-15,18 0 0,18-19 16,18 19-16,-37 0 0,37-17 15,-35 17-15,-1 0 16,-18 0-16,19-18 0,-19 18 16</inkml:trace>
  <inkml:trace contextRef="#ctx0" brushRef="#br0" timeOffset="-182895.56">23173 7960 0,'53'17'16,"-36"0"-16,-17 2 16,18-2-16,0 1 15,0 18-15,-18-19 0,17 0 0,-17 18 0,0-16 16,0 33-16,0-34 16,-17 17-16,17-18 0,-18 19 15,0-18-15,0 16 0,1-15 0,-19 16 16,19-18-16,-1 2 0</inkml:trace>
  <inkml:trace contextRef="#ctx0" brushRef="#br0" timeOffset="-182288.48">24019 7854 0,'19'211'15,"-19"-192"-15,0 15 0,0-16 16,17 35-16,1-36 0,-18 1 0,17 0 16,0-18-16,-17 18 0,19-18 15,-2 17-15,1-17 0,-1 0 16,2 17-16,-2-17 0,0 0 0,1 0 15,-1 0-15,19 0 16,-19 19-16,19-2 0,-18 1 16,-1-1-16,0 0 15,-17 2-15,0-2 0,19 1 0,-19-1 16,17 2-16,-17-2 16,18-17-16,-18 17 15,17-17-15</inkml:trace>
  <inkml:trace contextRef="#ctx0" brushRef="#br0" timeOffset="-181939.51">24743 8224 0,'-18'36'47,"18"-19"-1,36-34-30,-2-1 0,-34 0-16,19 18 15,-2-18 1,1 1-16</inkml:trace>
  <inkml:trace contextRef="#ctx0" brushRef="#br0" timeOffset="-180721.15">26101 7801 0,'18'35'16,"-18"-17"-1,0 17-15,0-18 0,0 1 16,-18 18-16,18-19 0,0 36 16,0-18-16,0-16 0,0 15 15,0-16-15</inkml:trace>
  <inkml:trace contextRef="#ctx0" brushRef="#br0" timeOffset="-180326.01">25890 8101 0,'35'52'16,"-18"-33"-16,-17-2 0,17-17 16,-17 17-16,19-17 0,-2 18 15,1 0-15,-1-18 0,2 18 0,-2-18 16,0 0-16,1 0 0,0 0 15,17-18-15,-18 18 0,19-18 16,-1 0-16,-18 18 0,2-17 16,-2 0-16,18-2 0,1-16 15,-19 18-15,1 0 0,-18-2 16,17 2-16</inkml:trace>
  <inkml:trace contextRef="#ctx0" brushRef="#br0" timeOffset="-179434.16">24619 8084 0,'18'17'16,"0"-17"-1,-18 17 1,18-17-16,-18 18 0,17-1 16,-17 2-1,17-2 1,1-34 15,-18-2-31,18-16 16,0 18 15,-18 0-31,17 17 16</inkml:trace>
  <inkml:trace contextRef="#ctx0" brushRef="#br0" timeOffset="-179181.34">24831 8030 0,'0'0'16,"18"18"-16,-18-1 0,0 2 15,0-2 1,17-17-16,0 35 16,2-35-1,-2 17-15,1-17 16,-18-17-16,17 17 15,-17-18-15,19 18 16,-19-17-16,0 0 16,0-2-1,-19 2 1</inkml:trace>
  <inkml:trace contextRef="#ctx0" brushRef="#br0" timeOffset="-178568.45">25007 8030 0,'0'18'0,"18"-1"15,-36-52 1,36 89-16,0-54 16,0 0 15,-1-19-31,0 19 0,-17-17 15,18 17 1,0-18 0,0 18-1,-1 18 17,-17-1-17,17-17-15,2-17 31,-2-1-15,1 18 0,-18-17-1,0 52 1,0 1 0,0 16-1,0-35-15,0 19 0,0 17 16,-18-35-16,18 16 0,0-15 15,0-2-15,0 1 0,0-1 16,0 0-16,0 2 16,35-55 15,1-35-15,-19 54-16,1 17 0,-1-17 15,2-1-15,-19 0 0,17 18 16,0 0-16,-17-18 0,18 18 15,-18 18 1,0 0 0,-18 0-16,-16 35 15,15-53 1,2 17 0</inkml:trace>
  <inkml:trace contextRef="#ctx0" brushRef="#br0" timeOffset="-171897.67">5922 8418 0</inkml:trace>
  <inkml:trace contextRef="#ctx0" brushRef="#br0" timeOffset="-160912.71">27513 10112 0,'0'-18'31,"17"36"31,0-1-46,1 0 0,0-17-16,0 19 15,-1-19-15,0 0 0,1 0 0,0 17 16,0-17-16,-1 0 0,0 0 15,2 0-15,16 0 0,-18 0 0,2 0 16,-2 0-16,18 0 0,-18 0 0,2 0 16,33 0-1,-34 0-15,0 0 0,35-17 0,-36 17 16,1 0-16,-1 0 0,0 0 16,2 0-16,-2 0 0,18 0 0,-16 0 15,-2-19-15,0 19 0,1 0 16,-1 0-16,2 0 0,-2-17 0,0 17 15,1 0-15,18 0 16,-19-17-16,0 17 0,2 0 16,-2 0-16,1-18 15,-1 18-15,0 0 0,2 0 16,-19-18-16,17 18 0,1 0 0,-1 0 16,-17-18-16,19 18 15,-2 0-15,0-17 16,1 0-1,0 17 1,-18-18-16,18 18 0,-18-18 16,17 18-1,-17-18-15,17 18 0,-17-17 16,18 0-16,-18-2 16,18 2-1,-18-1-15,0 1 16,0-2-16,18 2 15,-18 0 1,0-1-16,0 1 16,0-2-16,0 2 15,-18 17-15,18-17 16,0-19-16,-18 1 16,18 18-1,0-2 1,-18 19-16,18-17 0,-17-1 15,0-16 17,-19 15-17,36 2-15,-35-1 16,18 1 0,-2 17-16,19-19 15,-17 19-15,-18-17 16,16 0-1,2 17-15,0-18 16,-1 18-16,1 0 16,-2-18-1,2 18-15,0 0 16,-1 0-16,0 0 16,0 0-16,1-18 15,0 18-15,-2 0 0,-16 0 16,18 0-16,-36-17 31,35 17-31,1 0 0,-19 0 16,-16 0-1,16 0 1,19 0 0,-1 0-1,0 0-15,0 0 0,1 0 16,0 0-16,-19 17 15,18-17 1,1 0-16,0 0 16,-2 18-1,2-18-15,-1 0 0,-18 18 32,19-18-32,0 0 15,-1 0 1,0 0-16,0 18 0,1-18 15,-18 0 1,17 0 0,0 0-16,1 0 15,17 17 1,-17-17-16,-19 0 16,18 17 15,1-17-31,0 19 15,-2-2 1,-16 1 0,35-1-16,-17-17 15,-2 19-15,2-2 16,0 0-16,-1 1 16,18-1-16,-18-17 15,18 19-15,-18-19 0,18 17 16,0 0-16,-17-17 0,17 18 15,-17 0-15,17 0 0,0-1 16,0 0-16,0 2 16,0-2-16,0 1 0,17-1 15,-17 0-15,0 2 16,17-2-16,-17 1 16,18-18-16,0 17 15,-18 2-15,18-2 0,-1 0 16,-17 1-1,17 0-15,2-18 0,-2 18 16,1-18 0,-18 17-16,17-17 15,2 0-15,-2 17 0,0-17 32,1 0-32,18 18 15,-19-18 1</inkml:trace>
  <inkml:trace contextRef="#ctx0" brushRef="#br0" timeOffset="-159921.52">28729 9494 0,'36'-17'31,"17"-2"0,-36 19-31,18-17 0,1 0 0,16-1 0,1 0 16,54-17-16,-55 18 16,1-1-16,70-35 15,-52 17-15,-1 19 0,1-18 0,17 16 16,-17 2-16,-18 0 0,18-1 15,-18 1-15,-18-2 0,18 2 16,-36 17-16,18 0 0,-16-17 0,-2 17 0,0 0 16,1-18-16,0 18 0,0 0 15,-1 0-15,0 0 16</inkml:trace>
  <inkml:trace contextRef="#ctx0" brushRef="#br0" timeOffset="-159228.47">30758 8665 0,'53'0'0,"-35"0"0,-18 17 0,34 2 16,-16-2-1,-36 1 1,1 16-16,-18 2 15,35-18-15,-18-1 0,-17 19 16,-1-19 0,36 1-16,-17-18 15,17 18-15,17-18 32,2 0-17,15 0-15,-16 0 0,0 0 16,0 0-16,-1-18 0,0 18 15,37 0-15,-37-18 0,0 18 16,2 0-16,-2-17 0,18 0 16,-18 17-16</inkml:trace>
  <inkml:trace contextRef="#ctx0" brushRef="#br0" timeOffset="-158678.45">31199 8541 0,'35'36'47,"-35"-19"-32,0 1 1,0 0-16,-17 0 16,17-1-16,-18-17 15,18 17-15,-18-17 16,18 19-16,18-2 16,0 1 15,-18-1-31,17 0 15,-34 2-15,17-2 16,-36 1 0,36-1-16,-18-17 15,1 19-15,0-19 0,-19 17 16,18 0 0</inkml:trace>
  <inkml:trace contextRef="#ctx0" brushRef="#br0" timeOffset="-158394.53">31498 8524 0,'19'-18'0,"15"36"32,-16-1-17,0 19 1,-18-1-16,18-17 0,-18 0 16,0-1-16,17 0 15,-17 2-15,0-2 0,0 1 0,0-1 16,17-17-16,-17 17 0</inkml:trace>
  <inkml:trace contextRef="#ctx0" brushRef="#br0" timeOffset="-158207.05">31410 8736 0,'71'-35'31,"-18"16"-15,18 2-16,-1-18 0,-35 35 0,1-18 16,-19 18-16,18 0 15,-16-18-15,15 18 16</inkml:trace>
  <inkml:trace contextRef="#ctx0" brushRef="#br0" timeOffset="-157604.22">30441 8701 0,'-19'0'15,"38"0"-15,-38 17 16,19 1 0,19-1-16,-2 0 15,0 2-15,-17-2 0,18-17 16,0 35-16,0-35 0,-1 36 16,-17-19-16,17-17 0,-17 18 15,0 0-15,0 0 16,-17-1-16,17 0 0,-17 1 15,-1-18-15,0 18 0,0 0 16,1-18-16,0 17 16,-2-17-16,2 0 0</inkml:trace>
  <inkml:trace contextRef="#ctx0" brushRef="#br0" timeOffset="-157382.29">30441 8594 0,'-19'247'0,"19"-176"0,-17-18 15,-1 88-15,18-89 0,-17 19 16,0-18-16,17 1 0,0-2 0,-19 1 15,19 35-15</inkml:trace>
  <inkml:trace contextRef="#ctx0" brushRef="#br0" timeOffset="-154496.04">30405 7677 0,'-52'0'16,"33"17"-16,2-17 16,-1 19-16,1-2 15,17 1 1,0-1-1,0 2-15,17-2 0,1-17 16,-1 17-16,19 19 16,-19-36-16,-17 18 15,18-1-15,-18 0 16,0 1 0,-18 18-16,1-36 0,17 17 15,-17 0-15,-19 19 16,18-36-16,1 18 0,-2-1 0,2-17 15,0 19-15,-19-2 16,18-17-16</inkml:trace>
  <inkml:trace contextRef="#ctx0" brushRef="#br0" timeOffset="-154272.78">30370 7536 0,'0'36'15,"0"17"-15,0-36 16,0 18-16,-17 18 0,17-18 16,0 1-16,0-1 0,0 1 15,0 34-15,0-52 16,-19 16-16,19-15 0,0-2 0,19 1 15</inkml:trace>
  <inkml:trace contextRef="#ctx0" brushRef="#br0" timeOffset="-153965.7">30846 7642 0,'-35'35'16,"35"1"-16,-18-1 0,18 1 15,-18 34 1,1-35-16,17 0 16,-17-17-16,17 17 0</inkml:trace>
  <inkml:trace contextRef="#ctx0" brushRef="#br0" timeOffset="-153404.62">31039 7642 0,'36'-17'15,"-18"17"-15,-1-19 32,-17 38-32,0 16 15,-17-18 1,-1 0 0,18 2-16,-17-2 15,17 1-15,0-1 16,0 2-1,17-19-15,-17 17 16,18 0 0,-18 1-1,0 0-15,-18 0 16,18-1-16,-17-17 0,17 17 16,-19-17-16,19 18 15,-17-18-15,0 18 16</inkml:trace>
  <inkml:trace contextRef="#ctx0" brushRef="#br0" timeOffset="-153018.08">31410 7606 0,'-52'0'16,"33"0"-16,2 19 15,0-19-15,17 17 0,0 1 31,0-1-31,0 0 0,0 2 16,17-19-16,-17 17 0,0 1 16,0-1-16,17-17 15,-17 19-15,0-2 16,-17 0 0,17 1-16,-17-18 0,17 18 15,-18-18-15,0 18 0,18-1 16,-18-17-16,1 17 0,17 1 15</inkml:trace>
  <inkml:trace contextRef="#ctx0" brushRef="#br0" timeOffset="-152039.91">30846 8224 0,'71'-18'16,"-1"18"-16,-211 18 0,317-53 16,-140 35-16,-1 0 0,1-17 0,52-2 15,-54 19-15,2 0 16,16-17-16,2-1 0,-18 18 0,-2-17 16,37 0-16,-54 17 0,19-19 15,-1 2-15,0-1 0,-17 1 16,17-2-16,18-15 0,-35 16 15,-1 0-15,2 0 0,15 1 16,-16-36-16,-1 35 0,2 1 16,-19 0-16,17-2 0,-17 2 0,17-18 15,-17 16-15,0 2 16,0 0-16,0-1 0,0 1 0,0-2 16,-17-33-16,0 34 15,-19-34-15,18 16 0,1 1 16,0-1-16,-19 1 0,18 18 15,-52-54-15,34 35 0,1 19 16,0-18-16,-1 17 0,-52-34 16,35 33-16,18 2 0,-18-1 15,18 1-15,-35 0 0,34 17 16,1 0-16,-18-19 0,18 19 16,-1 0-16,-16 0 0,16 0 0,-17 0 15,-70 19-15,70-19 16,-1 17-16,2-17 0,-1 17 0,-18 1 15,37-1-15,-2-17 16,-16 19-16,16-2 0,1 0 0,-1 1 16,1 0-16,-1 0 0,-16 16 15,16-15-15,2-2 0,-2 1 16,18-1-16,-18 0 0,2 19 0,16-18 16,-52 52-16,52-35 15,0-16-15,0 15 0,1-16 16,0 18-16,-19 17 0,18 16 15,18-50-15,0 33 16,-17-33-16,17 15 0,17-16 16,-17 18-16,0-19 0,36 36 15,-36-35-15,18-1 0,16 0 16,-16 19-16,0-18 0,0-1 0,16 2 16,37 33-16,-35-52 15,-1 17-15,1 2 16,16-2-16,1 0 0,-18-17 15,1 18-15,-19-18 0,36 18 16,-18-18-16,1 0 0,-19 0 16,1 0-16,18 0 0,-19 18 0,18-18 15,-17 0-15,17 0 0,-18 0 16,2 0-16,16 0 0,-18 0 16,19 0-16,-19 0 0,107-18 15,-36 0-15</inkml:trace>
  <inkml:trace contextRef="#ctx0" brushRef="#br0" timeOffset="-150024.74">31922 7413 0,'-17'0'15,"51"-17"17,-16 17-32,0 0 15,-18-19-15,18 19 16,16 0-16</inkml:trace>
  <inkml:trace contextRef="#ctx0" brushRef="#br0" timeOffset="-149696.59">32081 7218 0,'17'0'15,"0"19"1,2-2-16,-2 1 15,-17-1-15,18 19 16,-18-19 0,0 18-16,0-16 15,0-2-15,0 18 16</inkml:trace>
  <inkml:trace contextRef="#ctx0" brushRef="#br0" timeOffset="-149343.21">32398 6954 0,'-17'88'31,"17"-70"-31,-18 70 15,18-70-15,-18 17 16,18-18 0,0 2-16,0-2 0</inkml:trace>
  <inkml:trace contextRef="#ctx0" brushRef="#br0" timeOffset="-148981.2">32327 6989 0,'18'-17'15,"0"-1"-15,0 18 0,16 0 16,-15 18 0,-2-1-16,1-17 15,-1 19-15,2-19 0,-19 17 0,34 35 16,-34-33-16,0-2 16,0 0-16,-17 37 15,0-37-15,17 0 0,-19 2 16,2 16-16,-1-35 15,1 34-15,-2-15 16,2-19-16,0 17 16</inkml:trace>
  <inkml:trace contextRef="#ctx0" brushRef="#br0" timeOffset="-148661.15">32663 7237 0,'0'-36'0,"18"36"16,-18-17-1,0-1-15,-18 18 31,-18 18-15,19-1-16,0 19 31,17-19-31,17 1 16,-17-1 0,17-17-16,1 0 0,-18 17 15,18-17-15,0 0 0,-1 0 16</inkml:trace>
  <inkml:trace contextRef="#ctx0" brushRef="#br0" timeOffset="-148444.55">32927 7113 0,'-17'17'0,"0"-17"15,51-17-15,-68 52 0,15-35 0,19 18 16,0 0-1,0-1-15,0 0 0,19-17 16,-19 19-16,17-19 16,-17 17-16,17-17 0,1 0 0,-18 18 15,17-18-15,2 0 0,-2 17 16,-17 0-16,17-17 16</inkml:trace>
  <inkml:trace contextRef="#ctx0" brushRef="#br0" timeOffset="-147300.8">32275 7730 0,'18'35'31,"-18"-16"-31,0-2 16,0 0-1,17-17-15,-17 18 16,0 0 0,0 0-1,17-36 48,1 0-48,0 18 1,-18-18 0,18 18-16,-1 0 15,0 0 1,-17 18 15,19-18-15,-19 18 15,17-18 0,1-18 0,-1 18-15,2-18 0,-2 18-1,-17-17-15,17 17 16,1 0-16,-18-17 16,17 17-16,-17-19 0,19 19 0,-2-17 15,0-1 1,1 1-1,-36 52 48,18-18-47,18 2-1,0-2 1,0-17-1,-1-17 1,-34-19 15,-1 36-15,18-18 0,-18 18-16</inkml:trace>
  <inkml:trace contextRef="#ctx0" brushRef="#br0" timeOffset="-147076.46">32733 7694 0,'36'19'15,"-19"-2"1,0-17 15,2 18-15</inkml:trace>
  <inkml:trace contextRef="#ctx0" brushRef="#br0" timeOffset="-146834.39">33033 7554 0,'0'-18'0,"0"54"31,-18-19-15,18 0-16,-17 37 15,17-37 1,0 36 0,0-35-16,0-1 0,0 2 15,0-2-15</inkml:trace>
  <inkml:trace contextRef="#ctx0" brushRef="#br0" timeOffset="-146467.14">32998 7660 0,'71'-18'0,"-54"18"16,0 0-16,-17-17 0,19 17 0,-2 0 15</inkml:trace>
  <inkml:trace contextRef="#ctx0" brushRef="#br0" timeOffset="-146168.34">33333 7448 0,'-18'0'16,"36"0"-16,-36 17 16,18 2-16,-17-2 15,17 0-15,-17 19 16,17-18 0,-19-1-16,19 0 0,0 2 31,19-2-16,-2-17 1,0 0 0,1 0-16,-1 0 15,2 0-15,-2 0 16,0 0-16,1 0 16,0 0-1</inkml:trace>
  <inkml:trace contextRef="#ctx0" brushRef="#br0" timeOffset="-145468.62">33069 7942 0,'-18'35'32,"18"-18"-32,-18 37 15,18-37-15,-18 2 16,18 15 0,-17-16-16,17-1 0,0 2 15,-17-19 1,-2 17-1,-16 0 1,18-17-16,0 18 16,-2-18-16,2 18 15,-1-18 1,18 18-16,18-18 31,18 0-15,-19 0-16,0-18 15,1 18-15,-1-18 16,2 18-16,-2 0 0,-17-18 16,17 18-16,1 0 15,18 0 1,-19 0 0,0 0 15,2-17-16,-2 17-15,1-17 16,-1 17-16,0-19 0,-17 2 16,19 17-16,16-18 0,-18 1 15,19-19-15</inkml:trace>
  <inkml:trace contextRef="#ctx0" brushRef="#br0" timeOffset="-140712.08">8886 12193 0,'369'-36'16,"-298"19"-16,0 17 15,-1 0-15,1-18 0,-18 18 16,70 0-16,-87-17 0,-1 17 16,-17 0-16,17 0 0,-18 17 15,1-17-15,0 0 0,0 0 0</inkml:trace>
  <inkml:trace contextRef="#ctx0" brushRef="#br0" timeOffset="-140476.45">9045 12405 0,'105'-19'0,"54"2"31,-423 53-31,793-107 0,-389 54 16,-87-2-16,18 19 0,-18-17 15,-18 17-15,1 0 0,-1-17 16,1 17-16,-19 0 0,0 0 0,1 0 16,-1 0-16</inkml:trace>
  <inkml:trace contextRef="#ctx0" brushRef="#br0" timeOffset="-139665.8">4175 12845 0,'71'-17'0,"-35"17"16,-19 0-16,-17 17 15,18-17-15,-18 19 0,-18-2 16,18 0-16,-17 1 0,17 0 0,-17 0 16,-2-1-16,2 0 15,-18 19-15,16-18 0,2-1 16,0 0-16,-1 2 0,1-2 15,-2 1 1,38-18 0,16 17-1,-18-17-15,54 0 16,-54-17 0,2 17-16,15 0 0,-16 0 15,0 0-15,0-18 0,16 18 0</inkml:trace>
  <inkml:trace contextRef="#ctx0" brushRef="#br0" timeOffset="-139486.05">4599 12864 0,'0'-19'15,"0"38"1,0-19 0,0 17-1,-17 18-15,17-17 16,0 0-16,0-1 0,-19 18 15,19-17-15,0 17 16,0-18-16,-17 2 16,17-2-16,0 1 0</inkml:trace>
  <inkml:trace contextRef="#ctx0" brushRef="#br0" timeOffset="-138976.52">4158 13640 0,'17'0'16,"19"0"0,-18 0-16,-1 17 15,-17 18 1,0-17-1,0 0-15,-17-1 0,17 0 16,-18 2-16,1-2 0,-2 1 16,2-1-16,0 0 0,-1 2 15,1-19-15,17 17 16,-19-17-16,19 18 0,19-1 31,16-17-15,-1-17-16,2 17 15,-1 0-15,-16-18 16,15 18-16,-16 0 0,18-17 16,-2 17-16</inkml:trace>
  <inkml:trace contextRef="#ctx0" brushRef="#br0" timeOffset="-138643.08">4529 13657 0,'17'-17'0,"-17"-2"16,17 19-16,2 19 16,-19-2-1,0 0-15,-19-17 0,19 18 0,-17 0 16,0 17-16,-1-35 15,1 36-15,-2-19 0,2 1 16,17-1-16,-17-17 0,17 17 16,-18-17-16,18 19 0,-18-19 0,18 17 15,36-17 1,-19 0 0,0-17-16,2 17 0,16 0 15,-1-19-15,2 19 0,-18 0 16,-1 0-16,2 0 0,-2 0 15</inkml:trace>
  <inkml:trace contextRef="#ctx0" brushRef="#br0" timeOffset="-137841.3">4123 14309 0,'18'-35'16,"-1"35"-16,0 0 0,2 18 31,-19-1-16,-19 2 1,19-2-16,19 0 16,-19 1-1,17 0-15,-17 0 16,18-18-16,-18 17 16,17-17-16,-17 17 0,19 1 15,-38 0-15,19 17 16,-17-35-1,-1 17-15,1 2 0,-19 16 16,19-35-16,-1 17 16,1-17-16,-2 0 15</inkml:trace>
  <inkml:trace contextRef="#ctx0" brushRef="#br0" timeOffset="-137246.64">4387 14292 0,'-17'36'31,"17"-2"-15,0-16 0,17 0 15,1 0-16,0-18 1,-18 17 0,18-17 15,-18 17 0,17-17 0,0-17 94</inkml:trace>
  <inkml:trace contextRef="#ctx0" brushRef="#br0" timeOffset="-136837.5">3858 14433 0,'19'-17'16,"-2"34"-16,0 0 0,-17 1 15,-17 0-15,17 0 0,-17-1 16,17 0-16,0 2 0,-19-2 16,19 1-16,-17-1 0,17 2 0,-18-19 15,18 17-15,0 0 0,0 1 31,18-18-31,35 0 16,-18-18 0,-18 18-16,2 0 0,15 0 15,2-17-15,-18 17 0,16 0 0</inkml:trace>
  <inkml:trace contextRef="#ctx0" brushRef="#br0" timeOffset="-136422.54">3999 14980 0,'0'0'16,"18"0"-16,0 0 15,0 0 1,-18 36 0,0-19-16,-18 0 15,18 1-15,-18 0 0,18 0 16,-18-18-16,18 17 0,0 0 0,-17-17 15,17 18-15,-17 0 16,34 0 15,36-36-15,-35 18-16,35-36 16,-18 19-16,-18 17 15,0-17-15,19-1 0</inkml:trace>
  <inkml:trace contextRef="#ctx0" brushRef="#br0" timeOffset="-136190.33">4387 14962 0,'18'-36'0,"-36"72"31,36-36 1,-36 35-17,1-16 1,17-2-16,0 0 0,0 1 15,0 0-15,0 0 16,0-1-16,17-17 16,-17 17-16,18-17 15,0 0-15,17-17 16,-18 17 0</inkml:trace>
  <inkml:trace contextRef="#ctx0" brushRef="#br0" timeOffset="-136020.31">4529 14892 0,'-18'-18'0,"1"36"31,17-1-31,0 0 16,0 2-16,0-2 16,0 1-16,17 18 0,-17-19 15,0 0-15,18 19 0,-1-18 0,0 34 16,2-34-16,-19 0 15</inkml:trace>
  <inkml:trace contextRef="#ctx0" brushRef="#br0" timeOffset="-135408.66">4017 15580 0,'18'0'16,"-18"-18"-16,35 18 16,-18 0-16,2 0 15,-19 18-15,17-18 16,-17 17-16,0 0 0,0 2 16,-17-2-16,-2 1 15,19-1-15,-17 2 0,17-2 0,-17 0 16,-1 1-16,18-1 15,-18-17-15,18 19 16,18-19 15,53 0-15,-54 0-16,1-19 0,-1 19 0,0 0 16,19-17-16,-18 17 15,52-18-15,-52 1 0,18 0 0,-19 17 16</inkml:trace>
  <inkml:trace contextRef="#ctx0" brushRef="#br0" timeOffset="-135164.85">4529 15544 0,'-54'0'0,"37"0"15,17 18-15,0 17 16,0-18-1,0 2 1,0-2-16,0 1 0,0-1 16,0 2-16,0-2 0,0 0 15,0 1-15,-17-18 16,17 17-16,0 2 0,-18-2 16,18 0-16,0 1 15,-18 0-15</inkml:trace>
  <inkml:trace contextRef="#ctx0" brushRef="#br0" timeOffset="-134851.52">4370 16109 0,'0'35'47</inkml:trace>
  <inkml:trace contextRef="#ctx0" brushRef="#br0" timeOffset="-134713.14">4423 16373 0,'-18'0'0,"36"0"0,-36 17 16,18 2-1</inkml:trace>
  <inkml:trace contextRef="#ctx0" brushRef="#br0" timeOffset="-134614.81">4475 16532 0,'0'0'0</inkml:trace>
  <inkml:trace contextRef="#ctx0" brushRef="#br0" timeOffset="-133858.7">4229 17185 0,'17'0'16,"19"0"0,-19 17-1,-17 1 1,0-1 0,-17 2-1,17-2-15,0 0 47,17-17-31,1 18-16,0-18 15,-18 18 1,0 0 0,0-1-1,0 0-15,-18-17 0,18 19 0,-18-2 16,1-17-1,17 18-15,-17-18 16,17 17-16</inkml:trace>
  <inkml:trace contextRef="#ctx0" brushRef="#br0" timeOffset="-133553.83">4405 17220 0,'0'0'0,"18"0"0,0 17 31,16 19 0,-15-36-31,-2 17 16,18 1 0,-18-18-16,19-18 15,-18 18 1,-1-17-16,-17 0 15,-17 17 1,-18 0 15,16 0-31,2 0 16,-18 17-16,18-17 16,-2 17-16</inkml:trace>
  <inkml:trace contextRef="#ctx0" brushRef="#br0" timeOffset="-131949.17">4829 12686 0,'0'-17'15,"17"17"16,-17-17-15,17 17-16,2 17 16,-2-17-16,-17 17 15,18-17-15,-1 19 0,-17-2 0,19 1 16,-2-1-16,-17 0 0,35 37 16,-18-1-16,-17-18 0,36 53 15,-36 18 1,17-52-16,-17 15 0,0-16 0,0 18 15,0 17-15,0 0 0,18 0 0,-18-17 16,0 18-16,18-37 0,-18 19 16,18-1-16,-18-16 0,17 16 15,-17-18-15,17 19 0,2 0 0,-2-18 16,-17 0-16,18-1 0,-1 2 16,0-1-16,2-1 0,16 55 0,-18-55 15,2 1-15,-19 0 0,17-1 16,-17 2-16,17-1 0,-17 0 0,0-1 15,18-16-15,-18-1 0,0 18 16,0-18-16,0 18 0,-18 1 0,18-20 16,0 72-16,0-53 15,0 0-15,0 1 0,18-2 0,-18 1 16,0 0-16,18-18 0,-18 18 16,18-1-16,-18 2 0,17-1 15,0-18-15,1 18 0,0 0 0,0 35 16,-1-53-16,0 18 0,-17-18 15,19-16-15,-19 15 0,17 2 0,-17-18 16,18 16-16,-1 37 16,-17-35-16,0-19 0,0 1 15,17 18-15,-17-19 0,0 0 16,0 1-16,0-1 0,0 36 16,0-17-16,0-18 0,0-1 15,0 0-15,0 1 0,0 0 16,0 0-16,-17 16 0,17-15 15,0 16-15,0-18 0,0 2 16,0-2-16,0 0 0,0 1 16,0 18-16,-17-2 15,17-16 1,-18 0 0,1 0-1,-2-1-15,2-17 16,0 17-16,-37 2 15,2 16-15,-1-35 0,0 17 16,18 0-16,-18 2 0,18-2 0,-18-17 16,-1 18-16,1-18 0,1 17 15,16-17-15,1 0 0,-1 19 0,-16-19 16,16 0-16</inkml:trace>
  <inkml:trace contextRef="#ctx0" brushRef="#br0" timeOffset="-131242.6">4405 17132 0,'0'88'16,"18"-71"-16,-18 2 0,18-2 0,-18 0 16,34 19-1,-15-36-15,-2 18 0,1-18 16,-1 17-16,0-17 0,2-17 15,-2 17-15,1 0 0,-1-18 16,2 0-16,-2 18 0,0-18 0,-17 1 16,18 0-16,-18-2 0,18-16 0,-18 18 15,0 0-15,0-2 0,0 2 16,0-18-16,-18 16 0,0 2 0,18 0 16,-17 17-16,-19-36 0,1 36 15,18 0-15,-2-18 0,-15 18 16,16 0-16,1 18 0,-2-18 15,-33 18-15,34-18 0,0 18 16,1-1-16,0-17 16</inkml:trace>
  <inkml:trace contextRef="#ctx0" brushRef="#br0" timeOffset="-128361.67">7281 13621 0,'34'-17'16,"-16"17"15,0 0-15,0 0-16,-54 17 31,18-17-15,1 19-16,-36-2 15,35 0-15,1 1 16,0-18-16,-2 18 16,19 0-1,36-1 1,-19-17-1,1 17-15,0-17 0,0 19 16,-1-19-16,0 17 0,1-17 16,0 18-1,-18-1-15,0 0 16,-18 2 0,18-2-16,-18-17 0,1 18 15,0-1-15,-1-17 0,0 19 16,-17-19-16,18 0 15,-2 17-15,2-17 0,-1 17 0,1-17 16,0 0-16</inkml:trace>
  <inkml:trace contextRef="#ctx0" brushRef="#br0" timeOffset="-127666.66">7722 13621 0,'69'-17'16,"-50"17"-1,-38 17 17,2-17-32,0 19 0,-1-19 15,1 17-15,-36 18 16,35-35 0,18 18-16,-18 0 15,36-1-15,0 0 16,-1-17-1,-17 19-15,17-2 0,2-17 16,-19 18-16,0-1 16,0 19-1,-19-36-15,2 17 16,17 1-16,-17-18 0,-1 17 16,0-17-16,18 19 15,-18-2-15,1-17 0,17 17 0</inkml:trace>
  <inkml:trace contextRef="#ctx0" brushRef="#br0" timeOffset="-126700.21">7245 14662 0,'36'-34'0,"-19"34"0,0 0 0,1-19 15,0 19-15,0 0 16,-1-17 0,0 17-16,-34 36 31,0-36-15,-37 17-1,37 0 1,0-17-16,-1 18 0,0-18 15,18 17 1,18 2 0,0-19-1,-1 0-15,0 0 16,-17 17-16,18-17 0,0 0 16,0 0-16,-18 17 0,17-17 15,-17 18-15,0 0 16,-17 0-1,-1-1-15,18 0 0,-18-17 16,0 19-16,-16 16 0,16-35 16,0 17-16,0 0 0,1-17 15,17 19-15,-17-19 16</inkml:trace>
  <inkml:trace contextRef="#ctx0" brushRef="#br0" timeOffset="-126232.54">7562 14521 0,'36'0'0,"-19"0"15,1 36 1,-18-19-16,0 1 0,0-1 0,0 2 16,-18 15-16,18-16 15,-17-1-15,17 2 16,0-2-16,-17-17 0,17 17 0,-19-17 15,38-34 17,-19 15-32,0-16 15,17 18-15,-17 0 16,17-19-16,-17 18 16,0 1-16,0-2 0,0 2 0,0 0 0,0-1 15,0 0-15,-17 0 16,17 1-16,-17 0 0,17-1 15,-19 0 1,19 0-16,0 1 16</inkml:trace>
  <inkml:trace contextRef="#ctx0" brushRef="#br0" timeOffset="-125019.3">7263 13269 0,'52'-17'0,"-16"-2"0,-1 19 16,-18 0-16,19-17 0,-1 17 15,18-18-15,1 18 0,-2 0 0,1 0 16,18 0-16,-18 0 0,18 0 16,-19 18-16,18-18 0,-16 17 0,16 2 15,36 33-15,-53-34 16,0 17-16,-1-18 0,-16 19 0,16-1 15,-16 1-15,-1 16 0,1-16 0,-19 16 16,1-16-16,18 52 0,-19-35 16,0-18-16,1 18 0,-18 1 15,18 51-15,-18-52 0,0-1 16,0 2-16,0-20 0,0 20 0,0-1 16,0 0-16,0-1 15,0 2-15,0-1 0,-18-1 0,18 1 0,-18-18 16,1 72-16,17-73 15,-17 2-15,-2 16 0,2-16 16,-1 18-16,1-20 0,-19 2 0,1-1 16,18 18-16,-36-18 0,17 1 15,1-1-15,-18-1 0,1 2 16,-38 18-16,38-20 0,-1 2 0,-18-18 16,1 16-16,-1 2 0,19-18 15,-1-1-15,-1 0 0,-16 2 0,18-2 16,-2 1-16,-16-18 0,-54 17 15,89-17-15,-18 0 16,-70-17-16,70-1 0,18 1 16,-18-19-16,-1 19 0,20-19 0,-20 1 15,-34-70-15,52 51 16,2 1-16,-1 1 0,-1-1 0,1-18 16,17 18-16,0 1 0,-16-19 0,15 0 15,2 1-15,-1-1 0,1 0 16,17 1-16,-17-18 0,17 17 0,0 0 15,0-17-15,17-70 0,0 87 16,18-17-16,-16 17 16,15 18-16,2-18 0,70-17 0,-53 35 15,-1 1-15,89-19 16,-70 35-16,0 19 0,53-35 16,-72 33-16,72-15 0,-54 34 15,-16-18-15,15 18 0,-16 0 16,35-18-16,-34 36 15</inkml:trace>
  <inkml:trace contextRef="#ctx0" brushRef="#br0" timeOffset="-123173.45">8938 14328 0,'19'-19'15,"-2"19"-15,-17 19 16,35-19-16,53-19 16,-52 19-16,-2 0 15,2 0-15,-18 0 0,87 0 16,-69 0-16,-1 0 0,35 0 16,-16 0-1</inkml:trace>
  <inkml:trace contextRef="#ctx0" brushRef="#br0" timeOffset="-122730.87">9045 14028 0,'-19'0'0,"38"0"0,-55 0 16,18 17-16,1-17 15,0 17-15,-2 1 0,2 0 16,-1 17-16,1-18 0,-2 2 0,2 16 16,0-1-16,17-15 0,-18 33 15,18 1-15,52 35 16,-33-70-1,-2 0-15,37 0 0,-20-1 16,20 0-16,-2-17 0,18 19 0,-16-2 16,34-17-16,-18 0 0</inkml:trace>
  <inkml:trace contextRef="#ctx0" brushRef="#br0" timeOffset="-120110.6">7562 14450 0,'19'36'47,"-2"-36"-47,0 35 0,19 1 31,-36-19-31,18 1 0,-1 18 16,-17-19-16,0 0 0,0 1 0,0-1 16,0 2-16,0-2 15,-17 0-15,17 1 0,-18 0 16,0-18 0,0 0-16,1 0 15,0-18-15,17 0 16,0 1-1,17 0-15,-17-2 16,17 2-16,-17-1 0,18 1 16,0 0-16,-18-2 15,18 2-15,-18-1 0,0 1 0,17 17 16,-17-19-16,0-15 0,0 16 16,-35-18-1,17 36-15,0-17 16,1 17-16,0 0 0,-2-17 15,2 17-15,-1 0 16,1 0-16</inkml:trace>
  <inkml:trace contextRef="#ctx0" brushRef="#br0" timeOffset="-116939.66">11831 14345 0,'18'35'31,"-18"-17"-31,0 0 0,0 52 16,0-35-16,-18 53 16,18-35-1,0-35-15,0-1 0,-17 19 16,17-19-1,-19-17 1,19-34 0,0 15-1,0 2-15,0-18 0,0 18 0,19-19 16,-19-18-16,17-16 0,18 35 16,-16-18-1,-2 35-15,0 18 0,-17-17 16,18 17-16,0 17 15,0-17-15,-1 18 0,-17 0 0,17 0 16,1-1-16,-18 0 0,18 1 0,0 0 16,-18 0-16,17-1 0,-17 0 15,0 19-15,0-18 0,17-1 16,-17 19-16,0-19 0</inkml:trace>
  <inkml:trace contextRef="#ctx0" brushRef="#br0" timeOffset="-116758.27">11849 14628 0,'0'0'16,"17"-19"-1,2 19-15,-2 0 16,0 0-16,-17-17 0,18 17 15,18 0-15,-2 0 0</inkml:trace>
  <inkml:trace contextRef="#ctx0" brushRef="#br0" timeOffset="-116496.9">12307 14450 0,'18'18'31,"-18"0"-16,0 0-15,18-1 16,-18 0 0,18-17-1,-1 0-15,0 0 16,1-34 0,-18 16-1,18 0 1,0 18-1</inkml:trace>
  <inkml:trace contextRef="#ctx0" brushRef="#br0" timeOffset="-116144.77">12678 14433 0,'-17'0'0,"-2"0"16,19 17-16,0 1 15,19 35 1,-19-17-16,0-19 16,0 1-16,0-1 0,0 2 0,0 15 15,0 1-15,-19 1 0,19-19 16,0 1-16,-17 0 15,17 0-15,-18-1 0,18 0 16,-17-17-16,17-17 31,0 0-31,0-1 0,17-18 16,1 19-16,52-54 31,-16 37-31,34-20 16,-71 54-1</inkml:trace>
  <inkml:trace contextRef="#ctx0" brushRef="#br0" timeOffset="-115433.81">13419 14257 0,'0'0'16,"-36"17"-1,36 18 1,-17-16-16,17-2 0,-17 18 0,17-17 15,0 0-15,0-1 16,0 0-16,0 1 0,0 0 16,17 0-16,-17-1 15,17-17-15,1 17 16,0-34 0,0 0-1,-18-1-15,0 0 16,0 0-16,17 1 0,-17 0 15,0-1-15,0 0 16,17 0 0,-17 1-16,0 0 15,18 34 32,0 18-31,-18-17-1,0 0-15,18-1 0,-18 0 16,0 1-16,17 0 16,-17 0-16,17-1 15,2 0-15,-2-17 16,1 0-16,-1 0 16,-17 19-16,36-19 0</inkml:trace>
  <inkml:trace contextRef="#ctx0" brushRef="#br0" timeOffset="-114937.41">13789 14362 0,'-35'0'0,"18"0"15,-2 18-15,19 0 16,0 17-1,19-18 1,-2 1-16,-17 0 16,17 0-16,-17-1 0,18 54 31,-36-18-15,1-18-1,0 1 1,-2-36-16,19 17 15,19-53 17,33-16-17,-34 35-15,0-2 16,-1-16-16,0 18 0,2 17 16,-19-19-16,17 2 15,-17 0-15,18 17 16,-36 17 15,18 0-15,18 2-1,-18-2 1,17-17-16,0 0 0,2 0 0,-2 0 16</inkml:trace>
  <inkml:trace contextRef="#ctx0" brushRef="#br0" timeOffset="-114579.49">14813 14380 0,'-19'0'15,"19"-18"-15,0 1 0,0 0 16,0-2-16,19 2 0,-19-1 16,0 1-16,0-19 0,0-16 15,0 33-15,17-33 0,-17 34 16,0 0-16,0-16 0,0 16 15,0 0-15,0 0 0,0 1 16,-17 52 15</inkml:trace>
  <inkml:trace contextRef="#ctx0" brushRef="#br0" timeOffset="-114344.7">14847 13974 0,'-53'54'32,"36"-54"-32,-1 17 0,1 0 15,-19 37-15,19-37 16,-1 0-16,1 2 0,-19 16 0,19-18 15,-1 0-15,0 2 16,0 16-16,18-18 16</inkml:trace>
  <inkml:trace contextRef="#ctx0" brushRef="#br0" timeOffset="-114141.91">14813 13957 0,'0'0'0,"17"17"15,-17 1-15,17-18 16,-17 18-16,18 0 0,18-1 16,-19-17-16,18 35 0,-17-35 15,0 18-15,-1-18 0,0 18 16,2-18-16,-19 17 0,17-17 15</inkml:trace>
  <inkml:trace contextRef="#ctx0" brushRef="#br0" timeOffset="-111617.45">8745 13762 0,'34'0'15,"-15"0"1,86-34 0,-51 16-16,-2 18 0,1-18 15,0 0-15,-1 1 0,107-19 16,-123 19-16,-1 17 15,1 0-15,-2-18 0,-16 18 0,0 0 16,0-17-16,-1 17 0</inkml:trace>
  <inkml:trace contextRef="#ctx0" brushRef="#br0" timeOffset="-111193.92">9026 13462 0,'-88'54'0,"71"-37"0,-1 19 16,-18-19-16,19 18 0,-18 1 0,18-1 16,-19 18-16,19-17 15,17-19-15,-18 1 0,18-1 0,0 0 16,0 19-16,0-18 0,0-1 15,0 2-15,18-2 0,-1-17 16,-17 17-16,17 1 0,19-18 0,-18 0 0,-1 18 16,19-18-16,16 0 15,-16 0-15,-19 0 0,18 0 16,1 0-16,-1-18 0,18 18 0,-17 0 16</inkml:trace>
  <inkml:trace contextRef="#ctx0" brushRef="#br0" timeOffset="-108023.02">983 14645 0,'18'52'31,"-18"-33"-31,0-2 0,0 0 16,0 1-16,0 0 0,0 17 15,0-18-15,17 37 0,-17-37 16,0 0-16,0 2 0,0-2 0,0 1 16,0-1-16,0 2 15,0-2-15,19 0 16</inkml:trace>
  <inkml:trace contextRef="#ctx0" brushRef="#br0" timeOffset="-106008.75">1283 14680 0,'18'-35'0,"-1"35"0,-17-17 15,19 17-15,15 0 16,-16 0-16,-1 0 0,19 0 16,-19 0-1,-17 17-15,0 0 0,18-17 0,-18 18 16,0-1-16,-18 2 0,18-2 15,0 18-15,-17-17 0,17 0 16,-17-1-16,-2 0 0,19 2 0,-17-2 0,17 1 16,0-1-16,-18-17 15,18 17-15,18-17 16,-1-17 0,2 17-16,-2 0 15,0-17-15,1 17 0,35-35 16,-36 35-16,2-19 0,33 2 15</inkml:trace>
  <inkml:trace contextRef="#ctx0" brushRef="#br0" timeOffset="-101310.47">1177 15226 0,'18'36'0,"0"-36"0,-1 18 0,0-18 15,2 0-15,16 17 0,-18-17 16,36 0-16,-18 0 0,1 0 0,17 0 16,-1 0-16,2-17 0,16 17 0,-16-18 15,-2 1-15,89-54 16,-105 53-16,-1-17 0,1 0 16,-2 17-16,-16-17 0,18-1 15,-19-16-15,0 33 0,1-103 16,-18 68-16,0 20 15,0-37-15,0 18 0,-18-1 16,1-16-16,-19 0 0,1 0 0,1 16 16,-20 1-16,1 1 0,0 16 0,-17 1 15,0-1-15,-1 19 0,0 17 16,1 0-16,-1 0 0,-34 17 0,-2 1 16,-86 52-16,69-16 0,36-20 15,-18 37-15,36-18 16,-20 1-16,-32 68 0,68-68 0,2 16 15,16-16-15,19 51 16,17-52-16,0-1 0,35-16 0,1 18 16,69 34-16,-34-36 15,17-34-15,88 34 16,-87-16-16,104-1 0,-105-35 16,-17 17-16</inkml:trace>
  <inkml:trace contextRef="#ctx0" brushRef="#br0" timeOffset="-100260.45">1071 15792 0,'0'-19'0,"18"55"31,-18-19-31,0 1 0,0 18 0,0-19 16,0 0-16,0 37 16,18-20-16,-18 2 0,0-18 15,0 18-15,0-19 0,18 0 16,-18 1-16,0-1 15,17 2-15,-17-2 0</inkml:trace>
  <inkml:trace contextRef="#ctx0" brushRef="#br0" timeOffset="-99285.79">1425 15844 0,'0'36'0,"0"-19"0,0 0 15,0 1-15,0 0 16,17 0-1,0-18 1,19 17-16,-36 0 16,18-17-16,-1 0 15,-17 19 1,0-2-16,0 1 0,0-1 16,-17-17-16,-37 53 15,37-53 1</inkml:trace>
  <inkml:trace contextRef="#ctx0" brushRef="#br0" timeOffset="-98769.71">1230 16444 0,'36'0'0,"-19"0"15,1 0-15,-1 0 0,19 0 16,-19 0-16,1-18 0,18 18 0,-2 0 16,2-17-16,-1 17 0,1-19 15,16 2-15,-16 0 0,-1-1 0,1 1 16,-2-2-16,-16-15 0,18 16 16,-19 0-16,36-53 0,-35 36 15,-1 1-15,0-20 0,2 18 16,-19-16-16,17 16 0,-17 2 0,-17-20 15,17 1-15,-19 1 0,2-1 16,0-1-16,-19 2 0,1-1 0,-18 0 16,18 1-16,-53-2 0,52 18 15,-16 2-15,-1 16 0,-1 1 16,-34-2-16,35 19 0,18 0 16,-35 19-16,16-2 0,-16 1 15,-1 16-15,2 2 0,15-1 0,-16 18 16,16-17-16,2 16 0,16 19 15,2-18-15,-2 18 0,1-19 0,35 1 16,-19 18-16,19-18 0,0-1 16,0 2-16,19-1 0,-2-1 0,18 19 15,1-18-15,-19 0 0,19-18 16,52 53-16,-53-52 0,18-19 16,1 1-16,-20 0 0,20 0 15,-20-18-15,2 0 0,52-18 16,-53 18-16,18-18 0,-18 18 15,1-18-15</inkml:trace>
  <inkml:trace contextRef="#ctx0" brushRef="#br0" timeOffset="-97770.66">1283 15844 0,'0'-18'32,"0"1"-17,18 17-15,-1 0 16,-17-17-16,19 17 16,-2 0-1,18 0-15,-35 17 16,17-17-16,2 0 15,-19 17-15,17-17 0,-17 18 16,0 0 0,0 0-16,0-1 0,-17 0 15,17 1-15,0 0 16,-19-18-16,2 18 16,17-1-16,-18-17 15,18 17 1,-17-17-1</inkml:trace>
  <inkml:trace contextRef="#ctx0" brushRef="#br0" timeOffset="-95744.86">2094 15280 0,'-17'-18'0,"53"18"297,-19-17-281,0 17-16,1 0 15,0 0 32,-18 17-31,0 18 15,0-18-31,18 2 0,-18-2 16,0 18-16,0-16 0,17-2 0,-17 18 15,0-17-15,17 0 0,-17 16 16,18 2-16,-18-1 0,18-18 0,-18 2 15,18 16-15,-18-18 16,0 2-16,0-2 16,0 0-16,0 1 15,0-1-15,-18-17 0,18 19 16,-18-19-16,0 17 0,1 0 16,-18 1-16,17-18 0,-17 18 0,18-18 15,-2 0-15,2 18 0,-1-18 16,1 0-16,0 0 0,-2 17 15</inkml:trace>
  <inkml:trace contextRef="#ctx0" brushRef="#br0" timeOffset="-92358.89">4917 12686 0,'-18'-17'16,"1"0"-16,-2 17 15,19-18 1,-17 18-16,-18-18 16,17 18-1,18-18-15,-35 18 0,18-17 16,-1 17-16,0 0 0,0-17 15,-16 17-15,15-19 16,2 19-16,-18 0 0,16 0 0,2-17 0,0 17 16,-1 0-16,1 0 15,-19-18-15,19 18 0,-1 0 16,0 0-16,0 0 0,1 0 0,0 0 16,-1 0-16,0 0 15,-17 18-15,-1-18 0,19 17 16,-18 2-16,16-19 0,-15 17 15,16-17-15,1 17 16,-2 1-16,2-18 0,0 18 16,-1-18-16,0 18 0,-17-1 0,18 0 15,-2 2-15,-16-2 16,18 1-16,-19-1 0,19 0 16,17 2-16,-18-2 0,-18 18 15,36-16-15,-17-19 16,0 17-16,17 0 0,-18 19 15,1-18-15,17-1 0,-19-17 0,19 17 16,-17 1-16,17 0 0,0 0 16,-17-1-16,-1 0 0,18 2 15,-18 16-15,18-18 0,-18 2 16,18-2-16,-17 18 16,0-18-16,17 2 0,-19 15 0,19-16 15,-17 0-15,17 0 0,-18-1 16,1 36-16,17-35 0,-17-1 15,17 0-15,0 19 0,-19-18 16,19-1-16,0 2 0,-17 15 0,17-16 16,0-1-16,0 19 0,0-19 15,0 1-15,0 35 0,0-36 16,17 37-16,-17-37 0,0 0 16,19 19-16,-19-1 0,17-16 15,-17 33-15,17 1 16,-17-36-16,18 19 0,-18-18 0,0 16 15,17-15-15,-17 33 16,19-16-16,-19-19 0,0 18 0,0 1 16,17-19-16,-17 19 0,0-18 15,0 16-15,0-16 0,0 18 16,0 17-16,17-18 0,-17-18 16,0 36-16,0-18 0,0-16 15,0-2-15,0 18 0,0-17 16,0 0-16,0 35 0,0-36 15,0 18-15,0-18 0,0 19 16,0-18-16,0 18 16,0-19-16,0 0 0,0 1 15,0 0-15,18 0 0,-18-1 16,0 0-16,0 1 0,-18 0 16,18 0-16,0-1 0,0 0 15,0 2-15,0-2 0,0 1 16,0-1-16,0 0 15,-17 2-15,17-2 16,0 1-16,0-1 16,0 2-16,0 15 15,0-16-15,0 0 0,0 17 16,-17-18 0,17 1-16,0 18 0,0-19 15,0 0-15,0 19 0,0-18 16,0-1-16,0 19 15,0-19-15,0 1 0,0-1 16,0 2-16,0 15 0,0-16 16,0 0-16,0 0 0,0 16 15,17-16-15,-34 0 0,17 0 16,0-1-16,0 19 16,0-19-16,0 18 15,0-16-15,0-2 16,0 0-16,-19 1 0,19-1 15,0 2 1,0-2-16,0 0 0,0 1 16,0 0-16,0 0 15,0-1-15,0 0 16,0 2-16,0-2 16,0 1-16,0-1 0,0 0 15,0 2-15,0-2 16,19 1-16,-19 18 15,17-19-15,-17 0 0,0 1 16,0 0-16,17 0 0,-17-1 16,18 0-16,-18 1 15,18 0-15,-18 0 0,18-1 16,-18 19-16,17-36 16,-17 17-16,0 1 0,17-1 15,-17 2-15,19-2 16,-19 0-16,0 1 15,17-1-15,-17 2 16,18 15 0,-18-16-16,0 0 15,0 0-15,17-18 16,-17 34-16,0-16 16,17 0-16,-17 0 0,19-18 15,-19 17-15,0 0 16,17 2-16,-17-2 0,18-17 0,-18 18 15,17-1-15,2 19 16,15-1-16,-34-18 16,18-17-16,-1 19 0,2-2 15,-19 0-15,34 19 0,-16-18 16,0 16-16,0-34 0,-1 19 16,0-2-16,19 18 15,-18-35-15,-18 17 0,34 19 16,2-18-16,-18-1 0,-1-17 15,-17 19-15,36-2 16,-19-17-16,1 17 0,0 1 16,0-18-16,-1 17 15,0-17-15,1 19 0,0-19 16,0 17 0,-1-17-1,0 0 1,2 0-16,-2 0 15,1 0-15,-1 0 16,0-17-16,2 17 16,-2 0-16,1 0 15,-1 0-15,-17-19 0,19 19 16,-2 0-16,0 0 0,1-17 16,0 17-1,0 0-15,-1-18 0,0 18 16,1-17-16,0 17 15,0 0 1,-1 0-16</inkml:trace>
  <inkml:trace contextRef="#ctx0" brushRef="#br0" timeOffset="-91155.4">5729 17149 0,'0'-17'0,"17"-1"31,0 1-15,1 17-16,0 0 0,0-19 16,-1 19-16,0 0 0,-17-17 15,18 17-15,0 0 0,0-17 16</inkml:trace>
  <inkml:trace contextRef="#ctx0" brushRef="#br0" timeOffset="-90889.78">5993 16868 0,'17'0'15,"-34"0"1,70 0-16,-36 0 0,1 17 31,-1 0-31,2 1 0,-19 0 0,0 0 16,0-1-16,0 0 0,0 19 16,0-18-16,0-1 15,-19 36-15,19-35 16,0-1-16,-17-17 15</inkml:trace>
  <inkml:trace contextRef="#ctx0" brushRef="#br0" timeOffset="-90413.66">6505 16726 0,'-36'18'16,"1"18"-1,18-19-15,-2-17 0,19 17 16,-17 1-16,17-1 0,0 2 16,-18 15-16,36-16 0,-18 0 15,17-18-15,19 0 16,-19 0 0,1-18-16,-1-17 15,2 35-15,-2-17 0,0-2 16,1 2-1,0-1-15,17 18 32,-35 18-17,17-1-15,-17 19 16,19-36 0,-19 17-16,17 1 15,1 0 1</inkml:trace>
  <inkml:trace contextRef="#ctx0" brushRef="#br0" timeOffset="-89704.61">6822 16690 0,'-71'36'15,"71"-18"1,0-1 0,0 2-16,18-2 15,-1 0-15,-17 1 0,19-1 16,-19 2-16,17-2 0,0 18 15,-17 18-15,0-36 16,0 1-16,0 18 0,0-19 16,0 19-16,-17-19 0,17 1 15,-17-1-15,17 2 16,0-2-16,-19-17 16,19 17-16,19-51 31,-2 34-16,-17-19-15,17 2 0,1-18 16,0 16-16,17-51 0,-18 35 16,19-53-16,-18 52 15,16 1-15,-34 18 0,19-19 16,-19 19-16,0-1 16,0 72 30,0-37-46,0 0 0,17 37 32,-17-37-32,18 0 0,-18 1 0,0 0 15,17 0 1</inkml:trace>
  <inkml:trace contextRef="#ctx0" brushRef="#br0" timeOffset="-89146.86">6275 17625 0,'106'0'0,"-70"19"0,-2-19 16,37 0-1,-18 0-15,-1-19 0,2 19 0,51-17 16,2-18-16,-19-18 16,36-18-1,-72 36-15,1-35 16,-18 16-16,-17 20 0,34-54 15,-34 34-15,-18 1 0,36-52 16,-36 34-16,0-53 16,0 72-16,-18-72 0,-35 0 15,18 72-15,-1 16 16,-122-35-16,104 54 16,-16 0-16,-70 34 0,-38 0 15,90 19-15,-70 35 16,16 17-16,20 17 15,-2 90 1,89-124-16,16 69 16,19 54-1,54-70-15,34-1 16,0-35-16,36-17 16,-71-35-16,-1-19 0,55 36 15,-73-53-15,20 18 16,34-1-16</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0.933"/>
    </inkml:context>
    <inkml:brush xml:id="br0">
      <inkml:brushProperty name="width" value="0.025" units="cm"/>
      <inkml:brushProperty name="height" value="0.025" units="cm"/>
      <inkml:brushProperty name="ignorePressure" value="1"/>
    </inkml:brush>
  </inkml:definitions>
  <inkml:trace contextRef="#ctx0" brushRef="#br0">49 1,'0'4,"0"7,0 5,0 4,-4 4,-1 1,0 0,1 3,0-1,2 0,-3-1,-2 1,2-2,0 2,2-6</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2.038"/>
    </inkml:context>
    <inkml:brush xml:id="br0">
      <inkml:brushProperty name="width" value="0.025" units="cm"/>
      <inkml:brushProperty name="height" value="0.025" units="cm"/>
      <inkml:brushProperty name="ignorePressure" value="1"/>
    </inkml:brush>
  </inkml:definitions>
  <inkml:trace contextRef="#ctx0" brushRef="#br0">100 1,'-12'11,"1"2,1-1,-1 1,2 2,1-2,-15 31,20-38,1-2,0 1,1-1,-2 1,2 1,0-2,1 1,-2 0,2 1,-1-2,1 1,0 0,0 1,1-1,-1-1,2 1,-1 1,0-1,1-1,0 1,0-1,0 2,1-2,0 0,-1 1,8 6,-6-7,1-2,0 2,1-1,-1 0,0-1,1 1,-1 0,2-2,-2 0,2 1,-2-1,2 0,-2-1,2 0,-2 0,2 0,-2 0,2-1,-1 1,0-1,-1-2,2 2,-2-2,11-4,-9 5,-2-1,2 0,-2-1,2 0,-2 0,0 0,1 0,-1-1,-1 1,1-1,-1-1,0 1,0-2,0 2,-1 0,1-2,-1 0,-1 1,1 0,-2 0,3-13,-2 14,-2-1,1 1,-1 0,0-1,-1 0,1 0,-2 1,2 0,-1-1,0 1,-2 0,2-1,-2 1,0 0,1-1,-1 2,-5-8,3 8,1 0,-2 2,2-2,-1 1,0 0,-1 1,1-1,0 2,-2-2,2 2,-1-1,1 1,-2 1,2-1,-2 1,-7 0,-9 1</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1.678"/>
    </inkml:context>
    <inkml:brush xml:id="br0">
      <inkml:brushProperty name="width" value="0.025" units="cm"/>
      <inkml:brushProperty name="height" value="0.025" units="cm"/>
      <inkml:brushProperty name="ignorePressure" value="1"/>
    </inkml:brush>
  </inkml:definitions>
  <inkml:trace contextRef="#ctx0" brushRef="#br0">69 0,'-5'9,"0"7,-1 6,-2-2,-1 0,1 2,3 1,-3 1,0 1,1-3</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037"/>
    </inkml:context>
    <inkml:brush xml:id="br0">
      <inkml:brushProperty name="width" value="0.025" units="cm"/>
      <inkml:brushProperty name="height" value="0.025" units="cm"/>
      <inkml:brushProperty name="ignorePressure" value="1"/>
    </inkml:brush>
  </inkml:definitions>
  <inkml:trace contextRef="#ctx0" brushRef="#br0">28 1,'2'0,"2"0,0-1,0 1,0 1,0-1,-1 0,1 2,0-2,0 1,-1 0,1 1,0-1,-2 0,2 1,-1 0,1 0,-1 0,-1 1,1-2,0 2,-1 0,1-1,4 6,-6-4,-1 0,1 0,-1 0,2 0,-2 0,0 0,0 0,0 0,-2 0,2 0,-1 0,0 0,1-1,-2 1,0 0,0 0,1-1,-2 1,2 0,-2-2,1 2,-4 2,-32 35,31-36,0 1,2 0,0 0,-1 0,1 0,1 0,-8 14,12-20,0 0,0 2,0-2,0 0,0 0,0 1,0-1,0 0,0 0,0 1,0-1,0 0,0 0,0 0,0 2,0-2,0 0,0 0,0 1,0-1,1 0,-1 0,0 0,0 1,0-1,0 0,2 0,-2 0,0 0,0 2,0-2,1 0,-1 0,0 0,0 0,1 0,-1 0,0 0,0 0,2 0,-2 0,22 1,21-6,38-15,-57 16</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598"/>
    </inkml:context>
    <inkml:brush xml:id="br0">
      <inkml:brushProperty name="width" value="0.025" units="cm"/>
      <inkml:brushProperty name="height" value="0.025" units="cm"/>
      <inkml:brushProperty name="ignorePressure" value="1"/>
    </inkml:brush>
  </inkml:definitions>
  <inkml:trace contextRef="#ctx0" brushRef="#br0">70 0,'-5'4,"1"-1,-1 1,1 0,0 0,-2 0,2 0,2 0,-2 1,0-1,1 1,0 1,1-1,-1 0,0 1,2-1,0 0,-3 10,4-12,-2-1,2 0,-1 0,1 1,0 0,0-1,0 0,0 0,0 1,0 0,1-1,-1 0,2 0,-2 1,1-2,-1 2,1 0,1-2,-1 2,0-2,1 2,-1-2,0 2,1-2,0 0,0 2,-1-2,2 1,-2-1,2 0,-2 1,2-1,-1-1,0 1,0 1,1-2,-2 1,2-1,0 0,-1 1,1-1,-2 0,5 0,-4 0,1 0,-2 0,2 0,-2 0,2-1,-2 1,2 0,0-1,-2 1,2-2,-2 2,0-1,2 0,-2-1,2 1,-2 0,1 1,-1-3,0 2,2-1,-2 1,1 0,-1-1,-1 0,1 0,1 0,-1 0,-1 1,1-2,1 2,-2-2,0 1,1 0,-1 0,0 0,0 0,0 0,0 0,0-5,0 3,0 1,-1-1,1 0,-2 0,1 0,1 0,-1 2,-1-2,0 0,0 1,1-1,-2 1,1 1,0-2,0 1,-1 0,0 1,1-1,-1 0,-1 1,1 0,-3-3,-42-6,25 10</inkml:trace>
</inkml:ink>
</file>

<file path=ppt/ink/ink3.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4:11:30.237"/>
    </inkml:context>
    <inkml:brush xml:id="br0">
      <inkml:brushProperty name="width" value="0.05292" units="cm"/>
      <inkml:brushProperty name="height" value="0.05292" units="cm"/>
      <inkml:brushProperty name="color" value="#0070C0"/>
    </inkml:brush>
  </inkml:definitions>
  <inkml:trace contextRef="#ctx0" brushRef="#br0">10715 2853 0,'19'0'16,"-2"0"-1,-17 18-15,17-18 0,1 0 16,0 0-16,0 0 15,-1 0-15,0 0 0,2-18 0,16 18 16,-18 0-16,19 0 0,-19 0 0,18 0 16,1 0-16,-19 0 0,19-18 15,-1 18-15,-18 0 0,1 0 16,0 0-16,0 0 0,-1-18 16,0 18-1</inkml:trace>
  <inkml:trace contextRef="#ctx0" brushRef="#br0" timeOffset="536.65">11015 2712 0,'53'17'31,"-35"-17"-15,0 0-16,0 18 0,-1-18 0,0 0 15,19 18-15,-18-18 16,16 0-16,-15 18 0,-2-18 0,1 17 16,-1-17-16,0 0 0,2 17 0,-2-17 15,1 0-15,-18 18 0,17-18 0,-17 18 16,0 0-16,-17 16 16,17-15-16,-18-2 15,18 1-15,-17-1 0,-2 2 0,2-2 16,0 0-16,-18 18 15,16-16-15</inkml:trace>
  <inkml:trace contextRef="#ctx0" brushRef="#br0" timeOffset="3667.96">12232 2483 0,'0'34'0,"18"-15"0,-18 16 15,0-18-15,18 0 16,-18 2 0,0-2-16,0 1 0,0-1 15,0 2 1,0-2-16</inkml:trace>
  <inkml:trace contextRef="#ctx0" brushRef="#br0" timeOffset="4140.04">12127 2447 0,'17'-18'15,"-17"1"-15,18 17 0,0 0 16,-18-17-16,18 17 16,-1 0-16,18-18 0,-17 18 15,0 0-15,16 0 0,-15 18 0,-2-18 16,35 17-1,-52 0-15,19 1 0,-2 0 16,-17 17-16,0-18 0,0 2 16,0-2-16,0 1 15,-17-1-15,17 0 0,-19-17 0,19 19 16,-17 16-16,0-35 16,17 17-16,-35 2 0,16-19 15,19 17-15</inkml:trace>
  <inkml:trace contextRef="#ctx0" brushRef="#br0" timeOffset="4704.1">12674 2412 0,'-18'-17'15,"18"51"17,0 2-17,18-18-15,-18-1 16,17 0-1,-17 2-15,17-19 0,-17 17 0,19-17 16,-2 0 0,1-17-1,-1 17-15,-17-19 0,0 2 32,-17-18-17,17 17-15,-18 0 16,18 1-16,-17 17 15,-2-17 1,2 17-16,0-18 16</inkml:trace>
  <inkml:trace contextRef="#ctx0" brushRef="#br0" timeOffset="5703.36">13662 2007 0,'0'34'0,"17"-16"16,0 0-16,-17 0 15,18-1-15,0 0 0,0 2 16,-1-2 0,0-17-16</inkml:trace>
  <inkml:trace contextRef="#ctx0" brushRef="#br0" timeOffset="5907.24">13926 2059 0,'0'-18'0,"-18"54"16,1-18 0,17-1-16,-17 0 15,-2 2-15,2 16 0,17-18 16,-18 0-16,1 19 0,17-18 16,-19-18-16,19 17 0,0 2 15,-17-19-15,17 17 0,0 0 16</inkml:trace>
  <inkml:trace contextRef="#ctx0" brushRef="#br0" timeOffset="6606.92">14243 1919 0,'0'52'47,"0"-35"-47,-17 2 0,17-2 15,-18 71 1,1-52-16,17-19 0,-19 18 16,19-18-16,0 2 0,-17-2 0,17 1 15,0-1-15,0 2 0,0-2 16</inkml:trace>
  <inkml:trace contextRef="#ctx0" brushRef="#br0" timeOffset="7057.11">14438 2253 0,'0'-17'93,"0"-2"-77,0 2-16,0 0 16,17 17-1,0 0 16,2 17-15,-2-17 0,1 0-1,-1-17-15,0 17 16,-17-18-16,19 1 16,-19-2-16,0 2 0,17 0 0,-17-1 15,0 0-15,0 0 16,0 1-16,0 0 0,0-2 15,-36 38 1</inkml:trace>
  <inkml:trace contextRef="#ctx0" brushRef="#br0" timeOffset="7755.93">11580 3752 0,'35'-35'31,"-18"35"-31,2 0 0,-2-17 16,1 17-16,-1-19 0,19 19 0,-1-17 15,-18 0-15,19 17 0,-19 0 16,1-18-16,18 1 16,-19 17-16,0 0 15,-17-19-15,19 19 0</inkml:trace>
  <inkml:trace contextRef="#ctx0" brushRef="#br0" timeOffset="8038">11915 3488 0,'36'-17'0,"-19"17"0,1 17 16,-1-17-16,0 0 16,2 17-16,-2-17 0,1 18 15,-1 0-15,2 0 0,-19-1 16,17 0-16,-17 2 16,0-2-16,0 1 0,0-1 0,-17 19 15,17-19-15,-19 1 16,19-1-1</inkml:trace>
  <inkml:trace contextRef="#ctx0" brushRef="#br0" timeOffset="9046.01">12903 2307 0,'17'0'0,"1"0"47,0 0-47,-18 17 16,35 18 0,-18-17-1,-17 0-15,36 16 16,-18-16-1,-18 0 17,-18-54-1,18 2-15,0 16-1,0 0-15,-18 18 0,18-18 16,0 1-16,0 0 15,36 17 32,-36 17-31,17-17-16,0 0 31,2 0-15,-19-17-1,0-2 1,17 19-16,-17-17 31,18 17-15,-1 17 0,2 2-1,-2-19 1,0 17-16,1-17 15,-18 17-15</inkml:trace>
  <inkml:trace contextRef="#ctx0" brushRef="#br0" timeOffset="10758.1">12674 3400 0,'17'0'16,"0"17"15,2 19-15,-2-18-1,-17-1-15,18 0 0,-18 1 16,0 0-16,17 0 16,-17-1-16,0 0 0,19 2 15,-19-2-15,0 1 16,17-18 0</inkml:trace>
  <inkml:trace contextRef="#ctx0" brushRef="#br0" timeOffset="11232.05">12620 3224 0,'18'17'47</inkml:trace>
  <inkml:trace contextRef="#ctx0" brushRef="#br0" timeOffset="11738.04">12903 3453 0,'0'18'16,"0"-1"-1,0 0-15,0 1 16,17 0-1,1-36 17,-18 0-1,0 1-31,18 17 0,-18-17 16,18 17-16,-1 0 31,0 0-16,-17 17-15,18-17 16,0 17 0,0-34 15,-1 0-15,-17-1-1,17 0 1,2 18-1,-2 0 1,1 0-16,-1 0 16,2 18-1,-2-18-15,0 0 16</inkml:trace>
  <inkml:trace contextRef="#ctx0" brushRef="#br0" timeOffset="12185.12">13344 3205 0,'-18'-17'16,"18"53"-16,18-1 15,-18-1-15,0-15 0,18-2 16,-18 18-16,0-16 0,0-2 15,17 0-15,-17 19 0,0-1 16,0 0-16,0-17 16,17 0-16,-17-1 15,0 0-15,0 2 16,0-2 0,0-70 15,0 36-16,0-1-15,0 0 0,0 0 0,0 1 16,0 0-16,0-1 0,0-18 16,0 19-16,19 0 15,-19-2-15,17 2 16,1 34 15,-18 2-31,-18 15 31,18-16-15</inkml:trace>
  <inkml:trace contextRef="#ctx0" brushRef="#br0" timeOffset="12515.28">13538 3224 0,'17'0'16,"-17"17"-1,19 1-15,-2 52 32,-17-52-32,0 18 31,17-19-16,-17-34 17,18-37-17,-18 37-15,18-2 16,-18 2-16,0-18 0,18 35 16,16-36-16,-16 19 15,0 17-15,0-17 0,-1-1 16</inkml:trace>
  <inkml:trace contextRef="#ctx0" brushRef="#br0" timeOffset="13058.92">14702 2783 0,'17'17'15,"-17"0"1,19-17-16,-2 0 16,-17 18-16,17-18 0,1 0 15,0 0-15,0 0 0,-1-18 16,0 18-16,19 0 16,-36-17-16,18 17 0,-1-17 15,0 17-15,-17-18 0,19 0 16,-2 0-1,-17 54 17,0 16-17,-17-34 1,17 18-16,0-19 0,-19 36 16,19-35-16,-17 18 15,0-19-15,17 0 0,0 1 16,0-1-16,-18 2 0,18-2 0,0 0 31</inkml:trace>
  <inkml:trace contextRef="#ctx0" brushRef="#br0" timeOffset="13340.82">15248 2605 0,'-17'54'16,"17"-18"0,-17-2-16,17-16 15,0 0-15,-18 17 16,18-18-16,0 1 0,0 35 0,-18-36 15,18 2-15,0-2 0,0 18 16,0-16-16,0-2 16,18 0-1</inkml:trace>
  <inkml:trace contextRef="#ctx0" brushRef="#br0" timeOffset="13795.24">15443 2853 0,'35'18'125,"-17"-18"-110,0 17 1,-1-34 0,-17-1-1,0 0 1,0 0 0,17 18-16,-17-34 15,0 16-15</inkml:trace>
  <inkml:trace contextRef="#ctx0" brushRef="#br0" timeOffset="14897.7">15407 2835 0,'0'36'31,"0"-2"-15,0-15 0,0-2-16,0 1 15,-17 18-15,17-19 0,0 0 0,0 18 16,-18 1-16</inkml:trace>
  <inkml:trace contextRef="#ctx0" brushRef="#br0" timeOffset="18908.25">3236 5887 0,'36'0'78,"-18"-18"-63,-1 18-15,0 0 16,2 0-16,16 0 0,-18 0 16,2 0-16,15 0 0,2-17 15,-1 17-15,0 0 0,142-19 16,-106 19-16,-19 0 0,18-17 15,-16 17-15,16 0 0,1 0 16,0 0-16,-19-17 0,18 17 0,18 0 16,-17 0-16,-35 0 15,-1 0-15,-18 0 0,19 0 16,-19 0-16,1 0 0,0 0 16,17 0-16,-18 0 15,2 0 1,-2 0-16,1-18 15,-1 18 1,0 0 15,2 0 32,-2 0 156,1 0-204,-1 0 1,19 0-1,-1 0 1,-17 0-16,0 0 16,-1 0-16,36-17 0,-35 17 15,-1 0-15,19 0 0,35 0 16,-37 0-16,37 0 16,-36-19-16,1 19 0,34 0 15,-35 0-15,1 0 0,-1 0 16,1 0-16,-2 0 0,1 0 15,1 0-15,17 0 0,-18 0 0,1-17 16,-1 17-16,18 0 0,-18 0 0,1 0 16,-19 0-16,18-17 0,1 17 15,16 0-15,-16 0 0,-19 0 16,0 0-16,2 0 0,16-18 0,-18 18 16,19 0-1,-19 0-15,1 0 0,-1 0 0,2 0 0,-2 0 16,18-18-16,-17 18 15,17 0-15,0 0 0,-17 0 16,0-18-16,-1 18 0,0 0 16,2 0-16,-2 0 0,1 0 0,-1 0 15,2 0-15,-2 0 16,0 0-16,1 0 0,-1 0 16,2 0-16,-2 0 0,0 0 15,1 0-15,0-17 16,0 17-16,16 0 15,-15 0-15,-2 0 16,1 0-16,-1 0 0,0 0 16,2 0-16,-2 0 0,1 0 15,-1 0-15,2 0 0,-2 0 0,0 0 16,1 0-16,0 0 16,0 17-16,-1-17 0,0 0 0,1 0 15,0 0-15,0 0 16,-1 0-1,0 0-15,2 0 32,-2 0-32,1 0 15,-1 18 17,0-18-17,2 0-15,-2 0 16,18 18-1,-16-18 1,-2 0-16,0 0 0,1 18 16,0-18-16,0 0 15,-1 0-15,0 17 16,1-17-16,18 0 47,-19 0-47,0 0 47,2 0-16,-72 0 31</inkml:trace>
  <inkml:trace contextRef="#ctx0" brushRef="#br0" timeOffset="27984.95">3748 6557 0,'18'-17'31,"-1"17"-15,19 0-1,-19 0 1,1-19-16,0 19 0,0 0 0,-1 0 16,18 0-16,-17 0 0,0 0 0,35 0 15,-36 0 1,18 0-16,-16-17 0,50 17 0,2 0 16,-18 0-16,0-17 15,-35 17-15,16 0 0,2 0 16,-1 0-16,36-18 15,-18 18-15,-18 0 0,-17 0 16,17 0-16,1 0 0,16-18 16,1 18-16,-18 0 15,-16-18-15,15 18 0,37 0 16,-54 0-16,19 0 16,-1-17-16,18 17 15,-35 0-15,-1 0 0,2 0 16,15 0-16,-16 0 0,18 0 15,16-17-15,-34 17 16,17 0-16,-18 0 0,2 0 16,16 0-16,-18 0 15,0 0-15,2 0 0,-2 0 0,18 0 16,1 0 0,-19 0-16,1-18 0,18 18 15,-19 0-15,0 0 16,1 0-16,0 0 0,0 0 15,16 0-15,-15 0 16,16 0-16,-18 0 0,0 0 16,2 0-1,-2 0-15,1 0 0,-1 0 16,19 0-16,-19 0 0,1 0 16,0 0-16,0 0 15,-1 18-15,0-18 0,1 0 16,0 0-16,0 0 0,-1 17 15,0-17-15,2 0 16,-2 0-16,1 0 0,16 0 16,-15 17-16,-2-17 15,1 0-15,-1 0 0,2 0 16,33 18-16,-34-18 0,17 0 16,-18 0-16,19 0 15,-1 0-15,1 18 0,-1-18 16,18 0-1,-18 0-15,1 0 0,-19 0 16,54 0 0,-54 0-16,19 0 0,-19 0 0,1 0 15,-1 0-15,36 0 16,1 18-16,-37-18 16,18 0-16,18 0 0,-36 0 15,19 0-15,-18 0 16,16 0-16,20 0 15,-37 0-15,0 0 16,2 0 0,-2 17-1</inkml:trace>
  <inkml:trace contextRef="#ctx0" brushRef="#br0" timeOffset="29494.77">13062 6680 0,'124'0'16,"-55"-17"-16,2 17 16,177-18-1,-126 18-15,37 0 16,-88 0-16,-1 0 15,72 0-15,16-17 16,-87 17-16,0 0 0,-1 0 16,1 0-16,88-17 0,-89 17 15,-18 0-15,19 0 0,53 0 16,-36 0-16,-35 0 16,35 0-16,-53 0 15,18 0-15,1 0 0,16 0 16,-18 0-1,-33 0-15,-2 0 16,1 0-16,-1 0 16,0 0-1,-17 17-15,-17 0 32</inkml:trace>
  <inkml:trace contextRef="#ctx0" brushRef="#br0" timeOffset="31916.09">4031 7421 0,'17'0'0,"1"0"16,-1 0-16,2 0 16,-2 0-16,0 0 15,1 0-15,-1 0 0,2 0 16,-2 0-16,0 0 0,37 0 16,16 0-16,-18 0 15,-16 0-15,18 0 0,-20 0 16,37 0-16,0-17 0,-18 17 0,16 0 15,2 0-15,0 0 0,-18 0 0,18-17 16,-1 17-16,1 0 16,0 0-16,-19 0 0,18 0 0,1 0 0,-18-19 15,18 19-15,-19 0 0,19 0 16,-1 0-16,-16 0 0,-1 0 16,52 0-16,1-17 15,-17 17-15,-37 0 0,1 0 16,-18 0-16,18 0 0,1 0 15,-20 0-15,20 0 0,-1 0 0,-18 0 16,18 0-16,-18 0 0,18 0 16,-18 0-16,18 0 0,-17-18 0,16 18 15,-16 0-15,-1 0 0,1 0 0,-2 0 16,2 0-16,34 0 16,-34 0-16,-2 0 0,2 0 15,16 0-15,19 0 16,-52 18-16,15-18 0,20 0 15,16 0-15,-18 0 16,-16 0-16,-18 0 0,-1 17 16,19-17-16,-1 0 15,1 0-15,-19 0 0,0 0 0,1 0 16,0 0-16,0 0 0,-1 0 16,0 0-16,-17 19 15,18-19-15</inkml:trace>
  <inkml:trace contextRef="#ctx0" brushRef="#br0" timeOffset="36996.08">3766 13313 0,'-35'18'47,"18"16"-32,-2-15-15,19-2 16,-17 1-16,-1-1 0,1 36 16,17-18-16,-19-16 0,19-2 15,0 18-15,0-17 0,0 0 16,0-1-16,19 18 0,-19-17 16,17 0-16,-17-1 0,18-17 0,-18 17 15,17-17-15,-17 19 0,19-19 16,-2 0-16,0 0 15,1 0-15,-1 0 16,-17-19-16,19 2 31,-19 0-15,0-1-16,17 0 16,0 0-1,1 18-15,18 0 31,-36 18-31,17-18 0,18 36 32,-17-36-32,-18 17 0,18 19 15,-18-19 1,17-17 15</inkml:trace>
  <inkml:trace contextRef="#ctx0" brushRef="#br0" timeOffset="37455.15">4295 13595 0,'17'18'31,"-17"0"-31,19 16 15,-19-16-15,17 0 16,-17 0-16,0-1 0,18-17 16,-18 17-16,0 2 15,17-2-15,-17-53 32,17 36-17,-17-17-15,0 0 0,0-1 0,0 0 0,19 0 16,-19 1-16,0 0 15,17-19-15,1 36 0,-1-35 16,2 18-16,-2 17 16</inkml:trace>
  <inkml:trace contextRef="#ctx0" brushRef="#br0" timeOffset="37938.05">4842 13543 0,'-18'0'0,"1"17"16,17 0 0,0 1-16,0 35 15,17-36-15,-17 1 16,18 0-16,-1 0 0,2-1 15,-2-17-15,0 17 16,1-17-16,18 0 16,-36-17-16,17 17 0,-17-17 15,0-1-15,0 0 16,0 0-16,-17 1 0,17 0 16,-18-1-16,18 0 0,-18 0 15,0 1-15,18 0 16,-17 17-16,0-19 0,-2 38 31</inkml:trace>
  <inkml:trace contextRef="#ctx0" brushRef="#br0" timeOffset="38244.89">5107 13472 0,'0'35'31,"17"-18"-31,-17 2 16,0-2-16,18-17 16,-18 17-16,17-17 0,-17 18 15,19-18-15,-2 0 0,18 0 31,-35-18-31,17 18 0,2-17 16,-19 0 0,17-2-16,-17 2 15,17-1 1</inkml:trace>
  <inkml:trace contextRef="#ctx0" brushRef="#br0" timeOffset="38735.8">5459 13348 0,'17'53'31,"-17"-35"-15,0 16-16,0-15 0,19 16 15,-19 1-15,0 34 0,0 0 16,0-52-16,17 17 0,-17-18 16,0 19-16,0-1 15,0-18-15,0 2 0,0-2 16,0-34 15,0-19-31,18 19 16,-18-18-16,0-1 0,0 1 15,0-18-15,17-18 16,-17 37-16,19-2 0,-19 18 0,17 1 0,-17-2 16,17 2-16,-17 0 15,18 17-15,-1-18 16,2 36-1,-38-1 1,2 36 0,17-35-16,-18-1 15,18 2 1,0-2 0</inkml:trace>
  <inkml:trace contextRef="#ctx0" brushRef="#br0" timeOffset="39339.98">6642 13207 0,'0'36'16,"0"-19"-1,0 0-15,0 19 0,0-18 16,0-1-16,17 0 0,-17 2 16,0 16-16,17-1 15,-17-15-15,18-2 16,-1-34 15,-17-2-31,0 2 0,0 0 16,19-54-1,-19 36-15,0-1 0,0 2 0,17-37 16,-17 35-16,0 19 0,17-37 16,-17 37-16,0 0 0,18-1 15,0 0 1,17 18-16,-35 18 0,17-18 16,2 18-16,-2-1 0,1-17 0,-1 17 15,-17 2-15,17-2 0,2 18 16,-2 1-16,1-1 15,-18-18-15,17 2 0,-17-2 16,0 0-16,0 1 16,0 0-16</inkml:trace>
  <inkml:trace contextRef="#ctx0" brushRef="#br0" timeOffset="39550.01">6730 13365 0,'17'-17'16,"0"0"0,1 17-16,35-18 15,-17 18-15,-19-18 16,1 18-16,16 0 0,2-18 15,-18 18-15,-1 0 0,19 0 16</inkml:trace>
  <inkml:trace contextRef="#ctx0" brushRef="#br0" timeOffset="40308.8">11756 12519 0,'-17'0'0,"34"0"0,-70 18 15,36 0-15,-1-1 16,18 0-16,-17 1 15,17 18-15,-19-2 0,19 2 16,0-1-16,0-18 0,0 19 0,19-18 16,-19 18-16,17-19 0,-17 0 15,18 19-15,-1-18 0,2-1 16,-2-17-16,-17 17 0,17-17 16,1 0-16,-1 0 15,2 0-15,-19-17 16,17 0-1,-17-1-15,17 18 0,-17-18 0,18 18 16,-18-18 0,18 18-16,0 0 15,-1 0 1,-17 18-16,17-18 16,-17 18-16,19 0 0,-19-1 15,0 0-15,17 1 0,-17 0 16,0 0-1,0-1-15,18 0 16</inkml:trace>
  <inkml:trace contextRef="#ctx0" brushRef="#br0" timeOffset="41139.8">12268 12819 0,'52'17'16,"-33"19"-1,-2-1-15,-17-17 0,18 0 0,-18-1 16,0 0-16,17 19 16,-17-18-16,0-1 0,17-17 15,-17 17-15,0 2 0,0-2 16,19-34 15,-19-2-31,17 2 0,1-36 16,-18 35-1,17 1-15,-17 0 0,0-1 16,19-18-16,-2 19 0,-17 0 0,17-2 16,-17 2-16,18 17 0,-18-18 15,18 18-15,0-17 0</inkml:trace>
  <inkml:trace contextRef="#ctx0" brushRef="#br0" timeOffset="41421.24">12656 12748 0,'0'36'31,"0"-19"-31,18 1 16,-18-1-16,0 2 0,17-2 15,-17 0-15,17-17 0,-17 18 16,19 0-16,16-18 15,-35 18-15,17-18 0,2 0 0,-2 0 0,0 0 16,-17-18 0,18 18-16,-18-18 15,-18 0-15,18 1 0,0 0 0,-17-19 16,0 18-16,-2 1 16,19-2-16,-17 19 15,17-17-15,-18 17 0,1 17 31</inkml:trace>
  <inkml:trace contextRef="#ctx0" brushRef="#br0" timeOffset="41803.97">13026 12731 0,'0'0'0,"-18"17"16,1 0 0,17 2-16,0 16 15,0-18-15,17 2 16,-17-2-16,18-17 15,-18 17-15,18-17 16,17 0-16,-18 0 16,2-17-16,-2 0 15,1-2-15,-1 2 16,-17-1-16,19 1 16,-19-2-1</inkml:trace>
  <inkml:trace contextRef="#ctx0" brushRef="#br0" timeOffset="42264.85">13344 12537 0,'0'-18'16,"0"71"0,0-36-16,0 19 15,0 16-15,-18-16 0,18-1 16,0 1-16,0-1 0,0 53 16,0-52-16,0-2 0,0 2 15,0-18-15,0 16 0,0-15 16,0-2-16,0 1 0,0-1 15,0 2-15,-18-2 0,36-70 47,-18 18-47,0-1 0,0-17 0,36-106 32,-36 107-32,17-1 0,-17 18 0,17-18 15,-17 17-15,19 18 0,-2 1 16,1 0-1,-1 17-15,0 17 16,-17 0-16,19 1 16,-19 0-16,-19 17 15,2-18 1,17 2-16,-17-2 0,17 1 0,-18-1 16,1 0-16,-2-17 15</inkml:trace>
  <inkml:trace contextRef="#ctx0" brushRef="#br0" timeOffset="42640.13">14508 12448 0,'-17'0'16,"17"19"-1,0-2-15,-19 0 0,19 37 16,0-37-16,0 0 16,0 1-16,-17 18 15,17-2-15,0-15 0,0-2 16,0 1-16,0-1 0,0 0 16,0 2-16,0-2 0,0 1 15</inkml:trace>
  <inkml:trace contextRef="#ctx0" brushRef="#br0" timeOffset="43167.84">14455 12467 0,'36'-36'15,"-1"36"-15,18 17 16,-18 19 0,-53-1 15,1-17-31,17 0 0,-19-1 16,19 0-1,0 1 1,19-18-16,-2 18 15,1-18-15,-1 0 0,2 18 16,-2-18-16,18 17 16,-18 0-16,2 2 15,-19-2 1,0 1-16,-19-18 0,2 0 16,-1 17-16,-52 19 15,52-36-15,1 17 0,-19-17 16,19 0-16,-18 18 0,16-18 15,-15 0-15</inkml:trace>
  <inkml:trace contextRef="#ctx0" brushRef="#br0" timeOffset="57861.04">1279 14283 0,'17'70'0,"-17"-52"15,0 0-15,0 0 16,0 16-16,18-16 0,-18 0 16,0 17-16,0-18 15,0 2-15,0-2 16,0 1-16</inkml:trace>
  <inkml:trace contextRef="#ctx0" brushRef="#br0" timeOffset="58251.75">1262 14212 0,'0'-17'15,"52"53"1,-34-36-16,0 0 16,-18 17-16,34-17 0,2 17 15,-18 1-15,16-18 16,-34 17-16,19-17 16,-19 19-16,17-19 0</inkml:trace>
  <inkml:trace contextRef="#ctx0" brushRef="#br0" timeOffset="58489.97">1684 14141 0,'-17'19'16,"0"-19"-16,17 17 15,-19 1-15,2 35 32,17-36-32,-18 1 0,18-1 15,-17 19-15,0-19 16,17 1-16,0 0 16</inkml:trace>
  <inkml:trace contextRef="#ctx0" brushRef="#br0" timeOffset="58943.64">1631 14107 0,'0'0'0,"19"17"31,-2 0-15,0 2-16,1 16 16,18 1-16,-19-2 15,19 1-15,-19 1 16,1-19-16,-1 1 16,19 0-16,-19 0 15,1-1 1,-1-17-16,2-17 15,-19-1 1,0 0 0,0-17-1,0 18-15,0-2 16,-19 2-16,19-1 16,0 1-16,-17 0 15,-1-2 16,53 19 1</inkml:trace>
  <inkml:trace contextRef="#ctx0" brushRef="#br0" timeOffset="59809.02">1967 14248 0,'17'35'31,"-17"-18"-15,18-17-1,0 19-15,0-19 16,-18 17-16,17-17 0,0 0 15,1 0 1,0 0-16,0 0 16,-1-17-1,0-2-15,-17 2 16,19-1 0,-38 1-16,19 0 15,0-2 1,0 2-16,-17-1 15</inkml:trace>
  <inkml:trace contextRef="#ctx0" brushRef="#br0" timeOffset="60176.87">2302 14053 0,'-35'36'0,"35"-18"32,0-1-17,17-17-15,-17 17 0,18 2 16,-1-19-1,-17 17-15,19-17 0,-2 18 16,0-18 0,-17 17-1,0 2 1,0-2 0,0 0-16,-17 1 15,0-1 1,17 2-1</inkml:trace>
  <inkml:trace contextRef="#ctx0" brushRef="#br0" timeOffset="60371.01">2408 14124 0,'35'17'47,"-35"2"-16,0-2-31,0 1 16,17-18-16,-17 17 16</inkml:trace>
  <inkml:trace contextRef="#ctx0" brushRef="#br0" timeOffset="60539.95">2408 13965 0</inkml:trace>
  <inkml:trace contextRef="#ctx0" brushRef="#br0" timeOffset="60839.87">2638 13931 0,'0'34'0,"0"-16"16,0 18-1,0-19 1,0 0-16,0 1 16,17 0-1,-17 0-15,17-18 0,-17 17 16,18-17-16,-1 0 0,2 0 31,15 0-31,-16 0 0,0-17 16,0 17-16,-1 0 0,0-18 15,19 18-15</inkml:trace>
  <inkml:trace contextRef="#ctx0" brushRef="#br0" timeOffset="62021.1">16043 13331 0,'17'34'16,"-17"2"-16,0-18 15,18-1-15,-18 0 16,0-51 46,0 16-62,0 1 16,0-2-16,0-15 16,0-2-16,17 18 15,-17 1 1,0 0-1,0-2 1,19 19-16,-2 19 16,0-2-1,1 0-15,0 1 16,0-18-16,-1 18 0,18 0 16,-17-18-1,0 0 1,-1 0-16,0-18 15,-17 0 1,0 0-16,19 1 0,-19 0 16,0-19-16,0 18 15,0 1-15,0-19 16,-19 19 0,38-1-1</inkml:trace>
  <inkml:trace contextRef="#ctx0" brushRef="#br0" timeOffset="62363.8">16519 13031 0,'17'34'16,"1"2"-1,0-18 1,-18-1-16,18 2 0,-1-19 16,0 0-16,-17 17 0,36-17 15,-18 0-15,-1 0 16,19-17-16,-19 17 16,1-19-16,-18 2 15,0-1-15,0 1 16,0-2-16,-18 19 15,1-17-15,-2 17 0,19-17 0,-34 17 16,16-18 0,-18 36-16,2-18 15,16 17-15,0-17 16,0 17-16,1-17 16</inkml:trace>
  <inkml:trace contextRef="#ctx0" brushRef="#br0" timeOffset="62839.87">16890 13824 0,'17'36'32,"-17"-19"-32,17-17 15,1 54-15,0-20 16,0 20-1,-18-37-15,17 0 0,-17 19 16,17-18-16,-17-1 16,0 0-1</inkml:trace>
  <inkml:trace contextRef="#ctx0" brushRef="#br0" timeOffset="63139.89">16907 13860 0,'17'-19'0,"1"19"31,0 19-15,0-2-16,16-17 16,-15 18-1,-2-18-15,1 17 0,-1-17 16,0 0-16,2 0 16,-2 0-1,1 0-15</inkml:trace>
  <inkml:trace contextRef="#ctx0" brushRef="#br0" timeOffset="63383.98">17278 13772 0,'-18'0'0,"0"17"15,0 1 1,1 16-16,0 2 16,-2-1-1,19-16-15,-17-2 0,17 0 16,-18 1 0,18 0-16,-17 0 15</inkml:trace>
  <inkml:trace contextRef="#ctx0" brushRef="#br0" timeOffset="63608.13">17278 13807 0,'17'17'31,"0"-17"-31,1 53 16,-18-35 0,0-1-16,18 19 15,0-19-15,-18 1 16,17 0-16</inkml:trace>
  <inkml:trace contextRef="#ctx0" brushRef="#br0" timeOffset="64175.78">17595 13807 0,'0'34'16,"17"-15"-16,1 16 31,0-18-31,0 2 15,-1-19-15,0 17 0,1-17 16,0-17-16,0 17 16,-1-19-16,0 2 15,-17-1-15,19 18 16,-19-17-16,0-2 0,0 2 16,0 0-16,0-1 15,0 1-15,0-2 31</inkml:trace>
  <inkml:trace contextRef="#ctx0" brushRef="#br0" timeOffset="64569.76">18018 13665 0,'-35'18'15,"18"0"-15,69-54 0,-123 90 16,71-37 0,19 0-1,-2-17 1,-17 19-16,17-19 0,1 17 15,0-17 1,0 18-16,-1-18 16,0 17-16,1-17 15,-18 17 1,-18 2 0,1-2-1,17 1 1,-17-18-1,-1 0-15,0-18 32</inkml:trace>
  <inkml:trace contextRef="#ctx0" brushRef="#br0" timeOffset="64892.07">18212 13631 0,'71'-18'15,"-54"18"1,1 0-16,-1-18 0,2 18 16,-2 0-1,0 0-15</inkml:trace>
  <inkml:trace contextRef="#ctx0" brushRef="#br0" timeOffset="65069.27">18388 13577 0,'0'0'47,"-17"18"-31,17 0 0,-17 0-16,17-1 15,0 0-15,0 19 16,17-18-16,-17-1 15,0 0-15,-17 2 16,17-2 0</inkml:trace>
  <inkml:trace contextRef="#ctx0" brushRef="#br0" timeOffset="65315.73">18247 13860 0,'19'-19'16,"-2"19"-16,-17-17 15,17 17-15,18-17 16,-16 17-1,15-18 1,-16 18-16,0-17 0</inkml:trace>
  <inkml:trace contextRef="#ctx0" brushRef="#br0" timeOffset="65590.85">18759 13543 0,'-17'-19'16,"-1"19"-16,0 19 15,0-2 1,1 0-16,17 1 16,-17 0-16,17 0 15,0-1-15,0 0 16,0 1-16,17-18 0,-17 18 15,17-18-15,-17 18 0,18-18 16,0 0-16,0 0 16,-1-18-16,0 18 0,1 0 0,0 0 15,0-18-15,-1 18 0</inkml:trace>
  <inkml:trace contextRef="#ctx0" brushRef="#br0" timeOffset="67032.77">1667 14829 0,'141'-70'15,"-106"52"-15,1-16 0,16 15 16,-16 2-16,-1-1 0,1 1 16,-19 0-16,18-2 0,1 19 0,-19-17 15,19-1-15,-19 18 0,1-17 0,-1 17 0,0 0 16</inkml:trace>
  <inkml:trace contextRef="#ctx0" brushRef="#br0" timeOffset="67292.31">1984 14936 0,'54'-19'15,"-37"2"-15,-88 53 0,213-89 16,-125 35-16,0 1 0,19 17 0,-1-36 16,1 36-16,-19-17 15,1-1-15,-1 18 0,2-18 16,-2 18-16,0 0 0,-17-18 0,18 18 15,0-17-15,0 17 0</inkml:trace>
  <inkml:trace contextRef="#ctx0" brushRef="#br0" timeOffset="72327.55">4578 14548 0,'0'-19'0,"17"55"47,0-18-47,-17 18 16,0-19-16,18 0 0,-18 18 15,18-16-15,-18-2 0,0 0 16,0 1-16,0 0 0,0 0 15,18-18-15,-18 17 0,0 0 0,0 2 16,17-19 0,0 0-16</inkml:trace>
  <inkml:trace contextRef="#ctx0" brushRef="#br0" timeOffset="72652.61">5036 14600 0,'35'0'0,"-35"-17"0,17 17 16,2 0 0,-2-18-16,1 18 0,-1 0 0,2 0 15,-19-17-15,17 17 0,0 0 16,1-19-16,-1 19 16,2 0-16,-2-17 15,0 17 1,1 0-1</inkml:trace>
  <inkml:trace contextRef="#ctx0" brushRef="#br0" timeOffset="72947.34">5847 14283 0,'17'36'0,"2"-19"0,-19 0 15,17 19 1,-17-18-16,0-1 15,0 0-15,0 1 0,18 0 16,-18 0-16</inkml:trace>
  <inkml:trace contextRef="#ctx0" brushRef="#br0" timeOffset="73320.22">6059 14319 0,'-17'0'15,"17"17"1,0 0 0,0 1-16,0 0 0,0 0 15,17-18 1,-17 17-16,17-17 0,-17 17 0,18-17 15,0 0 1,0 0-16,-1 0 0,0 0 16,-17-17-16,19 17 0,-2-17 15,1-1-15,-18 0 16,0 0-16,0 1 16,-35-54-1,16 71 1,2-17-16,0 17 0,-19-17 15,18 17-15,1 17 16,-18-17-16,17 17 16,-17-17-16</inkml:trace>
  <inkml:trace contextRef="#ctx0" brushRef="#br0" timeOffset="75199.27">4948 15129 0,'106'-34'15,"-53"16"-15,-18 0 16,53 0-16,18-16 16,105-37-1,-158 71-15,71-36 16,-72 19-16,2-1 0,16 1 0,-16-2 16,51-15-16,-17 16 15,-35 0-15,-18 0 0,1 1 16,16 0-16,-16-2 15,-19 2-15,19 17 0,-18-18 16,16 1-16,2 0 16,-18 17-16,-18-19 0,17 19 0,0 0 15,-17-17-15,19 17 0,-19-18 16,17 18-16,-17-17 0,0-2 31,0 2-15,0 0-16,-17-1 15,17 0-15,0 0 0,-19 1 16,19-18-16,-17 17 0,17 0 16,-17 1-16,17 0 0,-18-19 0,18 18 15,-18 1-15,18 0 0,-18-2 16,18 2-16,-17-1 16,17 1-16,0-2 0,-17 19 0,17-17 15,-18 0-15,18-1 16,-18 18-1,18-18-15,-18 0 32,1 18-17,0-17-15,-2 17 16,2 0 0,-1 0-1,1 0-15,-2 0 0,2 0 16,0 0-16,17 17 15,-18-17-15,1 0 0,-2 0 16,2 0-16,17 18 0,-17-18 0,-1 0 16,0 0-16,-17 18 0,18-18 15,-1 0-15,0 0 0,-17 18 0,18-18 16,-2 0-16,2 17 0,-1-17 0,-18 0 16,19 0-16,0 17 0,-37-17 15,37 0-15,0 19 16,-19-19-16,18 0 0,1 17 0,-19-17 0,19 0 15,-71 18 1,53-1-16,16-17 0,-15 0 16,16 0-16,-18 19 0,19-19 0,-18 0 15,17 0-15,-17 17 0,18-17 0,-2 0 16,2 0-16,-1 0 0,-16 17 16,15-17-16,2 0 0,-1 18 15,1-18-15,-2 0 0,-15 0 16,16 17-16,0-17 15,0 0-15,18 19 0,-17-19 16,0 0-16,-1 17 0,0-17 16,0 17-16,1-17 0,0 0 15,-2 18-15,2-18 0,-1 0 16,1 18-16,-2-18 16,2 0-16,0 18 15,-1-18-15,-18 17 0,19-17 16,0 0-16,-1 17 0,0-17 15,0 0-15,1 0 0,0 18 0,-2-18 16,2 0-16,-1 18 0,1-18 16,-19 0-16,19 18 0,-1-18 15,1 0-15,-2 17 0,2-17 0,0 0 16,-1 17-16,1-17 16,-2 19-16,2-19 0,0 0 15,17 17-15,-18-17 0,0 0 16,0 18-16,1-18 31,0 17-15,-2 2 15,38 15-15,-19-16-1,17 18-15,-17-19 16,17 36-16,1-18 0,0 18 15,-18-18-15,18-18 16,-1 37-16,19-1 0,-19-36 16,1 1-16,-18 0 0,17 0 15,0-1-15,2 0 0,-2 1 16,1 0-16,-1 0 16,2-1-1,-2-17 1,-17 17-1,17-17 17,1 0-17,-1-17-15,2 17 16,-2 0-16,0-17 16,1 17-16,0-18 15,0 18-15,-1-18 0,19 18 0,-19 0 16,1-18-16,16 18 0,-15-17 15,33 17-15,19-17 16,-53 17-16,0-18 16,16 18-16</inkml:trace>
  <inkml:trace contextRef="#ctx0" brushRef="#br0" timeOffset="76294.56">3502 15324 0,'34'-17'0,"-16"17"0,0-19 0,0 19 16,16-17-16,-15 17 0,-2-18 15,1 18-15,-1 0 0,2-17 16,-2 17-16,0 0 0,1 0 15,-18-19-15</inkml:trace>
  <inkml:trace contextRef="#ctx0" brushRef="#br0" timeOffset="76595.03">3607 15059 0,'0'0'15,"17"-18"-15,2 18 0,-2 18 16,1-18-16,18 18 16,-19-18-16,0 18 0,18-18 15,-16 17-15,-2-17 0,0 17 0,-17 1 16,18-18-16,0 18 0,-18 0 0,18-18 15,-18 17-15,0 0 0,0 19 16,0-18-16,0-1 16,-18 2-16,18-2 0,-18 0 15,0 1-15</inkml:trace>
  <inkml:trace contextRef="#ctx0" brushRef="#br0" timeOffset="79276.8">6024 15217 0,'-18'-17'16,"54"53"-1,-2-19 1,-16 1-16,0-1 16,0-17-16,-1 19 0,-17-2 0,17-17 0,2 17 15,-19 1-15,0-1 16,17-17-16,-17 19 0,0-2 0,-17 0 15,17 1-15,-19 0 0,2 0 16,-18-1 0,17-17-1,0 0-15,1-17 16,17-1 0,17-18-1,-17 19-15,0 0 0,18-2 16,0 2-16,0-35 15,-18 33-15,0 2 16,0-1-16,0-18 16,-18 2-1,0 16-15,0 18 16,1-18-16,0 18 16,-1-18-16,0 36 15,0-18-15,18 18 16</inkml:trace>
  <inkml:trace contextRef="#ctx0" brushRef="#br0" timeOffset="80067.84">6130 15993 0,'17'-17'16,"0"17"-1,2 0-15,-2 0 16,-17-17-16,18 17 0,-1 0 16,0 0-16,2 17 15,16 0 1,-35 2-16,17-19 0,-17 17 0,19 1 16,-19-1-16,17 2 0,0-2 15,-17 0-15,18 1 0,0 35 16,-18-36-16,18 1 0,-18 0 0,17-18 15,-17 18-15,17 16 16,-17-15-16,0-2 0,18-17 16</inkml:trace>
  <inkml:trace contextRef="#ctx0" brushRef="#br0" timeOffset="80255.58">6218 16347 0,'0'0'16,"53"-35"-1,-36 16-15,1 19 16,18-17-16,16 0 0,-16-1 16,-2 0-16,-16 18 0,35-18 15</inkml:trace>
  <inkml:trace contextRef="#ctx0" brushRef="#br0" timeOffset="80766.85">6306 16771 0,'0'-19'0,"0"72"31,17 18-15,2-54-16,-19 37 15,17-37-15,-17 0 16,17 2-16,-17 16 0,18-18 16,-18 0-16,18 2 0,0-19 15</inkml:trace>
  <inkml:trace contextRef="#ctx0" brushRef="#br0" timeOffset="81140.2">6571 16823 0,'-19'-18'15,"19"53"1,0-16-16,0-2 16,19 0-16,-2 1 15,1-18 1,-1 0-16,19 0 31,-19 0-31,1 0 0,-1-18 0,2 18 16,-19-17-16,0 0 15,0-2-15,-19-16 16,2 18-16,17 0 16,-18 17-16,1-19 15,0 19-15,-2-17 0,2 17 16,-1 0-16,1 17 0,-2-17 16,2 0-16,17 19 0,-17-19 15,-1 17-15</inkml:trace>
  <inkml:trace contextRef="#ctx0" brushRef="#br0" timeOffset="82203.67">6183 15007 0,'17'-36'0,"1"36"16,-1-18-16,0 18 16,2 0-16,-19-17 0,17 17 15,1 0-15,-1 0 0,2 0 16,-2 0-16,0 17 15,1 1-15,0-1 0,17 54 16,-18-18 0,19-18-16,-18 18 0,-1 0 0,19-18 15,-19 18-15,37 53 0,-20-53 16,20 52-16,-20-51 0,37 51 16,34 72-1,-69-142-15,-1 18 0,-16 1 16,51 34-16,-35-54 15,36 54-15,-18-17 16,-18-35-16,18 16 0,-18-16 16,1-1-16,-19-17 15,0 17-15,1-35 16,0 53-16,0-53 16,-18 35-16,0-18 15,-18 2-15,18 16 16,-18-18-16,0 2 0,18-2 0,-34 18 15,-2-18-15,18 2 16,1-2-16,-36-17 16,18 0-16,-54-36 15</inkml:trace>
  <inkml:trace contextRef="#ctx0" brushRef="#br0" timeOffset="83007.22">5583 15007 0,'-36'34'31,"19"-16"-31,-1 0 0,-18 17 16,-33 18-1,33-1-15,19-33 0,-19 16 16,36-18-16,0 2 16,-18-2-16,18 0 0,0 1 0,18 18 15,0-2-15,-18 2 0,35 34 16,-18-17-16,54 123 16,0-52-1,-18 17-15,-1 1 16,19-1-16,-18-1 15,-36-69-15,19-1 16,-1 54-16,18-18 16,-35-53-16,18 52 0,-19-69 15,18 70-15,1-18 16,-2 18 0,-16-54-16,0-33 15,17 33-15,-18-35 16,2 2-1,33-38-15,-35 19 16,37-17-16,87-54 16,0 19-1,-35-1-15,-36 36 16,1-19-16,53-16 16,17-2-16,-71 18 0</inkml:trace>
  <inkml:trace contextRef="#ctx0" brushRef="#br0" timeOffset="86138.13">12815 13665 0,'0'-17'15,"0"52"17,17-17-17,-17 0-15,0-1 0,0 0 0,0 2 16,0-2-1,0 1 1,0-1 0,0 0-1,0 2 48</inkml:trace>
  <inkml:trace contextRef="#ctx0" brushRef="#br0" timeOffset="86956.68">12762 13683 0,'0'18'0,"0"0"16,17-1-1,-17 0-15,19-17 0,-19 19 0,17-2 16,0 18-16,1-18 0,-1 19 15,2-18-15,-2-1 0,0 2 16,1-2-16,-18 0 0,18 1 16,-18 0-16,0 0 0,0-1 0,0 0 15,-18 1-15,18 0 0,-18 0 16,1-1-16,0 0 16,-2-17-16,2 0 0,-1 0 15,1 0-15,17-17 16,-17 17-1,17-17-15,0-1 0,0 0 16,17 0-16,-17 1 0,17-18 16,1 17-16,-18 0 0,17 1 15,-17 0-15,19-2 0,-2 2 0,-17-1 16,17-18-16,-17 19 0,0 0 0,18-1 16,-18 1-16,0-2 0,0 2 15,0 0-15,-18-1 0,18 0 16,-17 0-16,17 1 0,-17 17 15,17-17-15,-19 17 0,2 0 16,-1 0 0,1 17-16</inkml:trace>
  <inkml:trace contextRef="#ctx0" brushRef="#br0" timeOffset="87635.86">12762 14653 0,'36'0'31,"-19"0"-15,0 0-16,1 0 0,-1 0 15,19 0 1,-36 18-1,17-1-15,-17 2 16,18-2-16,-18 0 0,0 1 16,18-18-16,-18 18 15,0 0-15,18-1 0,-18 0 16,17 2-16,-17-2 16,17 1-1</inkml:trace>
  <inkml:trace contextRef="#ctx0" brushRef="#br0" timeOffset="87871.94">12886 14900 0,'70'-17'0,"-35"-1"16,-18 1-16,1 17 0,0 0 16,0-19-16,-1 19 0,19 0 0</inkml:trace>
  <inkml:trace contextRef="#ctx0" brushRef="#br0" timeOffset="88419.74">12920 15376 0,'0'0'16,"-17"36"0,17-19-16,0 1 0,17 0 15,-17 0-15,0-1 0,18 18 16,-18-17-16,18 0 0,0-1 15,-1 0-15,0 2 0,1-19 16,18 17-16,-19 1 16,0-18-16,2-18 31,-38 1-15,2-2-16,0 19 15,-1 0-15,0 0 16,0 0-16,18 19 15,-17-19-15</inkml:trace>
  <inkml:trace contextRef="#ctx0" brushRef="#br0" timeOffset="88845.99">13044 16205 0,'18'18'15,"-18"0"-15,0 0 16,17-1-16,-17 0 0,0 2 15,17-2-15,-17 1 0,0-1 16,19 0-16,-19 2 0,0-2 0,0 1 16,17-1-16,-17 2 0,0-2 15,18-17-15</inkml:trace>
  <inkml:trace contextRef="#ctx0" brushRef="#br0" timeOffset="89140.91">13255 16312 0,'19'35'31,"15"-18"-15,-16 0-1,0-17-15,0 0 0,16 0 16,2-17-1,-36 0-15,18 17 16,-1-18-16,-17 1 0,0-2 0,-17 2 16,-1 0-1,1 17-15,-2-18 0,2 18 16,0 0-16,-19 0 0,18 18 16,1-18-16,-19 0 0,19 17 0,-1-17 15,-16 17-15,15-17 0,2 0 16</inkml:trace>
  <inkml:trace contextRef="#ctx0" brushRef="#br0" timeOffset="100859.02">13044 8673 0,'35'0'234,"36"0"-203,-35 0-31,-2 0 0,1 0 16,36 0-16,-1 0 0,1-17 0,0 17 16,-1 0-16,89 0 0,0 17 15,-89-17-15,18 0 16,-17 0-16,53 0 16,-72 0-16,-16 0 0,17 0 0,-18 19 15,1-19-15,-1 0 0,18 0 16,-36 0-16,18 0 0,-16 0 15,-2 0-15,0 0 16,1 0-16,-1 0 16,2 0-1,-19 17-15,17-17 16</inkml:trace>
  <inkml:trace contextRef="#ctx0" brushRef="#br0" timeOffset="102704.64">3607 9449 0,'0'19'0,"17"-19"0,2 0 16,-2 0-16,1 0 0,-1 0 15,2 0-15,50-19 0,2 19 16,-1 0-16,-16-17 16,-1 17-16,18-17 0,-19 17 0,1-18 15,18 18-15,34-18 16,-69 0-16,16 18 0,1 0 15,-35-17-15,-1 17 16,2 0-16,-2 0 16</inkml:trace>
  <inkml:trace contextRef="#ctx0" brushRef="#br0" timeOffset="105521.09">13608 9309 0,'18'0'46,"0"0"-14,0 0-32,16 0 15,2 0-15,-1 0 0,36 0 16,-18 0-16,-18 0 16,89 18-16,-72-18 0,1 0 15,0 0-15,18 0 0,-19 0 0,1 0 16,35 0-16,-34 0 15,-20 0-15,2 0 0,18 0 16,15 0 0,-50 0-16,15 0 0,-16 0 15,0 0 1,-18 17-16</inkml:trace>
  <inkml:trace contextRef="#ctx0" brushRef="#br0" timeOffset="108460.86">2690 10049 0,'0'18'47,"17"-18"-16,2 0-31,-2 0 16,0 0-16,1 0 0,0 0 15,17 0-15,-18 18 0,19-18 16,16 0-16,-16 0 0,35-18 0,0 18 16,-1 0-16,1 0 0,17 0 15,0-18-15,-17 18 0,-1-17 0,18 17 16,-17 0-16,0-17 0,-1 17 16,53-18-16,-87 18 0,16-18 0,-16 18 15,-19 0-15,18 0 16,-16 0-16,-2 0 0,0-18 0,1 18 15,0 0-15,0 0 0,-1 0 16,0 0-16,2 0 16,-2 0-1,1-17 95</inkml:trace>
  <inkml:trace contextRef="#ctx0" brushRef="#br0" timeOffset="109894.82">8352 12572 0,'18'17'47,"-1"1"-31,-17 0-16,0 0 0,0-1 15,0 0-15,17 2 0,-17-2 0,0 1 16,0-1-16,0 0 0,0 2 16,19-2-16,-19 1 15,0-1-15,0 2 0</inkml:trace>
  <inkml:trace contextRef="#ctx0" brushRef="#br0" timeOffset="110683.14">8652 12660 0,'-18'-17'16,"18"70"31,18-53-32,-18 35 1,0-18-16,18 0 16,-1-17-1,-17 19-15,17-19 16,2-19 15,-2 19-31,-17-17 16,18 17-16,-18-17 15,17-1 1,2 36 15,-2-1-15,0 0-1,1-34 17,-1 17-17,-17-17-15,0-1 16,0 1-16,0-2 0,-17 19 16,17-17-16,0 0 0,0-1 15,0 0 1,17 18 15</inkml:trace>
  <inkml:trace contextRef="#ctx0" brushRef="#br0" timeOffset="111146.89">9075 12731 0,'17'-54'31,"-17"37"-31,0 0 16,0-1-16,0 0 15,-17 18 1,0 18 15,17 0-15,0-1-16,0 19 15,0-19 1,17 1 0,0-18-16,2 17 15,-2-17-15,1 0 16</inkml:trace>
  <inkml:trace contextRef="#ctx0" brushRef="#br0" timeOffset="111511.43">9340 12731 0,'-18'-18'16,"18"1"0,0-2-1,-18 2 1,18 0 0,-17 17-1,0 0 1,17 17-1,-19 0 1,19 2-16,19 16 16,-19-18-16,17 0 15,0 2-15,1-19 16,0 0 0,17 0-16,-18 0 0,2 0 15,-2 0-15</inkml:trace>
  <inkml:trace contextRef="#ctx0" brushRef="#br0" timeOffset="111756.77">9534 12555 0,'-18'-18'0,"36"36"0,-18-1 47,0 18-31,0-17-16,0 0 15,0-1-15,0 0 0,0 37 16,-18-37-16,18 0 0,18 2 16,-18-2-1</inkml:trace>
  <inkml:trace contextRef="#ctx0" brushRef="#br0" timeOffset="112014.69">9780 12589 0,'-34'0'0,"16"18"0,0-18 15,-17 18-15,18-18 16,-2 18-16,2-1 0,-1-17 15,18 17-15,-17-17 0,17 19 16,0-2 0,52 1-1,-33-18 1,-2 0-16,0 0 0,37 0 31,-37 0-15</inkml:trace>
  <inkml:trace contextRef="#ctx0" brushRef="#br0" timeOffset="112371.53">9004 13155 0,'36'-19'16,"-18"19"-16,-1-17 0,19 17 0,-19-18 15,18 18-15,1-17 0,16-2 16,-16 2-16,17 17 0,-1-17 0,36-1 15,-52 0-15,18 0 16,-20 18-16,1-17 0,1 17 0,-1-17 16,1 17-16,-19 0 0,-17-18 15,36 18-15,-19 0 16</inkml:trace>
  <inkml:trace contextRef="#ctx0" brushRef="#br0" timeOffset="112670.82">8987 13295 0,'105'-35'16,"-86"35"-16,16-17 15,35-2-15,-16 19 0,-20-17 16,20-1-16,-1 1 0,-18 0 16,53-2-16,-52 2 15,-2 17-15,-16-18 0,-1 18 0,19-17 16,-19 17-16,19-19 0,-18 19 16,-1 0-16,0-17 15,2 17 1</inkml:trace>
  <inkml:trace contextRef="#ctx0" brushRef="#br0" timeOffset="115995.79">13767 9997 0,'36'0'78,"-19"0"-78,18 0 0,-16 0 16,103-18-1,-86 18-15,-1 0 0,53-18 16,-52 18-16,16 0 15,72 0-15,69-17 16,-122 0-16,0 17 0,-1 0 16,1 0-16,0 0 0,17-19 15,0 19-15,18 0 0,0 0 0,-36 0 16,18 0-16,19 0 0,-38 0 16,21 0-16,-21 0 0,72-17 15,-53 17-15,-34 0 0,16 0 0,-16 0 16,-2 0-16,-16 0 0,-2 0 15,2-18-15,-1 18 0,1 0 16,-19 0-16,1 0 0,-1 0 0,2 0 0,-2 0 16,0 0-16,1 0 0,0-17 15,0 17 1,-1 0-16,0 0 16,1 0-1,0-19 16</inkml:trace>
  <inkml:trace contextRef="#ctx0" brushRef="#br0" timeOffset="119294.98">3378 16029 0,'0'18'109,"0"-1"-109,17 19 16,2-1 0,-19-18-16,17 2 15,-17-2 1,0 0-16,17 1 0,-17 18 31,18-19-31,-18 0 31,18 2 1</inkml:trace>
  <inkml:trace contextRef="#ctx0" brushRef="#br0" timeOffset="121255.67">3324 15993 0,'0'-17'0,"19"53"62,-2 16-46,-17 1 0,18-35-1,-1 18-15,-17-19 16,19 0-16,-19 1 0,17 0 0,-17 0 16,17-1-16,19 19 15,-18-19-15,-1-17 16,0 18-16,1-18 15,0 17-15,0-17 16,-1 0-16,0 0 16,2-17-16,-2 17 15,1-18 1,-18 1-16,0-2 16,0 2-1,0 0-15,0-19 16,-18 18-1,18 1 1,-17 17-16,-2-17 16,2 17-1,0 0-15,-1 0 16,0 0 0,0 0-1</inkml:trace>
  <inkml:trace contextRef="#ctx0" brushRef="#br0" timeOffset="121639.89">3678 16047 0,'0'36'31,"0"-19"-15,17 18-16,-17-18 15,36 19 1,-19-36-16,18 17 16,-16-17-1,-2 0 1,0-17-16,1 17 0,-18-17 15,0-2 1,0 2-16,0-1 0,0 1 16,-18 0-16,18-2 0,-17 2 15,0-1 1,17 1-16,-19 17 0,2-19 16,-1 38-1</inkml:trace>
  <inkml:trace contextRef="#ctx0" brushRef="#br0" timeOffset="122317.11">3907 16559 0,'35'-18'0,"-17"0"15,-36 36 17,0 0-17,18-1-15,-17-17 16,17 17 0,0 1-1,17-18-15,1 18 16,0-18-16,0 18 15,16-18 1,-15 0-16,-2 0 0,1 0 16,-1 0-1,2 17-15,-19 0 32,-19 2-17,2-2 1,-1 1-16,18-1 15,-17-17 1,17 19-16</inkml:trace>
  <inkml:trace contextRef="#ctx0" brushRef="#br0" timeOffset="122618.94">4136 16488 0,'18'0'16,"-1"17"0,2 1-1,-2-18 1,0 0-16,1 18 0,0-18 16,17-18-16,-18 18 15,-17-18 1,0 1-1,0 0-15,-17-2 16,0 2-16,-1 17 16,0-18-1,0 18-15,1 0 0,0 18 32,17-1-32</inkml:trace>
  <inkml:trace contextRef="#ctx0" brushRef="#br0" timeOffset="123131.26">4312 17317 0,'-17'35'15,"0"-35"-15,17 17 0,0 2 0,-18-2 16,18 1-16,0-1 16,-18 0-1,18 2-15,0-2 16,18 1-1,0-36 1,35 1 0,-36 17-1,1-19-15,-1 19 0,0-17 0,19 17 0,-36-17 16,18 17-16,18-35 16,-19 35-16</inkml:trace>
  <inkml:trace contextRef="#ctx0" brushRef="#br0" timeOffset="123355.33">4436 17281 0,'0'18'47,"0"18"-32,0-19-15,0 0 16,18 19 0,-18-18-16,17-1 0,-17 0 15,19-17-15,-2 19 16</inkml:trace>
  <inkml:trace contextRef="#ctx0" brushRef="#br0" timeOffset="123631.29">4630 17317 0,'0'-36'16,"0"72"31,0-18-31,18-18-16,-18 17 15,18-17-15,-1-17 16,-17-1-1,0 0 1,0-17 0,-17 18-16,17-2 15,-18 2 1</inkml:trace>
  <inkml:trace contextRef="#ctx0" brushRef="#br0" timeOffset="123931.43">4878 17581 0,'0'-17'16,"17"52"15</inkml:trace>
  <inkml:trace contextRef="#ctx0" brushRef="#br0" timeOffset="124050.1">4983 17723 0,'0'17'16</inkml:trace>
  <inkml:trace contextRef="#ctx0" brushRef="#br0" timeOffset="128433.85">14650 11655 0,'52'-18'15,"-16"18"-15,-2-17 0,-16 17 0,18 0 16,-19 0-16,19 0 16,-1 0-16,-1 0 0,-15 0 0,16 0 0,1-19 15,-19 19-15,18 0 0,-17 0 0,17 0 16,-18 0 0,1 0-16,-18-17 0,36 17 15,-19 0-15,0 0 16,2-17-1,-2 17 1</inkml:trace>
  <inkml:trace contextRef="#ctx0" brushRef="#br0" timeOffset="129544.47">16095 11655 0,'36'17'16,"-19"-17"-16,1 0 15,18 0-15,-19 0 16,36 0 0,-35 0-16,-1 0 0,19 0 0,-19 0 15,18 0-15,53-17 0,-52 17 16,35 0-16,-19-18 0,18 18 15,108 0 1,-108-17-16,-18 17 0,143 0 16,-124 0-16,-19 0 15,18 0-15,108-19 16,-126 19-16,1 0 0,-18 0 0,159-17 16,-140 17-1,139 0-15,-140-17 16,1 17-16,-2 0 0,-16 0 0,52 0 15,-54 0 1,20-18-16,-20 18 0,2 0 0,18 0 0,-20 0 16,90-18-1,-89 18-15,53-18 16,-69 18-16,15 0 16,1 0-16,-16 0 0,15-17 0,-16 17 15,18 0-15,-2 0 0,-16 0 16,18 0-16,-19 0 0,19 0 0,-19-17 15,18 17-15,-16 0 0,15 0 0,-16 0 16,18 0-16,-19 0 0,0 0 16,1 0-16,18 0 0,17 0 15,-36 0-15,1 0 16,-1 0-16,19 0 16,-19 0-1,-53-18 16,19 18-15</inkml:trace>
  <inkml:trace contextRef="#ctx0" brushRef="#br0" timeOffset="130880.52">291 12272 0,'0'-17'0,"17"17"16,19 0-1,-18 0-15,-1 17 0,0-17 16,19 0 0,-18 0-16,18 0 0,-19 0 0,18 0 15,-18 0-15,107 0 16,-88 0-16,104 0 16,-87-17-16,18 17 0,-18 0 15,18 0-15,-2-18 0,161 0 16,-141 18-16,-1-18 15,159 1-15,-177 17 16,18-17-16,-17 17 0,17 0 0,71-19 16,-71 19-16,0-17 15,1 17-15,-1 0 0,-17 0 0,193-18 16,-176 1-16,53 17 16,-53 0-16,-17-17 15,-1 17-15,1 0 0,141 0 16,-141 0-16,-19 0 0,36 0 15,-35 0 1,-17 0-16,16 0 0,-16 0 0,16 0 0,1 0 16,71-19-1,-72 19-15,-16 0 0,35 0 16,-54 0-16,71 0 16,-70 0-16,0 0 0,0 0 15,-1 0-15,0 0 16,19 0-16,-18 0 15,-1 0 1,0-17-16,2 17 0,-2 0 16,1 0 15</inkml:trace>
  <inkml:trace contextRef="#ctx0" brushRef="#br0" timeOffset="138513.9">22675 14319 0,'-17'0'15,"17"-19"-15,-19 19 32,2 19-32,-1-2 15,-18 36 1,19-1 0,17 2-16,17-1 15,-17-36-15,0 1 16,19 18-16,16-2 15,-18-16-15,2-1 0,15-17 16,-16 19-16,0-19 0,52-19 16,-17 19-1,-17-17 1,-19-1-16,1 1 0,-1 0 0,2-37 16,-38 18-1,19 19 1,-35-36-16,18 35 15,-2 1-15,2 0 0,-36-1 16,35 0-16,-34 18 16,34 0-16,0 0 15,1 0-15,0 0 0,-19 18 16,18-18-16,1 18 16</inkml:trace>
  <inkml:trace contextRef="#ctx0" brushRef="#br0" timeOffset="139083.69">23486 14265 0,'-52'-17'0,"16"17"15,18 0-15,1 0 16,0 0-16,17 17 0,-19-17 0,-16 18 16,18-18-1,-2 17-15,19 2 0,0-2 16,19 0-1,-19 1-15,17-18 0,-17 18 0,35 0 16,-16-1-16,-2-17 0,0 17 16,1-17-16,35 36 15,-36-36-15,-17 18 16,18-18-16,-36 17 16,18 0-16,-34 2 15,15-19-15,-16 17 0,18-17 16,-36 18-1,35-18-15,1 17 0,-2-17 0,2 0 16,0 0-16,-1 0 16,0 0-16,18 19 15</inkml:trace>
  <inkml:trace contextRef="#ctx0" brushRef="#br0" timeOffset="153798.41">23010 14865 0,'36'0'31,"16"-17"-31,-34 17 16,17 0-16,36-19 16,-37 19-16,-15 0 0,16 0 15,35-17 1,-52 17-16,18 0 0,-19 0 15</inkml:trace>
  <inkml:trace contextRef="#ctx0" brushRef="#br0" timeOffset="154062.45">22992 15024 0,'54'0'0,"-37"0"0,54-17 15,-54 17-15,18-19 16,-17 19-16,17 0 0,-18-17 0,2 17 16,-2 0-16,1 0 0,-1-18 0,2 18 15,-2 0 1,0 0-16,1 0 15,-1 0 1</inkml:trace>
  <inkml:trace contextRef="#ctx0" brushRef="#br0" timeOffset="157546.75">26008 14231 0,'-17'0'15,"52"0"1,18 0 0,-36 0-16,2 0 0,50-19 15,-50 19 1,16 0-16,-18 0 0,54 0 16,-35-17-16,-19 17 15,0 0 1,1 0-16,0 0 0,0-18 31</inkml:trace>
  <inkml:trace contextRef="#ctx0" brushRef="#br0" timeOffset="157889.96">26255 14071 0,'71'18'16,"-53"-18"-16,0 0 15,-1 18-15,54-1 16,-54-17-16,36 36 16,-35-36-1,-18 17-15,17 1 16,-34-1-16,-1 19 16,1-19-1,-2-17-15,2 18 0,0-18 16</inkml:trace>
  <inkml:trace contextRef="#ctx0" brushRef="#br0" timeOffset="159403.49">7030 12731 0,'17'-35'0,"-17"16"0,17 2 16,1 0-16,18-19 31,-36 18-31,17 1 0,36-36 16,-1 18-1,-33 18-15,16-19 0,-1 18 0,2-18 16,88-33-16,-72 50 16,19-15-16,53-20 15,-53 20-15,-1 15 0,0-16 16,19 18-16,-18 0 0,17-19 0,88 1 15,-88 16-15,0 2 16,89 0-16,-89-1 0,0 18 16,0-17-16,212 17 15,-195-19-15,107 19 16,-17 0-16,-90 0 0,1 0 16,0 0-16,0 19 0,-1-19 0,2 0 15,-19 17-15,105 1 16,-86-18-16,-19 17 0,0 0 0,0 2 15,-18-19-15,1 17 0,0 1 0,-18-1 16,52 19-16,-51-19 16,-20-17-16,2 18 0,-18-1 0,16-17 15,2 19 1,-18-2-16,-1-17 16,-17 17-16,19-17 15</inkml:trace>
  <inkml:trace contextRef="#ctx0" brushRef="#br0" timeOffset="159899.35">11474 11901 0,'36'19'16,"-36"-2"-16,17-17 15,0 18-15,1-18 0,18 17 0,-19 0 0,0 2 16,19-2-16,-18-17 0,-1 18 0,19 18 15,-1-2 1,-18-16-16,-17-1 0,19-17 0,-19 19 16,17 15-16,-17-16 15,-17 18 1,17-19-16,-19 0 0,2 2 0,-18-2 16,-89 54-1,71-54-15,1 1 0,-2-1 16,-16 2-16,16-2 0</inkml:trace>
  <inkml:trace contextRef="#ctx0" brushRef="#br0" timeOffset="160709.53">6888 12625 0,'18'-18'16,"-18"54"-1,-18-2 1,18-15-16,0-2 16,0 54-16,0-54 15,0 18 1,0-16-16,0-2 0,18 0 0,-1-17 0,0 18 15,2-18-15,16 0 0,89-18 16,-54 1-16,1 0 16,158-73-1,-159 56-15,0-1 0</inkml:trace>
  <inkml:trace contextRef="#ctx0" brushRef="#br0" timeOffset="175622.34">17436 15147 0,'52'-18'0,"-33"18"0,-2 0 16,1 0-16,-1 0 15,2 36-15,-19-18 16,0-1-16,-19 54 16,19-54-1,-17-17-15,17 19 0,-18-2 0,18 0 0,-17 1 16,17-1-1,0 2 1,35-19 0,-18 0-16,19 0 15,-19 0-15,1-19 0,0 19 0,0 0 0,16-17 16,20-1 0,-37 18-16,0-17 0</inkml:trace>
  <inkml:trace contextRef="#ctx0" brushRef="#br0" timeOffset="175956.39">17912 15007 0,'0'52'31,"0"-34"-31,0 0 0,0 34 16,0-34-16,0 34 16,0-33-16,0-2 0,0 1 15,0-1-15,35-34 63,-16-1-48,-19 1 1,17 17 0</inkml:trace>
  <inkml:trace contextRef="#ctx0" brushRef="#br0" timeOffset="176534.77">18124 15112 0,'0'-17'0,"18"34"32,-1 0-32,-17 1 15,17-18 1,-17 18-16,19 0 15,-2-36 17,-17-18-17,0 19-15,18 17 0,-18-17 16,0-1 0,17 0-16,-17 0 15,19 1-15,-2 17 16</inkml:trace>
  <inkml:trace contextRef="#ctx0" brushRef="#br0" timeOffset="176774.27">18459 15024 0,'17'-17'15,"-34"34"-15,34-53 0,-34 72 47,17-19-31,0 1-16,17 0 16,2-18-1,16 18-15,-18-18 16</inkml:trace>
  <inkml:trace contextRef="#ctx0" brushRef="#br0" timeOffset="177366.08">17966 15553 0,'88'-18'0,"-54"0"0,-16 18 15,18-17-15,122-18 16,-52-1-16,-70 2 0,17 15 15,35-16 1,-53 18-16,-18 0 0,19-19 0,-1 18 16,-17 1-16,34-54 15,-52 35-15,0 19 0,18-18 16,-18-35-16,-18 34 16,18 1-16,-17-18 0,0 18 15,-19-1-15,18 1 0,-16-1 0,-2 2 16,-158-73-1,88 55-15,-17 33 16,-125-15 0,160 34-16,17 0 0,-210 34 15,193-15-15,17 16 16,-87 18-16,87-1 16,18-16-16,-1 17 0,2-18 0,16 18 15,2-1-15,-37 90 16,71-89-16,17 71 15,1-72-15,35 19 16,-18-35-16,18-2 0,-17-16 0,16 0 16,72 17-1,-53-18-15,17-17 0,-18 0 0,1 0 0,88 0 16,-89 0-16,18 0 16,-17 0-16</inkml:trace>
  <inkml:trace contextRef="#ctx0" brushRef="#br0" timeOffset="177947.86">18335 15695 0,'-17'-19'0,"17"72"31,17 1-15,-17-37-16,19 0 0,-2 54 15,-17-54 1,17 19-16,-17-18 0,18-1 15,-18 0-15,0 2 0,18 16 16,-18-18 0,0 2-16</inkml:trace>
  <inkml:trace contextRef="#ctx0" brushRef="#br0" timeOffset="178283.79">18300 15993 0,'-17'0'0,"17"19"32,17 33-17,-17-33-15,18-2 0,-18 0 0,36 1 16,-19-1-16,18 19 15,-17-36-15,0 17 16,-1-17-16,0 0 0,37-17 16,-37 17-16,19-36 15,-19 19-15,-17-1 16,18 1-16,-1 0 16,-17-2-16,19 19 0,-19-17 0,17-1 0,-17 1 15,17-2-15,1 2 16,-18 0-1</inkml:trace>
  <inkml:trace contextRef="#ctx0" brushRef="#br0" timeOffset="181698.57">19059 15253 0,'-17'-17'16,"51"52"-1,-16-18-15,0 2 16,0-19-16,-18 17 0,17 0 0,0 1 16,1-18-16,-18 17 0,18 2 15,17 15 1,-18-16-16,2-18 0,-19 18 0,17 0 15,1-1 1</inkml:trace>
  <inkml:trace contextRef="#ctx0" brushRef="#br0" timeOffset="182200.45">19288 15324 0,'18'35'31,"-1"-35"-15,-17 17-16,19 2 16,-2-2-16,-17 0 0,17 1 15,1-18-15,-18 18 0,17 0 16,2-1-16,-2 0 0,-17 1 15,17-18-15,-17 18 0,18 0 16,-18-1-16,18-17 0,-18 17 16,0 2-1,-18-2 1,0-17-16,-16 0 16,-2 18-1,18-18-15,1 0 0,0 0 16,-2 0-16,2 17 0,-1-17 15,1 0-15,-2 0 16,2 0-16,0 0 16</inkml:trace>
  <inkml:trace contextRef="#ctx0" brushRef="#br0" timeOffset="188986.38">4983 13031 0,'35'-36'0,"-17"36"0,0-18 15,16 1-15,2 17 0,-1-17 16,1-1-16,-1 0 0,-18 0 0,19 1 16,-1 17-16,1-17 0,-2-2 15,-15 2-15,-2 17 0,18 0 0,-18-18 0,2 18 16,-2 0-16</inkml:trace>
  <inkml:trace contextRef="#ctx0" brushRef="#br0" timeOffset="189180.36">5159 13119 0,'53'-18'32,"-35"18"-32,-1-17 0,19 17 15,-19 0-15,1-19 0,35 2 16,-17 17-16,-19-17 0,35-1 15,-33 18-15,16 0 16,-18-18-16,2 18 0</inkml:trace>
  <inkml:trace contextRef="#ctx0" brushRef="#br0" timeOffset="190152.67">13308 12255 0,'36'-18'16,"-18"18"-16,-1-18 16,19 18-16,-19 0 0,1-18 0,16 18 0,2-17 15,-18 17-15,52-17 16,-52 17-16,18 0 0,-19 0 0,0-19 16,1 19-16,0 0 0,17 0 15,-18 19 1</inkml:trace>
  <inkml:trace contextRef="#ctx0" brushRef="#br0" timeOffset="190415.16">13555 12431 0,'36'-18'0,"-19"18"0,19-17 16,52-2 0,-53 2-16,18 0 15,-18 17-15,36-18 0,-54 18 16,19 0-16,-19-17 15,1 17-15,35 0 0</inkml:trace>
  <inkml:trace contextRef="#ctx0" brushRef="#br0" timeOffset="194700.35">4207 15959 0,'141'-54'0,"-123"54"15,-1-17-15,0 17 0,2 0 16,-2 0-16,1-17 16,-1 17-16</inkml:trace>
  <inkml:trace contextRef="#ctx0" brushRef="#br0" timeOffset="195015.45">4260 15783 0,'35'-19'15,"1"19"1,-19 0-16,1 0 0,-1 0 0,19 0 16,-19 19-16,1-19 0,-1 0 0,2 0 15,15 17-15,-16-17 16,-18 17-16,17-17 0,-17 18 0,19 0 16,-19 0-16,17-1 0,-17 0 15,0 19-15</inkml:trace>
  <inkml:trace contextRef="#ctx0" brushRef="#br0" timeOffset="195365.61">4683 16312 0,'36'-19'32,"-19"19"-32,-17-17 0,35 17 15,-35-17-15,17 17 0,2 0 16,-2-18 0</inkml:trace>
  <inkml:trace contextRef="#ctx0" brushRef="#br0" timeOffset="195611.4">4788 16083 0,'19'-19'16,"-2"38"-1,1-2-15,-1 18 16,2-18 0,-19 2-16,0 33 15,17-34 1,-17 0-16,0-1 0</inkml:trace>
  <inkml:trace contextRef="#ctx0" brushRef="#br0" timeOffset="195996.82">5230 17052 0,'17'-17'0,"2"17"0,-2-18 15,0 18 1,1-17-16,0 17 0,0 0 0,-18-19 16,17 19-16,0 0 0,-17-17 0</inkml:trace>
  <inkml:trace contextRef="#ctx0" brushRef="#br0" timeOffset="196231.7">5388 16823 0,'36'0'16,"-36"17"-16,18-17 0,-18 19 15,17-2-15,-17 0 0,0 1 16,17 0-16,-17 0 0,0-1 16,0 0-16,0 2 0,0-2 15,0 1-15,0-1 16,-17-17-16</inkml:trace>
  <inkml:trace contextRef="#ctx0" brushRef="#br0" timeOffset="197427.97">6552 15147 0,'54'-35'16,"-37"35"-16,2 0 16,-2-17-16,0 17 0,1-18 15,-1 18-15,2 0 0,-2-18 16,0 18-16,1-18 0,0 18 15,-18-17 1</inkml:trace>
  <inkml:trace contextRef="#ctx0" brushRef="#br0" timeOffset="197661.9">6764 14936 0,'18'-19'0,"0"19"16,0 19-1,-1-19-15,0 17 0,2-17 16,-19 18-16,17-18 16,-17 17-16,18-17 0,-18 19 0,0-2 0,17 0 15,-17 1-15,0 0 16,0 0-16,0-1 0,0 0 0,0 1 15</inkml:trace>
  <inkml:trace contextRef="#ctx0" brushRef="#br0" timeOffset="198016.24">6888 15835 0,'71'-52'0,"-36"33"16,-18 19-16,2 0 16,-19-17-16,17 17 0,0-18 0,1 18 15,0-17-15</inkml:trace>
  <inkml:trace contextRef="#ctx0" brushRef="#br0" timeOffset="198250.8">7082 15605 0,'0'-17'16,"18"0"-16,0 17 15,-1 0 1,0 17 0,1 0-1,-18 2-15,18-19 0,-18 17 16,0 1-16,0-1 16,0 2-16,0-2 15</inkml:trace>
  <inkml:trace contextRef="#ctx0" brushRef="#br0" timeOffset="198631.1">7311 16452 0,'17'-17'31,"19"-1"-31,-18 1 16,-1-2-16,2 2 16,-2 17-16</inkml:trace>
  <inkml:trace contextRef="#ctx0" brushRef="#br0" timeOffset="198867.78">7418 16205 0,'17'-17'15,"0"17"-15,1 17 16,0-17-16,-18 18 16,18-18-16,-18 18 0,17 0 0,-17-1 15,0 0 1,0 2-16,0-2 0,-17 1 16,17-1-16,0 0 0</inkml:trace>
  <inkml:trace contextRef="#ctx0" brushRef="#br0" timeOffset="203776.88">6306 15659 0,'17'-18'0,"2"18"0,-2-17 16,0 17-16,-17-19 0,18 2 15,0 0 1,-18-1-16,18 18 0,-18-18 15,0 0-15,0 1 16,0 0 0,0-1-16,0 0 0,0 0 0,0 1 15,0 0-15,0-2 16,0 2-16,0-1 0,-18 18 16,18-17-16,0 0 0,0-2 0,-18 2 15,18-1-15,-18 1 16,18-2-16,-17 2 15,0-18-15,-2 35 16,19-18-16,-17 18 0,-1-18 0,1 1 16,-2 0-16,2 17 0,0-18 15,-18 18-15,16-18 0,2 18 16,-18 0-16,17-18 0,0 18 0,-16 0 16,16 0-16,0-17 0,0 17 15,1 0-15,0 0 0,-2 0 0,2 0 0,-1 0 16,1 0-1,-2 0-15,2 0 0,0 0 16,-1 17-16,1-17 16,17 18-1,-36-18-15,36 18 0,-17 0 0,-1-18 16,0 17-16,18 0 0,-18-17 16,1 36-16,0-18 15,-2-1-15,19 0 0,0 2 16,-17 16-16,17-18 15,0 2-15,0-2 0,0 0 16,0 1-16,17-1 0,-17 2 0,0-2 16,36 18-16,-36 1 0,17-36 15,1 17-15,0 0 0,-18 1 0,18 0 16,-1-18-16,0 18 0,19-1 16,-18-17-16,-1 0 0,19 17 15,-19-17-15,1 0 0,-1 0 16,2-17-16,-2 17 0</inkml:trace>
  <inkml:trace contextRef="#ctx0" brushRef="#br0" timeOffset="209780.08">7135 14353 0,'53'0'47,"18"-34"-31,-54 15-1,1 19-15,-1 0 16,0-17-16,2 17 15,-2 0-15,1 0 16,-1 0-16,19 36 16,-19-19-1,1 0-15,0 1 0,34 35 16,-16-18-16,-1 1 0,53 69 16,-52-52-16,69 71 15,1-1-15,-53-52 0,0-18 16,53 88-16,-53-70 15,0-19-15,18 19 0,-36-1 0,53 36 16,-52-36-16,-2-16 16,2-1-16,-1-1 0,-18-16 0,19 17 15,-1 35-15,18 0 16,-35-53-16,-1-16 0,2 15 16,-2-16-16,-17 18 0,35 16 15,-35-34-15,17 0 16,-17-1-16,19-17 15,-19 17-15,0 2 0,0-2 16,-19-17-16,19 18 16,-17-1-16,-1-17 0,-16 17 15,-20 19-15,-34 18 16,35-20-16,18-16 0,-54 18 16,72-19-16,-18 0 15,16 1-15,2 0 0,0-18 16</inkml:trace>
  <inkml:trace contextRef="#ctx0" brushRef="#br0" timeOffset="210735.19">13926 13348 0,'70'-17'0,"-52"17"16,18 0-16,-19 0 0,18 0 0,1 0 15,17 0-15,-36 0 0,37 0 16,-37 0-16,18 0 15,-18 17-15,2-17 0,33 36 16,-34-1-16,-18-18 16,35 54-16,-18-18 0,-17-18 15,19 18-15,16 71 16,-1-1-16,-15-53 0,-2 1 0,1-18 16,-1 18-16,2-19 15,33 143-15,-35-143 16,2 1-16,-2 18 0,18 17 15,-17-18-15,17-16 0,1 34 16,-1-35-16,-18-1 0,0-16 16,37 52-16,-37-35 15,2-18-15,-2 18 0,-17-35 0,17 18 16,1 16-16,-18-35 16,0 2-16,0-2 0,18 0 0,-18 1 15,-18 0-15,18 0 16,0-1-16,-18 0 0,1 1 15,-19 0-15,19-18 16,-1 18-16,1-18 0,-19 17 16,1 0-16,-1 2 0,-34-2 15,18 1-15,-36 18 0,52-19 16,1 0-16,-1-17 0,-16 18 16</inkml:trace>
  <inkml:trace contextRef="#ctx0" brushRef="#br0" timeOffset="212108.52">9146 17335 0,'0'70'0,"0"-35"15,0 1-15,0-19 0,17 18 16,-17 1-16,0-1 0,19 1 0,-19-19 15,17 18-15,-17 1 0,17-19 16,1 19-16,-1-19 0,19 18 16,17 1-16,-18-19 0,-18-17 15,19 18-15,16-18 0,55 17 16,-55-17-16,19 0 0,-1 0 16,1-17-16,36 17 0,-2-18 15,107-18-15,-107 19 0,19 0 16,35-1-16,-18-18 0,18 19 0,158-36 15,-175 18 1,16 18-16,18-19 0,142-16 16,-53 16-16,-142 18 0,159-18 15,-159 19-15,-16 0 16,-2-1-16,107-18 16,-124 36-16,0-17 0,-17 17 0,-1-17 0,1 17 15,-18-18-15,-1 18 0,-16 0 16,-18-18-16,18 18 0,-19 0 0,0 0 15,18-18-15,-16 18 16,-2-17-16,0 0 0,1 17 16,-18-19-16,18 19 0,-18-17 15,18-1-15,-18 1 0,17 0 16,-17-2-16,0-16 16,0 18-16,17-2 15,-17 2-15,0 0 0,-17-1 16,17 1-16,0-2 15,0 2-15,0 0 0,0-1 0,0 0 0,0 0 16,0 1-16,0 0 16,0-2-16</inkml:trace>
  <inkml:trace contextRef="#ctx0" brushRef="#br0" timeOffset="212679.58">13326 17581 0,'18'71'31,"0"-54"-15,-18 19-16,17-18 0,0 35 16,-17-36-16,19 1 15,-2 35-15,-17-36 0,0 1 16,18-1-16,-18 2 0,17 15 15,-17-16 1,0 0-16</inkml:trace>
  <inkml:trace contextRef="#ctx0" brushRef="#br0" timeOffset="213021.22">13326 17952 0,'0'35'16,"18"-35"-16,0 36 0,-1-36 15,0 17-15,-17 0 0,19 1 16,-2-18-16,1 36 0,-1-36 15,0 0-15,2 17 16,-2-17-16,1-17 0,-1 17 16,-17-18-16,36 0 0,-36 0 15,17 1 1,-17 0-16,18-1 0,-18 0 0,0 0 16,18 1-16,0 0 0,-18-2 15,17 2-15,0-1 16</inkml:trace>
  <inkml:trace contextRef="#ctx0" brushRef="#br0" timeOffset="-214616.78">14755 17969 0,'0'18'31,"0"0"-31,17 0 15,-17-1-15,18-17 0,-18 17 0,18 1 16,-18 0-16,18 0 0,-18-1 16,17 0-16,0-17 0,2 19 15,-2-2-15,1-17 0,-1 0 16,19 0-16,-19-17 16,1 17-16,-18-19 0,17 19 15,-17-17-15,0 0 0,0-1 16,19 0-16,-19 0 15,0 1-15,0 0 16,-19-1-16,19 0 16,0 0-1,19 18 1</inkml:trace>
  <inkml:trace contextRef="#ctx0" brushRef="#br0" timeOffset="-214260.64">15231 17881 0,'-17'54'15,"17"-20"1,17-16-16,-17 0 16,17 0-1,2-36 1,-2 0 0,1 0-1,-1 18 1,2 0-1,-2 18 1,0 0-16,-17 0 16,18-18-16,-1 17 0,2 0 15,-2 1-15,0-18 16,1 0-16,0 18 0,0-18 16</inkml:trace>
  <inkml:trace contextRef="#ctx0" brushRef="#br0" timeOffset="-213684.27">15866 17493 0,'0'-17'0,"-18"69"15,18 1 1,0-35-16,18 35 15,-18-18-15,0-17 0,18 17 16,-18-18-16,0 2 0,18 16 16,-18-18-16,17 36 15,-17-35-15,-17-18 32,-19 0-17,18 0-15,1-18 16,0 18-16,-2 18 15,2-18-15,-1 0 0,1 17 16,0-17-16,-2 19 16,2-2-16,17 0 15,0 1-15,0 0 16,0 0 0,17-18-16,19 0 15,-19 0-15,1 0 16,-1 0-16,2-18 0,15 0 0,-16 18 15,18-18-15,-19 1 16,0 0-16,2-2 0,-2 19 0</inkml:trace>
  <inkml:trace contextRef="#ctx0" brushRef="#br0" timeOffset="-213067.19">16236 17864 0,'-17'-53'15,"0"53"-15,17-18 16,-18 18-16,-18-17 16,19 34-1,17 1 1,0 16 0,0-15-16,17-19 0,1 17 15,0 1 1,17-1-1,-18-17-15,1 0 16,0-17 15,0 17-31,-18-18 16,0-18 0,17 36-16,-17-17 15,17 17-15,2 17 31,-19 2-31,17-19 0,-17 17 0,0 1 16,0-1-16,18 2 0,-18-2 16,0 0-1,0 1-15,17-53 32,-17-1-17,0 19-15,17 17 16,-17-18-16,19-18 0,-2 36 15,-17-17-15,18 0 0,-1-1 16</inkml:trace>
  <inkml:trace contextRef="#ctx0" brushRef="#br0" timeOffset="-212672.41">16678 17687 0,'0'0'0,"0"18"16,0 0-16,17-1 16,-17 0-16,17 2 0,-17-2 0,19 1 15,-2 16-15,-17-15 0,18-2 16,-18 18 0,0-16-16,0-2 0,0 0 15,-18 1-15,18 0 0,-36 0 16,19-1-16,0-17 0,-1 17 15,0-17-15,0 0 16,1 0-16,0 0 0,17-17 16</inkml:trace>
  <inkml:trace contextRef="#ctx0" brushRef="#br0" timeOffset="-212465.45">16748 17423 0,'35'34'16,"18"90"15,-18-36-31,-16-52 0,-2 16 16,-17-16-16,17-1 0,-17-18 15,18 2-15,-18-2 0,18 18 16,-18-16-16,18-2 0</inkml:trace>
  <inkml:trace contextRef="#ctx0" brushRef="#br0" timeOffset="-212285.27">16802 17881 0,'0'-17'15,"17"-2"1,0 19-16,1 0 0,35-17 16,-36 0-16,19 17 15,-18-18-15</inkml:trace>
  <inkml:trace contextRef="#ctx0" brushRef="#br0" timeOffset="-211698.78">17260 17581 0,'0'0'16,"-36"18"-16,36 0 0,-17-18 0,17 18 15,-17 16 1,17-16-16,-19 0 0,19 0 0,0-1 15,0 0-15,0 2 16,0-2-16,19-17 0,-19 18 0,17-1 16,18-34-1,-35-1 1,18-18 0,0 19-16,-18 0 15,17-1-15,-17 0 0,0 0 16,0 1-1,35 34 1,-35 1 15,0 0-31,18-18 16,-18 18-16,18-1 16,-18 0 15,17-17-31</inkml:trace>
  <inkml:trace contextRef="#ctx0" brushRef="#br0" timeOffset="-211326.22">17436 17617 0,'18'35'15,"-18"-18"1,0 1-16,0 0 0,17-18 16,-17 18-16,0-1 0,17 0 15,-17 2 1,36-38 15,-36 2-15,18 17-1,-18-17-15,17 17 32,2 17-32,-2-17 0,0 0 15,19 17 1,-18-17-16,-1 0 0,0 0 15,1 0-15,0 0 0</inkml:trace>
  <inkml:trace contextRef="#ctx0" brushRef="#br0" timeOffset="-210715.27">17912 17228 0,'18'36'15,"-18"17"1,17-18-1,-17 18-15,19-18 0,-19 1 16,0-19-16,17 1 0,-17-1 16,0 2-16,0-2 15,17-17-15,-17 17 0,0 1 16,-17-18 0,-19 18-1,19 0 1,-1-18-1,18 17-15,-17-17 0,17 17 0,-17-17 16,17 18-16,0 0 16,0 0-1,0-1-15,17-17 16,0 0-16,1-17 16,-1 17-16,-17-18 0,19 18 15,-2-36-15,0 36 16,-17-17-16,18 0 0,0-1 15,0 18-15,-18-18 16,17 18 0,0 18-16,-17 0 15,18-1-15,-18 0 16,0 1-16,18 0 16,-18 0-16,0-1 0,18-17 31</inkml:trace>
  <inkml:trace contextRef="#ctx0" brushRef="#br0" timeOffset="-210588.52">18124 17388 0,'0'-19'15</inkml:trace>
  <inkml:trace contextRef="#ctx0" brushRef="#br0" timeOffset="-209792.12">18354 17476 0,'-19'71'0,"19"-54"15,19 18 1,-19 18-1,0-36-15,0 1 0,17 0 32,0-36-1,-17 0-15,36 1-1,-18 17-15,-1-17 16,19-1-1,16-18 1,-16 19 0,-36 0-1,17-2-15,1-16 16,-18 18 15,17 52-15,2-18-1,-19 36 1,17-17-16,-17-18 0,-17 34 16,17-16-16,-19 17 15,19-36 1,0-53 15,19-16-15,-2 16-16,0 19 15,19 0 1,-18-1-16,-1 18 16</inkml:trace>
  <inkml:trace contextRef="#ctx0" brushRef="#br0" timeOffset="-209520.33">16890 18428 0,'158'-88'31,"106"0"-31,-52 52 16,-18-16-1,124-19-15,-54 18 16,-193 53 0,122-35-1,-157 35 1,-36 18-16</inkml:trace>
  <inkml:trace contextRef="#ctx0" brushRef="#br0" timeOffset="-209304.09">16819 18675 0,'352'-52'16,"-245"33"-1,210-52-15,-88 19 16,-123 35-1,0-19-15,70-17 0,54 1 16,-177 33-16,-18 2 16</inkml:trace>
  <inkml:trace contextRef="#ctx0" brushRef="#br0" timeOffset="-201493.94">26132 15129 0,'-53'18'16,"36"18"-16,-1-19 15,18 0-15,-18 2 16,0 33-16,1 19 15,0-54-15,17 2 0,0-2 16,-19 18-16,19-17 16,0 17-16,0-18 0,19 1 15,-19 0-15,17-18 16,0 0-16,19 0 16,-18 0-16,-1-18 15,0 18-15,2 0 16,-2-18-16,18 18 15,-18 18 1,2-18-16,-19 18 0,17-18 16,-17 18-16,18-18 0,-18 17 15,17-17-15,-17 17 16,0 2-16,19-19 16</inkml:trace>
  <inkml:trace contextRef="#ctx0" brushRef="#br0" timeOffset="-201197.47">26379 15412 0,'0'53'46,"0"-35"-46,0-1 16,17 0 0,1-34 31,-18 0-47,18-19 31,0 18-31,-1 18 15,0-17 1</inkml:trace>
  <inkml:trace contextRef="#ctx0" brushRef="#br0" timeOffset="-200942.56">26608 15341 0,'-17'35'47,"17"-16"-47,0-2 0,0 0 0,17-105 15,-17 194 1,0-88-16,18-18 0,-1 18 16,2-36-1,-2 0 1,-17 0 0,0 1-16,-17 0 15,17-2 1</inkml:trace>
  <inkml:trace contextRef="#ctx0" brushRef="#br0" timeOffset="-200138.69">26784 15341 0,'-17'35'32,"17"-16"-17,0-2-15,0 0 16,0 1 0,17-18-16,-17 18 15,18-18-15,0 0 16,0-18-16,-1 0 15,0 18-15,-17-17 0,19 0 16,-2 17-16,1-19 0,-18 2 16,17-1-16,2 36 31,-2-18-31,-17 17 16,17 2-1,-17-2-15,18-17 16,-1 0-1,2 0-15,-19-17 16,17-2 0,0 19-16,-17-17 0,0-1 15,18-16-15,0 15 16,-18 2-16,18-1 31,-18 36-15,-18 35 15,18-36-31,0 1 0,0-1 0,0 2 16,-18 15-16,18-16 0,0 0 15,0 17 1,0-18-16,0 1 0,0 0 16,0 17-16,0-18 15,18-34 32,-18 0-31,18-19-16,-1 18 0,-17 1 15,17 0-15,-17-1 0,19 0 16,-19 0-16,17 1 0,1 17 16,-1-17-16,0 17 15,2 0 1,-19 17-1,-19 0-15,2 1 16,0-18-16,17 18 16,-18 0-1</inkml:trace>
  <inkml:trace contextRef="#ctx0" brushRef="#br0" timeOffset="-199652.3">27684 15147 0,'-17'53'0,"17"-36"16,0 2-16,-19-2 0,19 1 16,0-1-16,0 2 15,0-2 1,19-53-1,-2-35 17,1 54-32,-18 0 0,0-1 15,17 18-15,-17-18 0,0 0 0,19 18 16,-19-17-16,17 17 16,0 17-1,1 1 1,-18 0-16,18 0 0,-18-1 15,0 0-15,0 2 16,0-2-16,0 1 0,0-1 16,0 2-16</inkml:trace>
  <inkml:trace contextRef="#ctx0" brushRef="#br0" timeOffset="-199493.96">27719 15288 0,'-17'0'16,"53"0"-16,-55 0 16,19-17-1,19 17 1,-2 0-16,0-18 16,37 18-16,-37-17 15,18 17-15</inkml:trace>
  <inkml:trace contextRef="#ctx0" brushRef="#br0" timeOffset="-199060.39">28814 15271 0,'-19'-18'16,"19"1"0,0-2-16,-17-33 15,17 34 1,0 0-16,-18 1 0,18 0 0,0-1 16,0 0-16,0 0 0,-17 1 15,17 0-15,0-2 0,0 2 16,-19-1-16,19 1 31</inkml:trace>
  <inkml:trace contextRef="#ctx0" brushRef="#br0" timeOffset="-198844.76">28760 14883 0,'-17'17'16,"-2"0"0,-15 37-1,16-37-15,1 2 0,-2-2 0,19 0 16,-34 19-16,16-18 16,18-1-16,-18 0 0,0 1 15,1 0-15,17 0 0,-17-1 16</inkml:trace>
  <inkml:trace contextRef="#ctx0" brushRef="#br0" timeOffset="-198646.54">28655 14936 0,'17'0'0,"1"0"0,-18 17 15,17-17-15,0 18 0,2-18 16,-2 17-16,1 2 0,-1-19 16,2 17-16,-2-17 0,0 17 15,1-17-15,0 0 0,17 18 16,-18-18-16</inkml:trace>
  <inkml:trace contextRef="#ctx0" brushRef="#br0" timeOffset="-198084.46">29995 14848 0,'-105'69'16,"86"-33"-1,2 52 1,-1-70-16,36 0 16,-18 0-16,17-18 15,36-18 1,-35 18-1,-18-18-15,36 0 0,-2 1 16,-16 17 0,0 0-16,0 17 15,-1-17-15,-17 18 16,17-18-16,-17 18 0,19 0 16,-19-1-1,17-17-15,-17 17 0,18 1 16</inkml:trace>
  <inkml:trace contextRef="#ctx0" brushRef="#br0" timeOffset="-197793.03">30224 15024 0,'0'-17'16,"18"51"0,-18-16-16,0 0 15,17 0 1,2-36 31,-19 0-47,17-17 15,0 18 1,19-2 0,-18 2-16,-1 17 15</inkml:trace>
  <inkml:trace contextRef="#ctx0" brushRef="#br0" timeOffset="-197482.29">30542 14936 0,'-35'17'0,"16"1"0,19-1 15,0 2 1,0-2 0,19 0-16,-2 1 15,1-18-15,-1 0 31,2-18-15,-19 1-16,0 0 16,-19-19-1,2 18-15,-1 1 16,1 17 0</inkml:trace>
  <inkml:trace contextRef="#ctx0" brushRef="#br0" timeOffset="-197152.32">30647 14883 0,'0'34'31,"0"-15"-31,0-2 16,0 1-16,19-18 0,-19 17 16,17-17-16,0 0 15,1 0 1,0 0-16,0-17 15,-1 17-15,-17-18 0,17 1 32,-17-2-32,19 2 15</inkml:trace>
  <inkml:trace contextRef="#ctx0" brushRef="#br0" timeOffset="-196744.82">30983 14777 0,'17'18'15,"-34"16"1,17-15-16,0-2 0,0 1 16,0 52-16,0-52 15,-17-1-15,17 2 0,0 15 16,0-16-16,0 0 0,-19 0 15,19-1-15,0 0 16,0 1 0,19-36-1,-2 1 1,-17 0-16,17-1 0,-17 0 0,18 0 16,-1 1-16,-17 0 0,36-2 15,-36 2-15,17 17 16,1-18-16,0 1 0,0 17 15,-1 0 1,-34 17 15,-1-17-15,0 18 0,0-18-16,1 0 15</inkml:trace>
  <inkml:trace contextRef="#ctx0" brushRef="#br0" timeOffset="-187084.49">10151 1865 0,'0'-17'0,"17"34"16,2 1-16,-2 35 0,18 18 0,1-1 15,-1 18-15,1 0 0,16 36 16,37 140-16,-37-122 16,1-1-16,18 123 0,-19-140 15,-16-1-15,35 54 16,-18-18-16,-36-107 0,1 1 16,-1 0-16,0 35 15,2-53-15,-2 1 0,-17-19 16,0 1-16</inkml:trace>
  <inkml:trace contextRef="#ctx0" brushRef="#br0" timeOffset="-186044.7">10046 2536 0,'0'0'16,"52"-36"-16,-34 19 0,34-1 0,2 0 15,-1 0-15,18-16 0,-1-2 0,18 1 16,0-1-16,0 1 0,36-35 16,-1 16-16,124-51 0,-123 34 15,122-34-15,20-19 16,-2 19-16,-140 51 16,-2 1-16,2 18 0,-36-1 0,124-34 15,-124 35-15,0 0 16,88-18-16,-86 36 0,-2-2 15,-36 2-15,72-18 0,-71 16 16,18 19-16,17-17 0,-54 0 16,37-1-16,-35 18 15,-1 0-15,-18 0 0,19-17 16,-19 17-16,18 0 0,1 0 16,-1 0-16,-17 0 0,0 0 15,16 0-15,-16 0 16,18 17-16,-19-17 0,0 0 0,19 18 15,-18-18-15,18 17 0,-19-17 0,35 0 16,-16 17 0,-1-17-16,1 19 0,-2-19 0,20 17 15,-1 1-15,-1-1 0,1 2 0,53 33 16,-53-16-16,18-19 0,-18 18 16,18 18-16,-19-17 0,54 69 15,-35-51-15,-19-2 0,1 18 16,53 72-16,-53-89 0,0 18 15,89 122 1,-108-140-16,20 1 0,-20-2 0,54 36 16,-52-52-16,16 52 15,-16-54-15,-1 2 0,18 35 16,1 0-16,-20-37 16,-16 2-16,18-1 15,-19 1-15,36 16 0,-35-16 0,-1-19 16,0 18-16,2-16 0,-2 33 15,1-34-15,-1 0 16,-17-1-16,19 0 0,-2 2 16,-17-2-16,17 1 0,-17-1 15,0 19 1,-17-36-16,17 17 16,-17 1-16,-19-18 0,1 36 0,-18-19 15,-1 0-15,-16 19 0,0-1 16,-19-18-16,-104 54 0,69-54 15,-158 71-15,124-52 0,-337 88 16,319-89 0,0 0-16,-1 1 0,-194 34 15,178-35-15,17 1 0,-19-1 16,-158 53-16,159-52 0,18 16 16,18-16-16,-1 17 0,-141 18 15,193-37-15,-103 20 16,68-20-16,72-34 15,-1 18-15,35-18 0,19 0 16,-18 0-16,35-18 16,0 1-16</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2.645"/>
    </inkml:context>
    <inkml:brush xml:id="br0">
      <inkml:brushProperty name="width" value="0.025" units="cm"/>
      <inkml:brushProperty name="height" value="0.025" units="cm"/>
      <inkml:brushProperty name="ignorePressure" value="1"/>
    </inkml:brush>
  </inkml:definitions>
  <inkml:trace contextRef="#ctx0" brushRef="#br0">24 1,'0'4,"-4"5,-1 7,-2 6,3 0,0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8.773"/>
    </inkml:context>
    <inkml:brush xml:id="br0">
      <inkml:brushProperty name="width" value="0.025" units="cm"/>
      <inkml:brushProperty name="height" value="0.025" units="cm"/>
      <inkml:brushProperty name="ignorePressure" value="1"/>
    </inkml:brush>
  </inkml:definitions>
  <inkml:trace contextRef="#ctx0" brushRef="#br0">47 1,'5'3,"2"1,-2-2,0 1,2-2,0 2,-2-2,10 2,-5 0,1-1,0 1,-2 1,2 0,11 7,-20-10,-1 0,0-1,1 2,-1-1,0 0,1 1,-2-1,1 0,0 1,-1-1,2 0,-1 1,-1-1,1 0,-1 1,0-1,2 0,-2 1,0 0,0 0,0-1,1 0,-1 1,0 0,-1 0,1-1,0 0,0 1,0 0,-2 0,2-1,-1 0,1 1,-1-1,1 0,-2 1,1-1,1 0,-1 1,-2 0,-1 2,0 2,0-2,-1 0,1 0,-2-2,2 2,-1-1,0 1,-9 1,9-2,1 0,-1-1,-1 1,2 0,-1 1,1 0,-8 6,64 12,-51-22,2 1,0 0,-2 1,2-1,-2 0,0 1,2-1,-2 0,1 1,-1-1,2 2,-2-2,0 0,1 2,-2-2,1 2,0 0,1-2,-2 2,1-2,-1 2,1-1,-1 1,0-2,0 2,2 0,-2-2,0 2,-2-1,2 1,0-2,0 2,-1 0,1-2,-1 2,-1-1,2 0,-1 0,0 0,-1 0,1 0,0 0,-1 0,1-1,-4 3,-1 1,0 1,0-1,0-1,-1 0,0 0,-1 0,2-1,-2 1,1-2,-1 0,0 0,-11 1,-6 0,1-3</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9.737"/>
    </inkml:context>
    <inkml:brush xml:id="br0">
      <inkml:brushProperty name="width" value="0.025" units="cm"/>
      <inkml:brushProperty name="height" value="0.025" units="cm"/>
      <inkml:brushProperty name="ignorePressure" value="1"/>
    </inkml:brush>
  </inkml:definitions>
  <inkml:trace contextRef="#ctx0" brushRef="#br0">74 7,'-5'2,"0"2,-1 0,1 0,0 0,1 2,0-2,-2 1,2 0,0-1,2 3,-2-2,1 1,0-1,1 2,-1-2,2 2,-3 9,2-14,2 1,-1 0,1-1,0 1,0 1,0-1,0-1,0 1,1 0,-1-1,2 1,-2 0,1-1,0 1,-1 0,2-1,-1 1,0 0,2-1,-2 0,1 0,0 1,0-2,0 2,0-2,0 1,1 0,-2 0,2-1,0 0,-1 1,1-1,0-1,-1 1,1 1,0-2,-1 1,1-1,0 0,-1 0,5 0,0 0,-1 0,2-1,-1-1,0 1,-1 0,1-2,0 2,-1-2,1-1,0 1,-2-1,2 2,-2-2,2-2,5-4,-8 7,-2 2,1-2,0 0,-1 1,1-1,0 0,-2-1,2 2,-2-1,2-1,-2 1,0-1,1 2,-1-2,0 0,1 1,-2-1,1 0,-1 1,0-1,0 0,0 0,0 0,0 2,-1-2,1 0,-2 0,2 1,-1-1,-3-4,0 4,1 1,-1-1,0 2,-1-1,1 0,0 1,-1-1,1 0,-2 2,2 0,-1-1,0 1,-1 0,2-1,-1 2,0 0,-1-1,1 1,0 1,-5 1,9-2,-22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0.938"/>
    </inkml:context>
    <inkml:brush xml:id="br0">
      <inkml:brushProperty name="width" value="0.025" units="cm"/>
      <inkml:brushProperty name="height" value="0.025" units="cm"/>
      <inkml:brushProperty name="ignorePressure" value="1"/>
    </inkml:brush>
  </inkml:definitions>
  <inkml:trace contextRef="#ctx0" brushRef="#br0">136 0,'-62'81,"1"2,60-83,1 0,-2 1,1-1,1 2,-1-2,1 1,-2-1,2 1,-1-1,1 2,-1-1,1-1,0 1,-2 1,2-2,0 1,0 0,-1 1,1-2,0 1,0 0,0-1,0 2,0-1,0 0,0-1,0 2,0-1,0 0,0-1,1 2,-1-1,2 2,-1-2,2 0,-2 1,2-1,-1 0,0 1,0-1,1-1,0 1,-1-1,0 2,0-2,1 1,2-1,102 1,-91-2,64 0,-57 1</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1.573"/>
    </inkml:context>
    <inkml:brush xml:id="br0">
      <inkml:brushProperty name="width" value="0.025" units="cm"/>
      <inkml:brushProperty name="height" value="0.025" units="cm"/>
      <inkml:brushProperty name="ignorePressure" value="1"/>
    </inkml:brush>
  </inkml:definitions>
  <inkml:trace contextRef="#ctx0" brushRef="#br0">54 1,'-5'4,"0"7,-1 5,1 4,2 4,-3 1,-1 2,0-1,3 2,0-1,3-6</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2.273"/>
    </inkml:context>
    <inkml:brush xml:id="br0">
      <inkml:brushProperty name="width" value="0.025" units="cm"/>
      <inkml:brushProperty name="height" value="0.025" units="cm"/>
      <inkml:brushProperty name="ignorePressure" value="1"/>
    </inkml:brush>
  </inkml:definitions>
  <inkml:trace contextRef="#ctx0" brushRef="#br0">25 5,'-2'3,"-1"-1,0 1,2 0,-2-1,2 1,0 1,-2-1,2-1,-1 2,1-1,1 1,-1 0,-1-1,2 1,0 0,0-2,-1 2,1 0,1-1,-1 1,0 0,2-1,-2 1,1-2,0 2,1-1,-1 1,0-1,1 1,0-2,0 1,0 0,0-1,0 1,1 0,0-1,-1 1,1 0,0-2,-1 2,8 2,-8-4,0 1,0 0,1 0,0-1,-2 0,2 1,-1-2,1 1,0 0,-1-1,1 2,0-2,-1 1,1-1,0 0,-1 0,1 0,1 0,-1 0,-1-1,1 1,0-2,-1 2,1-1,0 0,-2 1,2-2,-1 1,1 0,0-2,-2 2,2-1,-1 1,0-2,-1 2,2-2,-2 1,0 0,2 0,-2-1,1 0,-1 1,-1 0,1 0,1-1,-2 0,1 1,-1-1,1 0,-1-1,0 2,0-4,0 2,0 2,0-1,0-1,0 1,0-1,-1 2,1-2,-1 1,-1 0,2-1,-1 2,0-1,-2 0,2 1,-1-1,1 0,-2 1,2-1,-2 0,1 1,-1 0,2 0,-2-1,0 2,1-1,-2 1,1-2,0 2,1 0,-1 1,-1-2,1 1,1 1,-2-1,1 1,-5-2,-13 1</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251"/>
    </inkml:context>
    <inkml:brush xml:id="br0">
      <inkml:brushProperty name="width" value="0.025" units="cm"/>
      <inkml:brushProperty name="height" value="0.025" units="cm"/>
      <inkml:brushProperty name="ignorePressure" value="1"/>
    </inkml:brush>
  </inkml:definitions>
  <inkml:trace contextRef="#ctx0" brushRef="#br0">189 0,'-15'11,"1"-1,-1 2,2 0,-1 2,2-1,-16 20,-14 17,38-48,1 1,-1 1,1-1,1 1,-1 0,0 0,1 0,-1 0,2 0,-2 0,2 1,-2 3,3-7,0 1,0-1,0-1,0 1,0 1,0-2,0 1,1 0,-1-1,0 2,0-1,2-1,-2 1,0-1,1 2,-1-2,1 1,-1 0,0-1,2 2,-1-2,-1 0,3 1,35 10,100-15,-114 4</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701"/>
    </inkml:context>
    <inkml:brush xml:id="br0">
      <inkml:brushProperty name="width" value="0.025" units="cm"/>
      <inkml:brushProperty name="height" value="0.025" units="cm"/>
      <inkml:brushProperty name="ignorePressure" value="1"/>
    </inkml:brush>
  </inkml:definitions>
  <inkml:trace contextRef="#ctx0" brushRef="#br0">129 1,'-4'4,"-5"7,-3 5,2 4,-2 4,0 1,-1-2,2-2,2 0,-2-3,2-1,1 3,3 0,2-3</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4.734"/>
    </inkml:context>
    <inkml:brush xml:id="br0">
      <inkml:brushProperty name="width" value="0.025" units="cm"/>
      <inkml:brushProperty name="height" value="0.025" units="cm"/>
      <inkml:brushProperty name="ignorePressure" value="1"/>
    </inkml:brush>
  </inkml:definitions>
  <inkml:trace contextRef="#ctx0" brushRef="#br0">108 23,'33'-15,"-14"7,-41 16,17-7,1 1,0-1,0 0,1 2,-1 0,0-2,0 2,2-1,-2 1,1 0,-1 1,1-2,1 2,-1-1,0 1,-3 7,6-9,-2 1,2 1,-1-1,1-1,-1 1,1 0,0 1,0-2,0 1,1 0,-1 1,0-2,1 1,1 0,-2-1,1 1,0 0,1-1,-1 1,0 0,1-1,0 1,0 0,-1-2,6 4,-6-3,0-1,1 0,-1 1,0-1,1 0,-1 1,0-1,1 0,-2 1,1-1,0 2,-1-2,2 0,-2 1,1 0,-1 0,0-1,1 2,-1-2,0 2,0-2,0 0,0 2,0-2,0 1,0 0,-1 0,1-1,0 2,-1-2,1 0,-2 2,1-2,1 1,-1-1,-1 0,1 2,0-2,1 1,-2-1,-2 0,-4 6,-1-2,1 1,-1-1,-1 0,-19 6,21-8,-8 2</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5.833"/>
    </inkml:context>
    <inkml:brush xml:id="br0">
      <inkml:brushProperty name="width" value="0.025" units="cm"/>
      <inkml:brushProperty name="height" value="0.025" units="cm"/>
      <inkml:brushProperty name="ignorePressure" value="1"/>
    </inkml:brush>
  </inkml:definitions>
  <inkml:trace contextRef="#ctx0" brushRef="#br0">41 24,'86'-18,"-69"13,-58 17,37-11,1 1,-1-2,0 1,0 0,1 1,-1-1,2 2,-2-2,1 2,-1-2,1 2,1-1,-1 1,0 0,1-1,-1 1,0 0,-1 3,3-2,1 0,0 0,0 0,0 0,0 0,0 0,0 0,1 0,1 0,-1 0,-1 0,3-1,-2 1,0 0,1-1,0 1,2 2,-1-3,-2 1,2 0,-2-1,1 1,-1 0,0-2,-1 2,2 0,-2 0,1 0,-1 0,0 0,0 0,0-1,-1 6,-1-6,2-2,-1 2,0 0,-1-1,1 0,0 0,-2 1,2-2,-1 1,0 0,0 0,0-1,0 2,0-2,-1 0,2 1,-2-1,0-1,1 1,-1 1,2-2,-2 1,-4 0,-14 3</inkml:trace>
</inkml:ink>
</file>

<file path=ppt/ink/ink4.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4:15:45.517"/>
    </inkml:context>
    <inkml:brush xml:id="br0">
      <inkml:brushProperty name="width" value="0.05292" units="cm"/>
      <inkml:brushProperty name="height" value="0.05292" units="cm"/>
      <inkml:brushProperty name="color" value="#0070C0"/>
    </inkml:brush>
  </inkml:definitions>
  <inkml:trace contextRef="#ctx0" brushRef="#br0">6429 7761 0,'17'0'62,"37"0"-46,-37 0-1,19 0-15,-19-17 0,54 17 16,-36 0-16,1 0 0,-2-19 16,73 19-16,-55-17 15,19 17-15,-18-17 0,18 17 0,-1 0 16,-16-18-16,15 18 0,91-18 15,-91 18-15,2 0 0,0-18 0,-1 18 16,1 0-16,88-17 16,-18 17-16,-88-17 0,18 17 15,69-18-15,-69 18 16,-18-18-16,18 18 0,-18 0 16,18-18-16,51 18 0,-51-17 15,-18 17-15,70 0 0,-52-17 16,-18 17-16,0 0 15,87-19-15,-104 19 0,52 0 16,-52 0-16,16 0 16,-16 0-16,52 0 0,-53 0 15,53-17-15,-52 17 0,17 17 16,-18-17-16,53 0 16,-52 0-16,16 0 0,19 0 15,-18 0-15,-18 0 16,35 0-16,-51 0 0,16 19 0,-18-19 15,71 0 1,-69 0-16,-2 0 16,18 0-16,-17 17 0,0-17 15,-1 0-15,0 0 16,1 0-16,0 0 0,0 0 16,-1 0-1</inkml:trace>
  <inkml:trace contextRef="#ctx0" brushRef="#br0" timeOffset="1160.01">13344 7761 0,'-18'0'0,"72"0"31,-37-17-15,18 17-16,-18 0 16,2 0-16,15 0 0,37 0 15,-18 0-15,18-19 0,-19 19 16,1 0-16,18 0 0,70 0 15,-70 0-15,0-17 0,87 17 16,-70 0-16,-17 0 16,105 0-16,0 0 0,-105 0 15,106 0-15,-108 0 16,91 0-16,-20 0 16,19 17-16,-106-17 15,18 0-15,0 0 0,34 0 16,2 0-16,-73 0 15,72 0-15,-17 0 16,-37 0-16,-16 0 0,16 0 16,89 0-16,-105 0 15,-1 0-15,36 19 0,-35-19 16,-2 0-16,37 0 16,-18 0-16,18-19 15,-19 19-15,-33 0 16,50 0-16,-33 0 15,-1 0-15,1 0 16,16 0-16,-34 0 16,17 0-16,-18 0 0,19 0 15,-1-17-15,-16 17 0,-2 0 16,18 0-16,-18 0 16,2 0-16,15 0 15,-16 0 1,0 0-1,0 0-15</inkml:trace>
  <inkml:trace contextRef="#ctx0" brushRef="#br0" timeOffset="3206.21">1085 8713 0,'52'-17'16,"19"17"-16,-35 0 15,34 0-15,1 0 0,17 0 0,53 0 16,35-17-16,18-1 16,-88 18-16,0-18 15,0 18-15,88-35 0,-106 18 16,-18 17-16,1-19 0,0 2 0,-18 17 15,-18 0-15,1-18 16,16 18-16,-34 0 0,0 0 16,16-17-16,-16 17 15,-18 17 1</inkml:trace>
  <inkml:trace contextRef="#ctx0" brushRef="#br0" timeOffset="7061.19">9974 1852 0,'-34'0'16,"16"0"-16,0 0 0,18 17 16,-18-17-16,1 19 0,0-19 15,-2 17-15,2 1 16,17-1-16,-18-17 0,18 17 0,-17-17 16,0 19-16,17-2 15,0 1-15,0-1 16,17-17-1,-17 19-15,17-19 0,1 17 16,-1-17-16,2 17 16,-2-17-16,0 0 0,19 18 15,-18 0-15,-1-18 16,0 18-16,-17-1 0,0 0 16,0 1-1,0 18-15,-17-2 16,0-34-16,17 19 15,-18-19-15,18 17 0,-18-17 0,0 18 16,1-18-16,0 17 16,-2-34-1</inkml:trace>
  <inkml:trace contextRef="#ctx0" brushRef="#br0" timeOffset="7428.37">10133 1835 0,'19'-18'0,"-19"53"47,0-18-47,0 2 16,17-2-16,-17 1 0,0 16 15,0-15-15,17-2 0,-17 1 16,18-1-16,-18 19 0,18-19 16,-18 1-16,18 0 0,-18 0 15,17-18-15,-17 17 0,17-17 0,1 0 16,0 17-16,0-17 0,-1 0 15,0-17-15,2 17 16,-2 0-16,1-17 16,-1 17-16</inkml:trace>
  <inkml:trace contextRef="#ctx0" brushRef="#br0" timeOffset="7628.28">10081 2117 0,'0'-18'16,"35"-17"-16,-18 35 16,2-17-16,-2 17 0,18-19 15,1 2-15,-19 17 0,18-18 16,-17 18-16,0-17 0,-1 17 15</inkml:trace>
  <inkml:trace contextRef="#ctx0" brushRef="#br0" timeOffset="7864.03">10557 1869 0,'0'0'15,"17"0"-15,1 19 31,0 16 1,-18-18-32,18 0 0,-1-17 15,-17 19 1,17-2-16,1 1 16,0-18-1</inkml:trace>
  <inkml:trace contextRef="#ctx0" brushRef="#br0" timeOffset="8316">10769 1799 0,'0'18'32,"0"0"-17,0-1-15,0 19 16,0-19-1,-19 1-15,19-1 16,-17 0-16,17 2 16,-17-19-1</inkml:trace>
  <inkml:trace contextRef="#ctx0" brushRef="#br0" timeOffset="8759.26">10980 1605 0,'0'-17'0,"18"52"16,-18-18-1,18 2-15,-18-2 16,0 0-16,17 19 0,-17-18 16,0-1-16,17 0 0,-17 19 15,18-36-15,-18 18 16,0-1-16,-18-17 31,1 0-15,-18 17-1,17-17 1,0 19-16,1-2 0,-19 1 31,36-1-31,0 0 0,0 2 16,36-19 15,-19 0-31,1 0 0,0 0 16,0-19-16,-1 19 0,18-17 15,-17 17-15,0-17 0</inkml:trace>
  <inkml:trace contextRef="#ctx0" brushRef="#br0" timeOffset="9650.6">11262 1747 0,'0'17'15,"0"0"1,0 1 0,18-18-16,-1 0 15,2 0 1,-2 0-16,0-18 16,1 18-1,0 0 1,0 0-1,16 36 1,-34-18-16,19-1 16,-2 0-16,-17 2 0,18-2 15,-18 1-15,17-1 0,-17 19 16,17-1-16,-17-18 0,0 2 16,-17-19-16,17 17 0,0 0 15,-17 1-15,-1 0 0,18 0 16,-17-18-16,-2 0 15,19-18 1</inkml:trace>
  <inkml:trace contextRef="#ctx0" brushRef="#br0" timeOffset="10011.81">11756 1676 0,'18'-36'16,"-18"19"-1,18 17-15,-18-18 16,0 36 15,17-1-15,-17 2-16,17 51 16,2-70-16,-19 18 15,0-1-15,17-17 0,-17 17 16,0 1-16,18-18 0,-18 18 15</inkml:trace>
  <inkml:trace contextRef="#ctx0" brushRef="#br0" timeOffset="10197.32">11756 1957 0,'36'-34'47,"17"-1"-32,-36 35-15,1-19 0,18 2 16,-19 17-16,18-17 0</inkml:trace>
  <inkml:trace contextRef="#ctx0" brushRef="#br0" timeOffset="10505.79">12550 1659 0,'18'17'16,"16"-34"0,-15 17-16,-2 0 0,1 0 0,18 0 15,-19 0-15,0-19 16,37 2-1</inkml:trace>
  <inkml:trace contextRef="#ctx0" brushRef="#br0" timeOffset="10815.07">12709 1429 0,'0'0'16,"17"18"-1,1-18-15,-1 17 16,2-17-16,-2 17 0,0-17 0,1 19 16,0-2-16,0-17 0,16 18 15,-15-1-15,16 19 0,-18-19 16,0 18-16,2-16 0,-19-2 15,0 0-15,17 1 0,-17 0 16,0 0-16,-17 16 0,-2-16 16,19 0-16,-17 0 0,17-1 0,-17 0 15</inkml:trace>
  <inkml:trace contextRef="#ctx0" brushRef="#br0" timeOffset="11298.05">14137 1429 0,'0'35'31,"0"-18"-31,0 19 16,0-18-16,0-1 0,19 54 15,-19-54-15,0 19 16,0-1-1,0-17-15,17 0 0,-17-1 16,0 0 0</inkml:trace>
  <inkml:trace contextRef="#ctx0" brushRef="#br0" timeOffset="11630.75">14066 1481 0,'0'-17'0,"19"0"16,16-1-1,-18 18-15,2 0 0,-2 0 16,18 0-16,-17 18 0,0-18 15,34 34-15,-34-15 16,17 16-16,-35-18 0,17 0 16,-17 2-16,0-2 0,0 18 15,0-16-15,-34 33 16,34-34-16,-18 0 0,0-1 16,18 0-16,-18 1 0,1-18 15,0 18-15,-1 0 16</inkml:trace>
  <inkml:trace contextRef="#ctx0" brushRef="#br0" timeOffset="11971.96">14454 1623 0,'19'17'15,"-2"19"1,-17-19 0,18-17-16,-18 18 15,17-18-15,2 18 0,-2-18 16,18 0-16,-17-18 16,0 18-16,-1 0 0,-17-18 15,17 18-15,1-17 16,-18 0-16,0-2 0,0 2 15,-18 17-15,18-18 16,-17 18-16,17-17 0,-17 17 16,-1-19-16,0 19 15,0 0-15,1 0 16,0 0 0,17 19-16</inkml:trace>
  <inkml:trace contextRef="#ctx0" brushRef="#br0" timeOffset="12528.07">14984 1500 0,'-18'17'15,"1"1"-15,34 16 32,1-15-17,-18-2-15,18-17 0,0 0 16,-1 0-16,0 0 15,2 0-15,-2-17 16,1 17-16,-18-19 0,17 19 16,0 0-1,2 0-15,-2 0 16,-17 19-16,18-2 16,-18 1-16,36 18 0,-36-2 15,17-16-15,0 52 16,-17-16-16,18-20 0,-18-15 15,0-2-15,-18 18 16,18-18-16,-17 19 16,0-36-1,-2 0-15,2 0 0,-1 0 16,18-17-16,-17-2 0,-2-15 16,2 16-1,17 1-15,0-2 0,0 2 16,17 0-16,-17-1 0,19 0 15,-2 0-15,1 1 16,-1-18-16</inkml:trace>
  <inkml:trace contextRef="#ctx0" brushRef="#br0" timeOffset="12884.17">15461 1481 0,'-19'19'47,"2"33"-31,17-35-16,0 2 15,17 33 1,-17-33-16,19-2 16,-2 0-16,1-17 0,-1 0 15,0 0-15,2 0 16,16-17-1,-18 0-15,-17-2 0,19 2 16,-19-1-16,0 1 0,-19-2 16,19 2-16,0 0 0,-17 17 15,17-18-15,-18-18 0,1 19 16,-2 17-16,2-17 31,0-1-31,-1 36 0,1-18 16,-2 0-16</inkml:trace>
  <inkml:trace contextRef="#ctx0" brushRef="#br0" timeOffset="13301.98">15920 1235 0,'17'36'31,"0"16"-15,-17-35-16,0 2 16,18 15-16,-18-16 0,0 0 15,17 17-15,-17-18 0,0 2 16,19-2-16,-19 1 0,17-18 15,-17 17-15,17-17 16,1 0-16,0 0 16,0-17-16,-1 17 15,0-18-15,1 18 16,-18-17 0,18 17-16,0 17 31,-1 1-16,0-1-15,-17 0 16,19-17 0,-2 0-16</inkml:trace>
  <inkml:trace contextRef="#ctx0" brushRef="#br0" timeOffset="13436.2">16272 1323 0,'0'-18'16,"-18"18"-1</inkml:trace>
  <inkml:trace contextRef="#ctx0" brushRef="#br0" timeOffset="13742.11">16484 1359 0,'-36'17'0,"36"0"16,36 19-1,-19-18 1,0-1-16,2 0 0,-2-17 16,-17 19-16,18-19 15,-18 17-15,0 1 16,-18-1 0,1 0-16,-2-17 15,2 19-15,0-19 0,-19 17 16</inkml:trace>
  <inkml:trace contextRef="#ctx0" brushRef="#br0" timeOffset="14435.38">15725 1464 0,'0'17'15,"0"2"-15,17-19 0,-17 17 16,0 1-16,18-1 16,0 0-1,-18 2-15,18-19 0,-1 17 16,0-17 0,2 0-1,-2-17 1,-17-2-16,0 2 15,0 0-15,0-1 16,18 1-16,-18-2 16,17 2-16,2 0 15,-2 17-15,-17-18 0</inkml:trace>
  <inkml:trace contextRef="#ctx0" brushRef="#br0" timeOffset="14783.32">16748 1164 0,'18'71'31,"-18"-54"-31,0 2 0,0 15 0,18-16 16,-18-1-16,0 19 0,0-19 15,17 19-15,-17-1 0,17 1 16,-17-19-16,0 1 0,0-1 16</inkml:trace>
  <inkml:trace contextRef="#ctx0" brushRef="#br0" timeOffset="14970.19">16660 1500 0,'17'-19'16,"2"19"-1,-2 0-15,0-17 0,1 17 16,0 0-16,0-17 16,34-1-16,-16 18 0,-19 0 15</inkml:trace>
  <inkml:trace contextRef="#ctx0" brushRef="#br0" timeOffset="15505.99">17065 1447 0,'19'-18'0,"-19"0"16,0 0 15,0 1-15,-19 34 15,19 19-15,0-18-1,0-1 1,0 0-16,19-17 15,-2 0 1,0 0 0,1 0-1,0-17-15,0 17 16,-1 0 0,0 0-1,1 17-15,0-17 0,-18 19 16,18-19-1,-1 0 1,0 17 0,2-34-1,16 17 17,-18-19-32,2 19 15,-2 0-15,0-17 0,1 0 0</inkml:trace>
  <inkml:trace contextRef="#ctx0" brushRef="#br0" timeOffset="30258.85">14173 2399 0,'0'17'47,"0"2"-31,0 15-16,0-16 0,17 35 16,-17-36-1,0 1-15,0 0 16,0 0-16,0-1 0,18 0 15</inkml:trace>
  <inkml:trace contextRef="#ctx0" brushRef="#br0" timeOffset="30591.93">14120 2452 0,'0'-17'0,"0"-2"0,17 19 16,2-17-16,-2 17 16,0 0-16,1 0 15,0 17-15,0-17 0,-1 19 0,0-2 16,19 0-1,-36 19-15,18-18 0,-18-1 16,0 0-16,0 1 0,-18 0 16,18 0-16,-18-1 0,0 0 15,18 2-15,-17-2 0,0 1 0,-1-1 16,0-17-16,0 19 16</inkml:trace>
  <inkml:trace contextRef="#ctx0" brushRef="#br0" timeOffset="30927.85">14402 2487 0,'0'18'0,"0"0"15,18-18-15,-18 17 0,0 0 16,17 1-16,0-18 16,2 0-16,-19 18 0,17-18 0,1 0 15,-1 0-15,2-18 16,-2 18-16,0 0 0,-17-18 16,0 1-1,0 0-15,-17-1 16,17 0-16,-17 18 0,-19-18 15,36 1-15,-18 17 16,1 0-16,-2 0 16,2 17-1</inkml:trace>
  <inkml:trace contextRef="#ctx0" brushRef="#br0" timeOffset="31535.99">14896 2257 0,'0'36'16,"0"-18"0,0-1-16,0 2 0,17-2 0,-17 0 15,0 1-15,0-1 16,19 19-16,-2-19 0,-17 1 15,17-18-15,1 0 16,18 0 0,-19-18-1,0 36 32,2 0-31,-2 0-1,18-1 1</inkml:trace>
  <inkml:trace contextRef="#ctx0" brushRef="#br0" timeOffset="31681.53">15161 2364 0,'-19'-17'15</inkml:trace>
  <inkml:trace contextRef="#ctx0" brushRef="#br0" timeOffset="31985.73">15249 2328 0,'0'0'16,"-17"0"-16,17 19 0,17-2 31,0 0-16,1-17-15,-18 18 0,18-1 16,0 2-16,-18-2 16,0 18-1,-36 1 17,1-19-17</inkml:trace>
  <inkml:trace contextRef="#ctx0" brushRef="#br0" timeOffset="32216.16">15442 2169 0,'0'-17'0,"19"34"31,-2 37-15,1-37-16,-18 0 0,0 37 16,17-18-16,-17-19 0,17 0 15,-17 1-15,0 18 16,19-19-16,-19 0 16,17 1-16</inkml:trace>
  <inkml:trace contextRef="#ctx0" brushRef="#br0" timeOffset="32390.24">15425 2435 0,'17'-19'31,"2"2"-31,-2 17 0,18-18 15,18 1-15</inkml:trace>
  <inkml:trace contextRef="#ctx0" brushRef="#br0" timeOffset="33039.19">15778 2416 0,'0'-35'16,"0"18"-16,0 0 15,-18 51 1,0-34 0,18 35-1,0-16-15,18-19 16,0 17-1,17-17 17,-18 0-32,2-17 15,-2 17-15,18-19 16,-16 19 0,-2 0-1,0 19 1,1-19-1,-18 17-15,17 0 16,2-34 31,-2 0-31,0 17-1,-17-19 1,18 19-16,0 0 15,0 0-15,-1 0 16,0 0-16</inkml:trace>
  <inkml:trace contextRef="#ctx0" brushRef="#br0" timeOffset="33386.76">16254 2257 0,'0'19'16,"18"16"-1,-18 1 1,0-19-1</inkml:trace>
  <inkml:trace contextRef="#ctx0" brushRef="#br0" timeOffset="33872.76">16308 2257 0,'17'36'16,"-17"-18"-16,17-1 16,-17 2-16,18-19 31,-1 0-16,2-19-15,-2 19 16,0 0-16,-17-17 16,18 17-16,0 0 15,0 0-15,-18 17 16,17-17-16,0 0 16,2 19-16,-2-19 15,1 0 1</inkml:trace>
  <inkml:trace contextRef="#ctx0" brushRef="#br0" timeOffset="34116.71">17189 1817 0,'0'18'32,"17"-18"-17,-17 17-15,0 0 0,0 2 16,18-2-16,-18 1 0,18-1 16,-18 0-16,0 19 15,0-18-15,0-1 0,0 19 16</inkml:trace>
  <inkml:trace contextRef="#ctx0" brushRef="#br0" timeOffset="34549.66">17084 2152 0,'0'0'15,"17"-17"1,-17-1-16,53 0 16,-18 0-16,-18 1 15,19 0-15,-1-2 16,1 2-16,-19 17 16,1-18-16,18 18 31,-19 18-31,0-1 31,1-17-31,-1 19 16,2-19-16,15 0 15,-16 0-15,18-19 16,-19 2 0,0 17-16,-17-18 0,19 1 0,-19-2 31,-19 2-31,2 0 15,-18-1-15,-1 18 16,19 0-16,-19 0 16,-16 0-16,35 0 15</inkml:trace>
  <inkml:trace contextRef="#ctx0" brushRef="#br0" timeOffset="35068.72">18089 1923 0,'0'34'0,"0"-15"16,0-2-16,0 1 0,17-1 0,-17 2 16,0-2-16,0 0 15,0 1-15,0 0 16</inkml:trace>
  <inkml:trace contextRef="#ctx0" brushRef="#br0" timeOffset="35243.08">18036 1817 0,'-18'0'0,"36"0"0</inkml:trace>
  <inkml:trace contextRef="#ctx0" brushRef="#br0" timeOffset="35706.91">18265 1923 0,'0'17'0,"17"36"32,-17-35-17,36-36 32,-36 1-31,18 17-16,-18-19 15,17 19-15,0 0 16,2 0 0,-2 19 15,1-19 0,-1 0-15,2-19-1,-2 19 1,0 0-16,1 0 16,-1 0-1,19 0 1</inkml:trace>
  <inkml:trace contextRef="#ctx0" brushRef="#br0" timeOffset="36328.33">18636 1747 0,'17'17'16,"-17"0"-16,0 1 0,0 0 15,17 0-15,-17-1 0,0 19 0,19-1 16,-2 89 0,1-72-16,-18-34 15,17 17-15,-17-18 0,17 19 16,-17-18-16,0-1 16,19 0-16,-19 2 15,-19-55 16,19 1-31,0 17 16,0 0-16,0-52 16,0 52-16,0-35 15,0 18-15,0 18 0,0-2 0,0 2 16,19 0-16,-2-1 16,1 18-1,-1 0-15,2 18 16,-2-18-1,-17 17-15,0 0 16,0 2 0,0-2-1,-17-17-15,-2 18 16</inkml:trace>
  <inkml:trace contextRef="#ctx0" brushRef="#br0" timeOffset="36618.93">18848 1835 0,'17'0'16,"18"17"15,-18 0-15,2 2-1,-2-19-15,-17 17 16,17-34 15,-17-2-15,18 19-16,-18-34 16,18 16-1,-18 0 1</inkml:trace>
  <inkml:trace contextRef="#ctx0" brushRef="#br0" timeOffset="36875.44">19077 1764 0,'17'35'16,"-17"-17"-1,0 0-15,18-18 16,-18 17-1,17-17-15,0 0 16,2 0-16,-19-17 16,17-1-1,-17 0-15,0 0 16,-17 1-16,17 0 16,-19 17-16,2 0 15,0 0-15,-1 17 16,1-17-16,-2 17 0</inkml:trace>
  <inkml:trace contextRef="#ctx0" brushRef="#br0" timeOffset="38441.99">18018 2487 0,'-36'36'16,"36"-19"-16,-17 18 15,17 1 1,0-19-16,-17 0 0,17 2 0,0 33 16,0-33-16,0-2 15,0 0-15,0 1 0,0-1 16,17 2-16,0-2 15,2-17 1,-2 0-16,1 0 16,-18-17-1,17 17-15,-17-19 0,17 19 16,-17-17 0,19-1-16,-19 1 46,17 17-30,-17 17 78,18-17-79,-18 18-15,17-18 0,2 0 16,-2 0-16,0 0 16,1-18-1,0 18-15,0-17 16,-1 0 0,-34-2-1,17 2-15,0-1 16,-18 18-16,0 0 15,0-17 1,1 17-16,0 0 16,17 17-1,34-17 32,-16 0-31,0 18-16,0-18 15,-1 0 1,-17 17-16,17-17 0,1 0 16,-18 19-16,18-19 31,0 0 0,-1-19-15,0 19-1,2-17-15,-2 17 32,1 0-32,18 0 15</inkml:trace>
  <inkml:trace contextRef="#ctx0" brushRef="#br0" timeOffset="38902.06">18600 2505 0,'-18'0'0,"1"18"31,17 16-15,0-16-16,17 18 31,1-19-31,0-17 16,0 0-1,-1 0 1,0 0-16,2-17 15,-19-1-15,0 0 16,0 54 78,17-36-79,1 0-15,-1 0 16</inkml:trace>
  <inkml:trace contextRef="#ctx0" brushRef="#br0" timeOffset="39302.62">18882 2487 0,'18'36'46,"-18"-19"-30,0 0 0,0 1-1,17-18 17,2 0-17,-2 0 16,0 0-15,1 0 0,0 0-1,0 0-15</inkml:trace>
  <inkml:trace contextRef="#ctx0" brushRef="#br0" timeOffset="39543.22">19236 2347 0,'0'-19'15,"0"55"17,0-1-17,0-18-15,0 2 16,0-2-16,17 0 0,-17 1 15,0 0 1,17-18-16</inkml:trace>
  <inkml:trace contextRef="#ctx0" brushRef="#br0" timeOffset="39739.72">19146 2505 0,'-17'0'0,"53"-18"15,-36 0 1,17 18-16,1 0 16,-1 0-16,-17-17 15,19 17-15,-2 0 16</inkml:trace>
  <inkml:trace contextRef="#ctx0" brushRef="#br0" timeOffset="40018.35">19394 2416 0,'18'-17'16,"-36"34"-16,53-17 31,-35 19-15,17-2 15,2-34 32,-2-2-48,1 19-15,-18-17 16,17 17-16,0 0 0,2 0 15,-2-18-15</inkml:trace>
  <inkml:trace contextRef="#ctx0" brushRef="#br0" timeOffset="40690.83">19729 2347 0,'-17'0'0,"-1"17"31,18 0-31,-18 1 16,36-1 31,0-17-16,-1 0-15,0 0 15,-17 19-15,18-19-1,0-19 1,0 19-16,-1-17 15,-17-1-15,17 18 16,2-17-16,-19 0 16,17-2-16,1 2 15,-18-1-15,0 1 16,17 52 31,2 1-32,-19-19-15,0 0 16,0 1-16,17-1 0,-17 2 16,0-2-1,0 0 1</inkml:trace>
  <inkml:trace contextRef="#ctx0" brushRef="#br0" timeOffset="41008.4">19870 2452 0,'18'-17'0,"-1"-2"16,2 19-1,-2-17-15,0 17 16,1 0-16,-1 0 15,2-18 1,-2 36 0,0-1-1,-17 2 1,18-19-16,-18 17 16,18 0-1</inkml:trace>
  <inkml:trace contextRef="#ctx0" brushRef="#br0" timeOffset="41533.75">20258 2293 0,'0'18'16,"0"-1"0,-17 2-16,17-2 31,0 0-31,0 1 16,17-18-1,1-18 16,-1 1-15,-17 0 0,36 17 62,-19 0-63,1 0 1,0 0-16</inkml:trace>
  <inkml:trace contextRef="#ctx0" brushRef="#br0" timeOffset="42469.15">10892 4533 0,'-18'-36'0,"-16"55"15,15-19 1,-16 17-16,18-17 0,-2 0 16,2 18-16,-18-1 0,17-17 15,0 19-15,1-2 16,17 0-1,0 1-15,17-18 16,1 18 0,18 0-16,-19-18 0,0 0 0,19 17 15,-18-17-15,18 17 0,-19-17 16,18 18-16,18 0 16,-36-18-16,-17 18 15,18-1-15,-18 0 16,-18 19-1,-16-1 1,15-35-16,2 19 0,-1-19 16,-16 17-16,-2 0 15,18-17-15,1 0 16,-2 0 0</inkml:trace>
  <inkml:trace contextRef="#ctx0" brushRef="#br0" timeOffset="42768.74">11033 4497 0,'0'-17'15,"17"34"-15,1 19 16,0 35-1,0-54 1,-1 19-16,0-1 0,-17-18 16,19 1-16,16 18 15,18-19 1,-36-17-16,18 17 16,18-34-1,-17 17-15,-18-17 16,-1 17-16,0 0 15,-17-18 1</inkml:trace>
  <inkml:trace contextRef="#ctx0" brushRef="#br0" timeOffset="42947.88">11121 4692 0,'17'-35'31,"2"35"-31,-55 35 0,107-88 16,-18 35-16,-18 1 15,1 17 1,-19 0-16</inkml:trace>
  <inkml:trace contextRef="#ctx0" brushRef="#br0" timeOffset="43438.33">11492 4692 0,'0'0'0,"0"17"0,17 1 15,-17 0-15,0 0 16,17-1-16,2 0 16,-2-17-1,18 19-15,-16-19 16,-2 0-16,-17-19 16,17 19-16,1-17 0,0-18 15,-18 17 1,0 0-16,18-16 15,-18 16 1,0 0 0,0 0-1</inkml:trace>
  <inkml:trace contextRef="#ctx0" brushRef="#br0" timeOffset="43877.64">11880 4304 0,'17'35'31,"-17"-17"-31,19 17 16,-19 18-16,17-35 0,-17-1 15,-53-193-15,123 405 0,-52-194 16,-1-16-16,-17-2 15,19 0-15,-2 1 16,0 0 0,-51-36 15,15 18-15,19-18-1,-17 18-15,-18 18 16,18-18-1,17 18-15,-19-18 0,19 18 16,0-1 0,0 0-16,19 1 15,-2 0 1,0-18 0,1 0-16,18-18 15,-19 18-15,0 0 16,-17-18-16,18 18 0</inkml:trace>
  <inkml:trace contextRef="#ctx0" brushRef="#br0" timeOffset="44405.91">12074 4497 0,'-18'19'16,"18"-2"0,0 1-1,18-18-15,0 17 0,-1-17 16,18 0 0,1-17-16,-19 17 15,0 0-15,2 0 16,-2 0-1,18 17 1,-16-17-16,-2 19 0,-17-2 0,17 0 16,-17 1-16,18 18 0,-18-19 15,17 18-15,2 18 0,-19-36 16,0 19-16,0-18 0,0-1 16,0 19-16,0-19 0,0 1 15,-19-1-15,2 2 16,-1-19-1,1-19-15,17 2 16,-17-1-16</inkml:trace>
  <inkml:trace contextRef="#ctx0" brushRef="#br0" timeOffset="44939.2">12444 4321 0,'18'-34'0,"0"34"0,-1-19 16,0 19-16,2 0 15,-2 0-15,1 19 0,-1-19 16,0 0-16,2 17 0,-2 0 15,-17 1-15,18-18 0,-18 18 16,0 0-16,0 16 0,-18-15 16,18-2-16,0 1 0,-17-18 0,17 17 15,-19 0-15,19 2 0,0-2 16,-17-17-16,17 18 16,0-1-16,17-17 15,19 0 1,-18 0-1,-1-17-15,2 17 0,-2 0 16,0-18-16,1 18 0,18-17 16,-19 17-16,0-19 0,37 2 15,-37 17-15,19-17 0</inkml:trace>
  <inkml:trace contextRef="#ctx0" brushRef="#br0" timeOffset="45231.69">13397 4321 0,'88'-17'31,"-71"17"-15,19 0-16,-18-17 15,16 17-15,-15-19 0,-2 19 0,18 0 16,-35-17-16,17 17 16,2 0-16,16-18 0,-18 1 15,-17 0-15</inkml:trace>
  <inkml:trace contextRef="#ctx0" brushRef="#br0" timeOffset="45537">13414 3987 0,'54'-18'31,"-2"36"-15,-16-18-16,-19 17 16,36 0-16,-18 2 0,18-2 15,-18 1-15,-16-1 16,-2 19-16,18-19 0,1 37 16,-19-20-16,0 1 0,-17-16 15,0 15-15,0-16 0,0 18 16,-17-2-16,0 2 0,-2 16 0,-33 19 15,35-35-15,-19-1 16,18 1-16,-18-19 0,2 36 16</inkml:trace>
  <inkml:trace contextRef="#ctx0" brushRef="#br0" timeOffset="46564.65">15390 3916 0,'-53'105'0,"36"-86"0,-1 16 16,18-1-16,0 2 0,-18-18 0,18 18 15,0-19-15,0 18 16,0-18-16,0 2 0,0-2 0,18 0 15,-18 1-15,18 0 0,-1 0 16,0-18-16,1 0 0,0 0 16,0 0-16,16-18 0,-15 0 15,16 0-15,-18 1 0,0 0 16,2-2-16,-2 2 0,-17-1 16,18 18-16,-1-17 15,-17 34 1,0 1-1,19-1-15,-2 19 32,0-19-32,1-17 0,0 0 0,17 0 15,-18-17 1,1 17-16,0-17 16,-18-2-16,18 2 0,-18-1 15,-18 1-15,18 0 16,-18-2-16,-17 2 0,18 17 15,-1 0-15,0 0 16,0 0-16,1 0 0,0 0 16,-2 17-16,2-17 15,-1 19-15</inkml:trace>
  <inkml:trace contextRef="#ctx0" brushRef="#br0" timeOffset="47045.51">15849 4040 0,'35'35'15,"-35"-1"-15,17 2 16,-17-18-16,19-1 31,-19 2-15,17-38 15,0 2-15,1-1-16,-1 18 31,19 18-16,-19-18 17,1 0-1,0-18 0,0 18-15,-1 0-1,0-17-15,19 34 16,-18-17 0</inkml:trace>
  <inkml:trace contextRef="#ctx0" brushRef="#br0" timeOffset="47506.88">16360 3845 0,'17'54'32,"-17"-37"-32,0 0 0,19 1 15,-19 18-15,17-19 0,-17 19 16,17-1-16,-17 18 0,36 52 15,-36-70 1,18 1-16,-18-1 16,0-17-16,0 0 15,0-1-15,-18-34 32,18-1-32,0 0 15,0 0-15,0 1 0,18-54 16,-18 54-16,17 0 15,-17-19-15,17 1 0,2 16 16,16 2-16,-18 0 16,0 17-16,2 0 15,-2 0-15,1 17 16,-36 0 0,18 2-16,-17-2 15,-2-17-15,19 18 0,-17-1 16</inkml:trace>
  <inkml:trace contextRef="#ctx0" brushRef="#br0" timeOffset="48316.66">16836 3933 0,'-35'18'0,"18"0"15,17 0-15,-18 16 16,36-15 0,-18-2-1,0 1-15,17-18 0,-17 17 0,17-17 16,19 0 15,-18-35-15,-18 18-16,0-2 15,17-15 1,0 16 15,2 36-15,-2-18-16,-17 17 0,18 0 15,-1 2-15,2-2 16,-19 1-16,0-1 0,17 0 16,-17 2-16,0-2 15,17-17-15,-17 18 16,18-36 0,-18-18 15,17 19-31,-17-18 0,19 18 15,-2-19-15,0 19 16,-17-1-16,18 0 16,0 0-16,0 18 15,-1 0 1</inkml:trace>
  <inkml:trace contextRef="#ctx0" brushRef="#br0" timeOffset="48625.61">17277 4057 0,'36'-36'0,"-19"2"31,-17 16-16,-17 53 17,-2-18-17,19 2-15,0-2 0,19-17 16,-19 18-16,17-18 16,1 0-16,-1 0 15,19 0-15,-19 0 0,37-18 16,-2 1-16</inkml:trace>
  <inkml:trace contextRef="#ctx0" brushRef="#br0" timeOffset="49025.22">17860 3845 0,'-36'0'15,"36"18"-15,-18-18 0,1 17 16,0 2-1,-2 33 1,2-34 0,34 0-16,2-18 31,-2-18-15,0 18-16,-17-18 0,18 0 15,-1 1-15,2 0 0,-19-2 16,17 2-16,-17-18 0,0 18 15,17-19-15,-17 18 0,0 1 16,18-19-16,-36 72 47,18-19-47,0 1 0,0-1 16,0 19-16,0-19 0,0 1 15,18-1-15,-18 2 16,0-2-16,18 0 0,0 1 15,-1-18 1</inkml:trace>
  <inkml:trace contextRef="#ctx0" brushRef="#br0" timeOffset="49713.05">18917 3545 0,'36'-17'0,"-19"17"15,1 0-15,18 17 0,-19-17 16,0 0-16,2 18 16,-19 18-16,0-19 0,0 0 15,0 1-15,-19 0 0,2 17 16,0-18-16,-1 2 16,18-2-16,-18-17 15,18 18-15,-18-18 0,18 17 16,18-17 15,18 0-15,-19 0-16,0 0 0,2-17 15,33 17-15,-16-18 16,-19 18-16,1 0 0,-1-17 16</inkml:trace>
  <inkml:trace contextRef="#ctx0" brushRef="#br0" timeOffset="50847.34">19712 3387 0,'0'0'0,"-36"0"16,36 17-16,-18-17 0,1 19 0,0-19 16,-2 34-16,19-16 15,-17-18-15,17 17 0,-18 19 16,36-36 0,18 0-1,-36-17 1,17 17-16,0-19 0,1 19 15,0-17-15,0 17 16,16 0-16,-16 0 0,0 0 16,0 17-16,-1-17 15,0 19-15,2-2 0,-2 0 16,18 19-16,-16-18 0,-19 16 16,0-16-16,0 0 0,0 17 0,0-18 15,0 2-15,0-2 0,-19 1 16,19-1-16,-17 2 0,-1-19 31,1-19-15,17 2-16,0-1 0,0 1 15,0-2-15,0 2 16,17-18-16,1-1 16,-1 2-16,2 16 0,-19 0 15,17 0-15,0 1 16,-17 0-16,18-2 0,-1 19 0,-17-17 0,19-1 15,-19 1-15,17 17 0,-17-17 16,17 17 0,1 0 31,0 17-32,-18 0-15,18 1 16,16-1 15,-15-17-31,-2 0 16,18 0-1,-18-17 1,2 17 0,-2-18-1,-17 1-15,18 0 31</inkml:trace>
  <inkml:trace contextRef="#ctx0" brushRef="#br0" timeOffset="51248.35">20417 3281 0,'-17'0'0,"17"18"0,-18-1 15,18 0-15,0 2 0,-18-2 16,18 1-16,0 18 16,0-19-16,0 0 0,18-17 15,-18 18-15,18-18 16,-1 0-16,0 0 16,19 0-16,-18-18 15,-1 18-15,-17-17 16,17 0-16,-17-2 0,0 2 15,-17-1-15,17 1 16,0-2-16,-17 19 0,17-17 0,0 0 0,-18 17 16,0-18-16,0 18 15,1 0-15,0 18 16,-1-1 0,18 0-1,0 2 1,0-2-16,18-17 0</inkml:trace>
  <inkml:trace contextRef="#ctx0" brushRef="#br0" timeOffset="51665.07">20610 3281 0,'0'-18'0,"0"54"62,19-19-46,-19 0-16,17 2 15,1-2-15,-1-17 16,19 0 0,-19 0-16,1-17 15,0 17-15,-18-19 16,18 2-16,-1 0 0,0-1 15,-17 0 1,18 18-16,-18-18 16,18 36 15,-18 0-31,18 17 16,35-18 15,-1-17-31,-33 0 15,-2-17-15,0 17 0,1 0 16,-1 0-16,-17-17 0,36-1 16,-19 18-16</inkml:trace>
  <inkml:trace contextRef="#ctx0" brushRef="#br0" timeOffset="52099.61">21210 3033 0,'0'-52'0,"-17"35"31,34 86-15,-34-103-16,17 51 0,0 0 16,0 19-16,0-18 0,0 18 15,0-2-15,17 37 0,-17-36 0,0 18 16,0 0-16,18 1 0,-18-20 16,0 37-16,0-36 15,0 1-15,0-19 0,0 0 0,0 37 16,0-37-16,18 0 15,-36 2-15,36-72 32,-18 35-17,0 0-15,0-17 0,0 18 0,0-19 16,18-16-16,-18 16 0,0 1 0,17-36 16,-17 54-16,0-2 15,17-15-15,-17 16 0,19 0 16,-2 0-16,1 18 15,-1 0 1,2 18 0,-19 0-16,0 0 15,-19-1 1,19 0-16,0 2 16,19-19-1</inkml:trace>
  <inkml:trace contextRef="#ctx0" brushRef="#br0" timeOffset="52359.34">21581 3104 0,'0'-17'0,"0"53"46,0-19-46,17 0 0,-17 1 16,0 0-16,0 0 16,0-1-1,0 0-15,-17 1 0,0 0 16,-1 0-16,0-18 16,18 17-16,-18-17 15,1 0-15,0 17 0,-19-17 16</inkml:trace>
  <inkml:trace contextRef="#ctx0" brushRef="#br0" timeOffset="52931.64">16889 4763 0,'424'-142'0,"-336"108"15,105-37-15,-86 35 0,-2 19 16,142-54-16,-159 36 0,19 17 16,-19-17-16,70-18 15,-104 53-15,34-35 0,-35 18 16,-36 17-16,1 0 15,-36 34 17,1-34-32,-2 18 0,2-1 15,-18 2-15,-18-2 0</inkml:trace>
  <inkml:trace contextRef="#ctx0" brushRef="#br0" timeOffset="53180.15">17648 4692 0,'-18'0'15,"70"-17"1,-33-1-16,33 18 16,1-18-16,106-34 15,-71 33-15,0 2 0,-547 141 16,1095-302-16,-1306 373 0,1587-442 16,-776 211-16,-70 19 0,-19 0 15,36-1-15,-52 18 16,-1-18-16,1 18 0,-19 0 15,0 0-15,2 0 16,-38 18 0,2-18-1,17 18-15</inkml:trace>
  <inkml:trace contextRef="#ctx0" brushRef="#br0" timeOffset="76069.8">7470 12612 0,'0'35'0,"0"-17"0,0 17 16,0 0-16,0 18 0,0 0 15,0 18-15,0 0 0,0 17 0,-17 0 16,17 0-16,0 18 0,0 0 16,0-1-16,0 2 0,-19-2 0,19 19 15,-17-19-15,17 19 0,0-18 16,-17-1-16,17 2 0,-18-2 0,18 0 16,-18-15-16,18-2 0,0 0 0,-18-18 15,18 1-15,0-19 0,0 19 16,0-18-16,-17 0 0,17-1 15,-17 19-15,17-52 0,0-2 16,-19 0-16,19 1 0,0-1 0,0 2 16,-17-19-16,17-36 15,0 1-15,0-1 16</inkml:trace>
  <inkml:trace contextRef="#ctx0" brushRef="#br0" timeOffset="78495.78">7470 12595 0,'18'17'16,"-1"-17"-1,19 0 1,-19 0-16,37 17 15,-37-17-15,18 0 0,-18 0 16,54 0-16,-18 0 16,-17 0-16,33-17 0,-15 17 0,16 0 15,-16 0-15,16-17 0,-18 17 16,19 0-16,-18 0 0,18-19 0,-18 19 16,87 0-16,-69 0 15,17-17-15,19 17 0,-19-18 16,17 18-16,-16 0 0,17-17 0,-18 17 15,17 0-15,-16-17 0,17 17 0,87-19 16,-69 19-16,-36-17 0,19 17 16,-2-18-16,0 18 0,2 0 15,-19-17-15,124 17 0,-107 0 16,1 0-16,-18-19 0,72 19 16,-72 0-16,0 0 0,-18-17 15,1 17-15,17 0 0,-17 0 0,-1 0 16,1 0-16,0-17 15,-2 17-15,38 0 0,-73 0 0,20 0 16,16-18-16,-52 18 16,18 0-16,-19 0 0,0 0 0,18 0 15,-16 0-15,-2 0 16,0 0-16,1 0 0,0 0 31,0 0-15,-18 18-16,0-1 15,0 0-15,0 2 16,0-2-16,0 1 0,0 18 16,0-2-16,0 1 0,0 18 0,0 1 15,0-2-15,0 18 0,-18-16 16,18-1-16,0 18 0,0-19 0,0 18 0,0-16 16,0-1-16,0 18 0,0-19 15,18 72-15,-18-71 0,0 18 16,17-19-16,-17 18 0,17-16 15,-17 16-15,19-18 0,-19 2 16,17 16-16,1-16 0,-18-2 0,17 18 16,-17-16-16,17-1 0,2-1 0,-19 1 15,17 1-15,-17-2 0,18 1 16,-1-17-16,-17 16 0,19 1 0,-19-18 16,17 1-16,-17-1 0,17 1 0,-17-2 15,18-16-15,-18 18 0,0-2 16,17-15-16,-17-2 0,19 18 15,-19-16-15,0-2 0,17 0 0,-17 1 0,0-1 16,0 2 0,0-2-16,17-17 0,-17 17 0,0 1 15,0 0 1,0 0 0,18-1-1,-18 0 1,-18-17-1,18 19-15,0-2 16,-17-17-16,0 18 31,17-1-31,-19-17 16,2 0-16,17 17 0,-18-17 16,1 0-16,-19 19 15,19-19-15,-18 0 16,16 0-16,2 0 0,0 17 15,-1-17-15,1 0 0,-19 0 16,-17 0-16,18 0 0,-1 0 16,1 0-16,1 0 0,-56 0 15,38 0-15,-18 0 0,16 0 16,20 0-16,-20 0 0,1 0 0,1 0 16,-72 18-16,71-18 15,1 0-15,-19 0 0,18 0 16,-71 17-16,53-17 0,19 0 15,-55 19-15,55-19 0,-1 0 16,0 0-16,1 0 0,-55 17 16,55-17-16,16 0 0,-35 0 15,-51 17-15,68-17 16,-51 18-16,34-18 0,-17 0 16,52 17-16,-52-17 15,52 0-15,-52 19 16,54-19-16,-2 0 0,1 0 0,-18 17 15,-18-17-15,36 0 16,-53 0-16,52 17 0,2-17 16,-20 0-16,20 0 0,-2 0 15,-52 18-15,53-18 0,-1 0 16,1 0-16,-1 0 0,-16 18 0,34-18 16,-17 0-16,-36 0 15,35 0-15,2 18 0,-1-18 0,-1 0 16,1 0-16,-1 17 0,-34-17 15,35 17-15,-1-17 0,1 0 16,18 0-16,-19 19 0,1-19 0,-1 0 16,2 0-16,-2 0 0,18 17 15,-16-17-15,-2 0 0,1 0 0,-36 18 16,35-18-16,2 0 16,-2 0-16,1 0 0,18 0 0,-19 0 15,1 0-15,-1 0 0,1 17 16,-1-17-16,2 0 0,-20 0 15,-16 0-15,52 0 0,1 0 16,0 0-16,-2 0 0,2 17 16,-1-17-16,1 0 0,0 0 15,-2 0-15,2 0 16,-1 0 0,1 0-16,-2 0 15,2 0 1,0 19-1,-1-19-15,1 0 16,-2 0 0,2 0-1,0 0-15,-1 0 16,0 0-16,0 0 31,1 0 0,0-19-15,17 2 0,-19 17-1,19-17-15,-17-1 16,17 1 0,0-2-16,-18 2 0,18 0 15,0-1-15,0 0 16,0 0-16,0 1 0</inkml:trace>
  <inkml:trace contextRef="#ctx0" brushRef="#br0" timeOffset="79356.38">2990 14059 0,'-53'34'16,"0"20"-16,35-37 15,-18 36-15,36-35 0,-17 16 0,0 2 16,17-18-16,-18 52 15,18-52-15,0-1 0,0 19 16,0-19-16,0 1 0,0 0 0,18 0 16,-1-1-16,0 0 15,19-17-15,-18 19 0,-1-19 16,2 0-16,-2-19 0,18 19 0,-17 0 16,0-17-16,16 17 0,-16-17 15,0 17-15,0-18 0</inkml:trace>
  <inkml:trace contextRef="#ctx0" brushRef="#br0" timeOffset="79707.19">3166 14269 0,'35'36'15,"1"18"17,-19-37-32,-17 0 0,18 1 0,-1-1 15,-17 2-15,19-2 0,-19 0 16,17 1-16,-17 0 16,0-71 15,-17 0-16,17 35-15,0-16 16,0 15-16,0 2 0,0-1 16,0 1-16,17-2 0,-17 2 0,17 0 15,1-1 1,0 18 0</inkml:trace>
  <inkml:trace contextRef="#ctx0" brushRef="#br0" timeOffset="80051.82">3589 14147 0,'-35'34'16,"18"2"-1,17-18-15,0-1 0,0 0 16,17 19-16,-17-18 0,18-1 15,-18 2-15,17-2 0,2-17 16,-2 17-16,0-17 0,1 0 16,-1 0-16,2-17 0,-2 17 15,0 0-15,-17-17 16,0-37 0,0 37-16,0-2 0,-17 2 15,17 0-15,-36-18 16,19 16-16,17 2 15,-18 17-15,1-17 0,0 17 16,-2 17 0,19 0-1</inkml:trace>
  <inkml:trace contextRef="#ctx0" brushRef="#br0" timeOffset="80366.75">3818 14093 0,'-17'0'0,"17"18"0,17-36 0,-51 36 16,34 0-16,17 0 16,0-1-1,2-17-15,-19 17 16,17-17-16,1 19 0,-1-19 0,-17 17 15,17-17-15,2 18 0,-2-1 16,-17 0-16,18-17 0,-18 19 16,0-2-16,17-17 0,-34 35 15,-1 1 1,1-19-16,-2-17 16,2 18-16,0-18 15,-1 0 1</inkml:trace>
  <inkml:trace contextRef="#ctx0" brushRef="#br0" timeOffset="80672.83">4048 14111 0,'-35'18'16,"35"0"0,0-1-16,17-17 0,1 17 15,-18 2-15,18-19 0,0 17 16,-1-17-16,-17 18 0,17-18 0,-17 17 16,18-17-16,0 17 15,-18 2-15,0-2 16,0 1-16,-18-18 0,18 17 15,-18 2-15,18-2 0,-17-17 0,0 17 16,-1 1-16</inkml:trace>
  <inkml:trace contextRef="#ctx0" brushRef="#br0" timeOffset="81564.17">4524 14040 0,'-18'0'0,"18"19"47,0-2-32,0 0-15,0 1 0,18-18 16,-18 18-16,18 0 15,0-1-15,-1 0 16,19-17 0,-36-17-16,17 17 15,1 0 1,-1-17-16,2 17 0,-2 0 16,0 0-1,1-18-15,-1 18 16,2 0-1,-2 0-15,0 0 16,1-18 0,0 0-16,-18-16 15,0 15 1,0 2-16,0-1 16,35 36 30,-18-1-30,2-17-16,-2 0 0,-17 19 16,18-19-16,-1 0 0,0 0 15,2 0 1,-2 0-16,-17-19 31,0 2-31,0-1 0,0 1 16,0 0-16,-17-2 0,17-16 15,-19 35-15,19-17 0,0-2 16,0 2-16,0 0 16</inkml:trace>
  <inkml:trace contextRef="#ctx0" brushRef="#br0" timeOffset="81907.92">5177 13847 0,'-35'53'0,"35"-36"15,18 1-15,-18-1 0,0 2 0,0-2 16,17 0-16,0-17 0,19 35 15,-18-35 1,16 0-16,2-17 16,-18-18-1,-18-1 1,-18 1 0,1 35-16,17-17 15,-19 17-15,2-19 0,0 19 16,-1 0 15,0 0-31</inkml:trace>
  <inkml:trace contextRef="#ctx0" brushRef="#br0" timeOffset="82172.16">5370 13793 0,'0'0'0,"36"0"0,-36 18 0,18-18 16,18 18-1,-36 0-15,17-1 0,0 0 16,-17 2-16,18-19 0,-18 17 16,18 1-16,-18-1 15,18-17-15,-1-17 32,-17-1-32,0-18 15,0 2 1,0 16-16,0 0 0,0 0 15,17 18-15,-17-17 0,0 0 16,0-1-16,18 0 0,0 0 16,-18 1-16,18 0 0</inkml:trace>
  <inkml:trace contextRef="#ctx0" brushRef="#br0" timeOffset="82479.69">5777 13529 0,'17'0'0,"-17"18"16,0-1-16,0 2 15,0 15-15,18-34 0,-18 18 16,0-1-16,0 2 16,17-2-16,-17 0 0,19 1 15,-19 0-15,17-18 16,-34 18 15,17-1-31,-19-17 0,-16 35 16,35-17-16,-17-18 15,17 18-15,-17-18 0,17 17 0,0 0 16,17 2 0,0-38-1,1 19 1,-1-17-16,2 17 0,-2-17 16,0 17-16,1-18 0,18 0 0,-19 18 15,18-18-15,-17 1 0</inkml:trace>
  <inkml:trace contextRef="#ctx0" brushRef="#br0" timeOffset="83282">8281 12683 0,'-17'17'0,"17"0"0,36 213 15,-19-142 1,0 106-16,1 36 16,-18 16-16,0-104 15,0 104-15,0-139 16,0 192-16,0-210 15,0-20-15,0 2 0,0-18 0,0 1 16,0-2-16,0-34 0,0 17 16</inkml:trace>
  <inkml:trace contextRef="#ctx0" brushRef="#br0" timeOffset="83782">8952 12647 0,'88'248'16,"-71"-160"-16,54 334 15,-35-139 1,-19-142-16,0 1 16,1-2-16,0-34 0,0 0 0,-1-1 15,0 2-15,19 69 0,-18-88 16,-1-18-16,0 1 15,2-35-15,-2 16 0,-17-16 0,18-19 0,-18 1 16,0-1-16,17-17 0</inkml:trace>
  <inkml:trace contextRef="#ctx0" brushRef="#br0" timeOffset="84309.47">7910 13371 0,'71'-18'16,"18"18"-16,-249 18 0,372-54 0,-141 36 16,17-18-16,0 18 0,19-17 15,15 0-15,-15 17 0,34-19 0,18 2 16,0-1-16,-1 1 0,1-2 16,17 2-16,177 0 15,-177-1-15,212-18 0,-212 19 16,2 0-16,15-1 0,-17 18 15,1-18-15,-18 0 0,-18 18 0,-18-17 16,1 17-16,-1-17 0,-17 17 0,-18 0 16,0 0-16,-34 0 0,-1 0 15,-36 0-15,1 0 0,-1 0 0</inkml:trace>
  <inkml:trace contextRef="#ctx0" brushRef="#br0" timeOffset="84886.64">7276 13935 0,'494'17'15,"-371"-34"-15,-16 17 0,33 0 0,160-35 16,-123 35-16,16-19 0,2 2 16,-2 0-16,2-1 0,16 0 15,1 0-15,0 1 0,0 17 0,210-35 16,-210 17-16,-18 0 0,0 18 16,1-17-16,-36 17 15,-37-17-15,108 17 0,-142 0 0,-18 0 16,-34 0-16,-1 0 0,-18 0 0,2 17 15</inkml:trace>
  <inkml:trace contextRef="#ctx0" brushRef="#br0" timeOffset="85368.74">7012 14588 0,'34'17'16,"-16"1"-16,0-18 15,17 0-15,36 0 0,-1 17 0,18-17 16,19 0-16,33 0 0,-16 0 15,17 0-15,53 0 0,0 0 16,18 0-16,-1 0 0,18-17 0,1 17 16,16-18-16,-16 1 0,18 17 0,228-36 15,-230 36-15,-16-17 16,-18-1-16,0 18 0,-19-18 0,142 18 16,-211 0-16,0 0 15,-19-18-15,-34 18 0,-1 0 16,-16 0-16,-37 0 0</inkml:trace>
  <inkml:trace contextRef="#ctx0" brushRef="#br0" timeOffset="85871.66">10010 12647 0,'0'282'0,"18"160"16,-1-266-1,-17 18-15,17-18 0,2 18 0,-2-17 16,1-1-16,-1 0 0,19-17 0,-1-1 16,-17-16-16,0-18 0,-1-19 15,18-17-15,-35 0 0,18 1 16,0-37-16,-18 19 0,0-35 0</inkml:trace>
  <inkml:trace contextRef="#ctx0" brushRef="#br0" timeOffset="86334.04">11157 12524 0,'35'105'0,"-18"-34"16,2 17-16,-2 0 0,0 53 15,1 1-15,18-1 0,-2 176 16,-16-141-16,18 300 16,-19-317-16,-17-18 0,17 1 15,2-1-15,-2-17 0,-17-19 0,35 90 16,-18-19 0,2-88-16</inkml:trace>
  <inkml:trace contextRef="#ctx0" brushRef="#br0" timeOffset="87414.5">8722 13512 0,'0'35'32,"0"-18"-32,0 2 0,0-2 0,0 0 15,0 1-15,0-1 0,18 2 0,-18-2 16,0 0-16,0 1 0,0 0 16,0 0-1,0-1-15,0-52 31,0-54 1,0 72-32,0-1 0,0 1 15,0-19 1,17 19-16,-17-1 0,19 18 0,-2-17 16,18 34-1,-17 1-15,0-1 16,-1 2-16,-17-2 15,17 0-15,-17 1 0,0-1 16,19 2-16,-19-2 16</inkml:trace>
  <inkml:trace contextRef="#ctx0" brushRef="#br0" timeOffset="87592.7">8688 13741 0,'88'-36'16,"34"2"0,-68 34-16,16-19 0,1 2 0</inkml:trace>
  <inkml:trace contextRef="#ctx0" brushRef="#br0" timeOffset="89142.4">10574 13371 0,'0'17'47,"0"18"-47,0-17 16,0 0-16,0 16 16,-17-15-16,17-2 0,-17 1 0,-19 35 15,36-36 1,-18 1-16,1-1 0,-2 2 15,2-19-15,0 17 16</inkml:trace>
  <inkml:trace contextRef="#ctx0" brushRef="#br0" timeOffset="89297.92">10328 13493 0,'34'19'16,"20"16"-1,-20-35-15,-15 17 16,16-17-16,1 19 0,-2-19 0,20 17 16,-2 0-16,-16 1 0,17-1 15</inkml:trace>
  <inkml:trace contextRef="#ctx0" brushRef="#br0" timeOffset="89805.9">11404 13988 0,'34'17'31,"2"1"-15,-18-18-16,-1 0 0,19 0 16,-19-18-16,37 1 15,-37 0-15,0 17 16,1 0-16,-18-19 0,18 19 16,-18 19-1,0 15 1,-18-16-16,18-1 0,-18 19 0,18 17 0,-17-18 15,0 18-15,17-18 16,-19-18-16,19 19 0,-17-1 0,17-16 16,0-2-16,-18 18 0,18-18 0,-17 2 15</inkml:trace>
  <inkml:trace contextRef="#ctx0" brushRef="#br0" timeOffset="90634.54">8740 15047 0,'36'-36'16,"-19"36"-16,0-18 15,1 18-15,0 0 0,0 0 0,-1 0 16,0-17-16,2 17 16,-2 0-16,1 17 15,-18 1 1,0-1-16,-18 2 0,18-2 15,-17 0-15,17 18 16,-19-16-16,19-2 16,19 18-1,-19-17-15,17 0 16,18-1 0,-18-17-16,2 0 15,-2 0-15,1 0 16</inkml:trace>
  <inkml:trace contextRef="#ctx0" brushRef="#br0" timeOffset="90785.98">8776 15257 0,'-19'-17'0,"55"0"15,-19-1-15,19 0 16,-1 0-16,1 1 0,-19 0 0,18-2 15,-18 2-15,19-1 16,-18 1-16,-1 0 0,2-2 0,-2 2 16,-17-1-16</inkml:trace>
  <inkml:trace contextRef="#ctx0" brushRef="#br0" timeOffset="91213.67">8300 13600 0,'17'159'0,"-34"-318"16,69 618-1,-16-318-15,-19-1 0,18 1 0,1 1 16,-19-18-16,0 16 0,2-34 0,-2-18 16,1 18-16,-1-17 0,0-20 15,-17 2-15,19 0 0,-2-18 16,-17 0-16,0-18 0,18-18 0,-18 19 0,0-18 16,0-1-16</inkml:trace>
  <inkml:trace contextRef="#ctx0" brushRef="#br0" timeOffset="91887.86">8122 13600 0,'107'-124'0,"-90"107"0,54-54 16,-36 36-16,18-1 16,-18 19-16,1-19 0,-2 1 0,2 18 0,16-19 15,-33 19-15,16-1 0,-18 18 0,19-17 16,-19 17-16,1 0 16,-1 0-16,2 0 0,15 0 0,-16 17 0,0 18 15,17 1-15,1-1 16,-19 1-16,18 34 0,18 70 15,-35-69-15,-1 17 0,2-17 0,-2 17 16,0 1-16,1-1 0,0-17 16,0 17-16,-1 0 0,18 0 0,-17-18 15,0 18-15,-1-17 0,19 0 16,-19-1-16,18 1 0,1-18 0,-19 17 16,18-34-16,-16 17 0,15-18 0,2 1 15,-18 16-15,-1-16 0,18-2 0,-17-16 16,-18 18-16,18-19 0,-1 19 15,-17-19-15,0 1 0,0 16 16,0-15-16,0 16 0,0-18 16,-17 2-16,-1-2 0,0 18 15,-17-18-15,-53 19 0,35-1 16,-1-17-16,-15 0 0,16-18 0,-18 17 16,18 0-16,-89 19 15,90-36-15,-18 0 0,-1 18 0,35-18 16,1 0-16,1-18 0,15 18 15,-16-17-15,18-2 0</inkml:trace>
  <inkml:trace contextRef="#ctx0" brushRef="#br0" timeOffset="93535.73">7612 13635 0,'352'-106'16,"-264"89"-16,18-2 0,-18 2 0,124-36 16,-106 35-16,52 1 15,1-18-15,0-1 0,-1 19 0,-16-19 16,16 1-16,18 18 0,2-19 15,-20 1-15,1 18 0,17-19 0,-17 19 16,-1-1-16,1 0 0,-35 0 0,-1 1 16,1 17-16,0-17 0,-36-2 15,17 19-15,54-17 0,-89 17 16,-16 17-16,-1-17 0,-1 0 0,-16 19 16,35-2-16,-54 0 15,0 1-15,19 0 0,-18 0 16,-1-1-16,0 0 0,1 2 0,-18 16 15,18-18-15,0 0 0,-18 2 16,17-2-16,-17 1 0,0 18 0,0-2 16,-17 2-16,17-18 0,-18 16 15,0 2-15,-17-1 0,18 1 16,-19-1-16,1-18 0,-1 19 16,1-1-16,-18-18 0,18 19 0,-18-19 15,0 19-15,1-18 0,-2-1 0,-16 18 16,-1-17-16,-17 0 0,0-1 15,0 19-15,-89-1 0,71-18 16,18-17-16,-17 19 0,-2-2 16,2 0-16,-2-17 0,2 18 0,0-1 15,-2-17-15,2 19 0,-19-2 0,18-17 16,-18 17-16,2-17 0,15 0 16,-122 18-16,123 0 0,1-18 15,-2 0-15,-227 18 16,228-18-16,0 0 0,0 0 15,0 0-15,36 0 0,-19 0 0,18 0 16,-17 0-16,18-18 0,-1 18 16,2 0-16,15-18 0,1 18 15,1-18-15,-1 18 0,35-17 0,-18 17 16,19-17-16,-19-19 0,19 18 16,-1 1-16,18 0 0,0-19 15,0 18-15,18-35 0,-1 18 0,54-53 16,-35 52-16,17 2 0,-1-20 15,1 37-15,1-19 16,86-35-16,-70 54 0,1-18 16,0 17-16</inkml:trace>
  <inkml:trace contextRef="#ctx0" brushRef="#br0" timeOffset="94433.99">11333 12683 0,'17'70'31,"-17"-18"-31,18 2 16,0 34-16,-18 0 0,18 1 0,-1 16 16,19 142-16,-19-106 15,1 1-15,35 122 0,-18-140 16,-18 17-16,19-53 0,-19 17 0,19-17 16,-18 0-16,16 19 0,-16-19 15,0 0-15,0-17 0,-18 17 16,17-35-16,-17 0 0,0-1 0,0 2 15,17-37-15,-17 19 0,0-19 0,-17 1 16,17-1-16,0 2 16,-17-55-1,-1 18-15</inkml:trace>
  <inkml:trace contextRef="#ctx0" brushRef="#br0" timeOffset="94928.51">11386 12912 0,'88'-53'0,"-53"53"15,1-18-15,-19 18 16,37-17-16,-20 17 0,2 0 0,-1-19 16,0 19-16,1 0 0,-2 0 0,2 19 15,-18-2-15,18-17 0,-2 18 0,1 18 16,1-19-16,-19 18 0,1 18 15,18-18-15,-19 18 0,0 0 0,1-1 16,-18 2-16,18-1 0,0 0 16,-1 17-16,19 90 15,-19-91-15,1 20 0,-1-19 0,2 0 16,15 20-16,-16-21 0,-18-16 0,17 1 16,2 16-16,-2-18 0,0 55 15,1-55-15,-18-16 0,0 17 16,0-18-16,0-18 0,0 54 15,-18-35-15,1-1 0,0 1 0,-2-19 16,-16 18-16,1-17 0,15 0 16,-16-18-16,-1 17 0,2-17 15,-2 0-15</inkml:trace>
  <inkml:trace contextRef="#ctx0" brushRef="#br0" timeOffset="96705.45">7841 15628 0,'35'-35'16,"-18"35"-16,0-18 0,2 0 16,-2-16-16,18 15 0,1-16 15,35-53-15,-37 35 0,20 1 16,-20-1-16,2-1 0,18 1 15,-20-16-15,20-2 0,-20 0 16,20 1-16,-20-1 0,73-70 0,-55 70 16,1 0-16,1 1 0,-2-1 15,18 0-15,1 2 0,17-20 16,53-17-16,-70 36 0,17 16 16,-17 2-16,17-1 0,-18 0 15,18 1-15,2-2 0,-2 1 0,0 18 16,-18-18-16,18 0 0,0 1 0,-17-2 15,17 20-15,-17-20 0,-1 18 16,1 2-16,0-1 0,-1-1 0,1 1 16,-19-1-16,1 19 0,1-19 0,-2 19 15,1-1-15,52-35 16,-51 36-16,-1-18 0,-18 16 0,1-15 16,16 16-16,-16 0 0,-2-17 15,2 18-15,-18-1 0,16 0 0,-15 0 16,16 1-16,-18 0 0,19-2 15,-19 19-15,1-17 0,18 17 0,-19-18 16,0 18-16,19-17 0,-18 17 16,16-17-16,2 17 0,-18-19 0,18 19 15,-19 0-15,18-17 0,-18 17 0,2 0 16,-2 0-16,18 0 0,-17 0 16,0 0-16,-1 0 15,0 17-15,1 2 0,-18-2 0,0 0 16,0 1-16,0 18 15,0 34-15,0-35 0,-18 0 0,18 18 16,-17 0-16,17-18 0,-17 18 16,-1-18-16,0 1 0,0-1 15,1 18-15,0-17 0,-2-1 0,-16-1 0,18 2 16,-19-1-16,19 1 16,-18-19-16,-1 19 0,19-1 0,-19 0 15,-34 35-15,34-34 0,19-18 16,-19 18-16,-16-2 0,16 1 15,1 18-15,-71 18 0,54-18 16,16-35-16,-16 35 0,-2-18 0,18-18 16,-16 19-16,16-1 0,2 1 15,-20-2-15,20 2 0,-2-18 16,-35 52-16,36-35 0,-1 1 16,19-19-16,-18 18 0,-1-16 15,-34 50-15,35-33 0,-1-19 16,1 19-16,-18-1 0,18 1 0,-18-1 15,0-1-15,1 2 0,-2-1 16,1 1-16,1-19 0,-1 19 0,-53 34 16,53-34-16,0-2 15,-18 2-15,19-1 0,-1 1 0,-1-1 16,-34 18-16,35-36 16,-18 37-16,37-20 0,-1-15 15,16-2-15,2 1 0,0-1 16,-1 0-16,0 2 0,-17-2 15,18 1-15,-1-1 0,0 2 0,0-2 16,-16 18-16,15-35 16,2 17-16,-1 2 0,1-2 0,-2 0 15,-15-17-15,16 18 0,1 0 0,-19 0 16,1 16-16,-1-15 16,19-19-16,0 17 0,-2 1 0,-16-18 15,18 17-15,0-17 0,-2 17 16,2-17-16,-1 19 0,1-19 0,-19 17 15,19-17-15,-1 18 16,1-1-16,-2-17 0,2 19 16,17-2-16,-35 0 0,17 1 15,0 0-15,1-18 16,17 18-16,-17-18 0,-2 0 16,2 17-16,-1-17 0,1 0 15,-19 0-15,19-17 0,-18 17 0,16 0 16,-15-18-16,-2 18 0,1-18 15,-36 0-15,54 1 0,-19 0 16,19-2-16,-18-16 0,16 18 16,19-2-16,0-15 0,19-20 15,-2 2-15,18-18 0,72-72 16,-19 37-16,-18 16 0,18 1 16</inkml:trace>
  <inkml:trace contextRef="#ctx0" brushRef="#br0" timeOffset="102142.81">16025 12841 0,'105'-17'0,"-87"17"15,0 17-15,17 18 16,-35-16-16,17-2 0,-51 88 16,-20 2-1,-16-38 1,52-33-16,-16-18 0,15-1 0,-50 36 15,33-35 1,18 0-16,1-18 16,17 18-1,35-36 17,-18 18-32,2 0 0,50-18 15,-50 18-15,33-18 16,-16 18-1,-19 0-15,0-17 0,1 17 0,0 0 16</inkml:trace>
  <inkml:trace contextRef="#ctx0" brushRef="#br0" timeOffset="102837.75">16625 12859 0,'-124'70'0,"107"-35"15,17-16-15,-18-2 0,36 18 16,-18-17-16,34 0 16,-15-18-1,-2 0-15,1 17 0,-1-17 0,0 0 16,2 17-16,-2-17 0,1 19 15,18-2-15,-2 18 16,-16-18-16,0 2 0,-18-2 16,-18 37-1,18-20-15,-18-16 0,1 0 0,0 0 16,-2-18-16,2 17 0,-1 0 0,1 1 16,-19-18-1,19 0-15,-1 0 16,18-18-1,0-16-15,18-2 16,-1 18-16,-17 1 0,17 0 16,2-2-16,-2 2 0,18-1 0,-16 1 15,51-36 1,-35 53-16,-18-18 0,19 1 0,-18 17 16,16-19-16,-15 19 0</inkml:trace>
  <inkml:trace contextRef="#ctx0" brushRef="#br0" timeOffset="103281.67">17048 12929 0,'-52'18'16,"52"-1"-16,-19 2 16,19-2-16,-17 0 0,17 1 15,0 0-15,17 17 16,-17-18-16,0 2 0,19-2 15,-2-17-15,0 18 0,1-18 16,-1 0-16,2 0 0,-2 0 0,0 0 16,1 0-16,0-18 0,0 18 15,-18-17-15,0-2 0,17 2 16,-34 0-16,17-1 0,0 0 0,-18 0 16,0 1-16,-17-19 15,18 36 1,17-17-16,-19 17 0,2 17 31</inkml:trace>
  <inkml:trace contextRef="#ctx0" brushRef="#br0" timeOffset="103667.72">17436 12929 0,'0'-17'16</inkml:trace>
  <inkml:trace contextRef="#ctx0" brushRef="#br0" timeOffset="104206.62">16784 12912 0,'17'0'16,"0"35"0,-17-18-16,0 2 15,0-2-15,0 0 0,18 1 0,-18 0 16,0 0-16,-18-18 0,18 17 16,0 19-1,18-72 32,-18 19-47,18-19 0,-18 18 16,18 1-16,-1 0 0,0-19 15,2 18-15,-2 1 0,1 17 16,-1-17-16,2 17 0,-2 0 0,0 0 16</inkml:trace>
  <inkml:trace contextRef="#ctx0" brushRef="#br0" timeOffset="105100.9">17401 12912 0,'0'0'0,"-17"17"16,17 1-1,-19-1 1,19 2-16,0-2 0,19 0 0,-19 1 15,0 0-15,17 0 16,-17-1 0,17-17-16,18 0 0,-16 0 15,-2-17 1,0 17-16,-17-18 0,36-18 16,-18 36-16,-18-17 15,17 0-15,0-2 16,-17 38 15,19 15-31,-19-16 16,17 0-1,1-18 1,-1 0 0,0 0-16,-17-18 0,36-17 15,-18 18 1,-18-2-16,17 2 0,-17-18 15,19-1 1,-19 19-16,17 17 0,-17-18 16,0 36-1,0-1 1,-17 54 0,17-1-16,-19-16 0,19-20 15,0 2-15,-17-1 0,-1 72 16,18-73-16,0-16 0,-17 52 15,17-52 1,0 18 0,17-72 15,1-52-15,-1 36-16,2 16 0,-19 1 15,17-1-15,0 19 0,-17-18 16,18 16-16,-1 19 0,-17-17 0,19 0 15,-2 17-15,-17-18 0,35 36 32,-35 16-17,-18-15-15,1 16 16,17-18 0,0 0-1</inkml:trace>
  <inkml:trace contextRef="#ctx0" brushRef="#br0" timeOffset="105374.8">18036 12964 0,'17'19'16,"-17"-2"-16,0 0 16,17-17-16,-17 18 0,0 0 0,0 0 15,0-1 1,0 19-16,-17-36 16,17 17-16,-17-17 0,17 18 0,-18-18 15,18 17-15,-17-17 0,-2 17 0,2 2 16,0-19-16</inkml:trace>
  <inkml:trace contextRef="#ctx0" brushRef="#br0" timeOffset="106114.8">16254 14129 0,'0'-18'0,"18"54"16,-36-2 0,18 2-1,0-18-15,0-1 0,0 0 0,0 19 16,0-18-16,-17-1 0,17 2 16,0-2-16,0 0 0,0 37 15,17-37-15</inkml:trace>
  <inkml:trace contextRef="#ctx0" brushRef="#br0" timeOffset="106433.96">16484 14217 0,'-18'0'0,"36"0"0,-54 18 31,36 16-16,0-15-15,0-2 0,18-17 0,-18 18 16,35 35 0,-18-36-16,2-17 0,50 18 15,-50-18-15,-2 0 16,54 0-16,-54-18 16,1 1-16,0-19 15,-18 19-15,0-1 16,-36-35-1,19 36-15,0 17 0,-2-18 16,2 18 0,-1 0-16,1 0 0,-2 18 15,2-18-15,0 17 0</inkml:trace>
  <inkml:trace contextRef="#ctx0" brushRef="#br0" timeOffset="107606.46">21122 13935 0,'18'-18'15,"0"36"16,-18-1-31,0 2 16,0-2-16,18 0 0,-18 1 0,0-1 16,0 2-16,0-2 0,17 0 0,-17 1 15,0 0-15,0 34 16,0-33 0,0-2-16,17-17 0,-17 18 0</inkml:trace>
  <inkml:trace contextRef="#ctx0" brushRef="#br0" timeOffset="107999.67">21581 13935 0,'0'-18'0,"0"53"31,-17 1-15,17-19-16,0 1 15,17-1-15,-17 2 16,0-2-16,17 0 0,-17 1 16,19-18-16,-2 18 0,1-18 15,35-18 1,-36 18-1,1 0-15,-18-18 0,17 18 0,2-17 16,-19 0-16,17-2 0,-17 2 16,-17-18-1,-2 18-15,19-2 0,-17 2 16,-1-1-16,1 18 0,-19-17 31,19 17-31,-1 0 0,-18 0 16,2 0-16</inkml:trace>
  <inkml:trace contextRef="#ctx0" brushRef="#br0" timeOffset="112136.74">16518 14588 0,'36'-19'0,"35"19"32,-54 0-32,18 0 0,1 0 15,-19 0-15,19 0 0,-18 0 0,-1 0 0,18 0 16,18 0-1,-36 0-15</inkml:trace>
  <inkml:trace contextRef="#ctx0" brushRef="#br0" timeOffset="112317.57">16396 14781 0,'52'0'15,"1"-17"1,-17 17 0,-1 0-16,-1 0 0,2 0 0,-1 0 15,106-17-15,-70 17 16</inkml:trace>
  <inkml:trace contextRef="#ctx0" brushRef="#br0" timeOffset="112888.71">21476 14359 0,'-19'0'0,"90"0"16,-35 0-16,-19 0 16,54 0-1,-37-19-15,2 19 0,-18 0 0,18 0 0,52 0 16,-71 0-16,18 0 15</inkml:trace>
  <inkml:trace contextRef="#ctx0" brushRef="#br0" timeOffset="113054.38">21617 14464 0,'35'0'0,"-18"0"15,0 0-15,2 0 0,-2 0 0,37 0 16,-20 0-16,2 0 16,-1 0-16,-18 0 0,19 0 0,-18 0 15,16 0-15</inkml:trace>
  <inkml:trace contextRef="#ctx0" brushRef="#br0" timeOffset="115349.72">14244 15664 0,'-18'69'0,"18"-50"15,0-2-15,0 1 0,18 35 16,-18-18-16,0-17 16,0 17-16,0-18 15,0 19 1,17-54 15,18-70-15,-17 36-1,17 16 1,-35 18-16,17 1 16,2 17-16,-19-19 0,17 19 15,1 19-15,-1-19 16,0 35-1,-17-18-15,0 2 16,19 15 0,-19-16-16,0 0 15,17-36 17,1 18-17,-18-18-15,17 1 0,2 0 16,-2-2-1,0 19 1,1 19 0,0-19-1,0 17-15,-1 0 16,0 1 0,-17 0-16,18-18 15</inkml:trace>
  <inkml:trace contextRef="#ctx0" brushRef="#br0" timeOffset="115934.62">14825 15716 0,'19'71'16,"-2"-54"-16,0 2 16,1-19-1,-18 17-15,17-17 0,2 0 16,-2 0 0,0-36-1,1 36-15,-18-17 16,0-1-16,0 1 15,0-2-15,0 2 16,18 17 0,0-17-1,-1 17-15</inkml:trace>
  <inkml:trace contextRef="#ctx0" brushRef="#br0" timeOffset="116217.46">15178 15645 0,'-36'19'15,"19"-19"-15,17 17 16,0 1-16,17-1 16,2 0-1,-19 2-15,0-2 16,17 1-1,-17-1-15,18 2 16,-36-2-16,1 0 16,-2 1-1,2-18-15,0 18 16</inkml:trace>
  <inkml:trace contextRef="#ctx0" brushRef="#br0" timeOffset="116411.57">15249 15733 0,'17'19'31,"-17"-2"-31,18-17 16,-18 35-1,0-16-15,0-2 0,0 0 16,18 1 0</inkml:trace>
  <inkml:trace contextRef="#ctx0" brushRef="#br0" timeOffset="116600.47">15302 15523 0</inkml:trace>
  <inkml:trace contextRef="#ctx0" brushRef="#br0" timeOffset="116887.55">15601 15611 0,'-17'17'0,"-1"-17"0,1 17 16,-2 2-16,19-2 16,-17-17-16,17 18 0,0-1 0,-17 19 15,17-19 1,17 1 0,0-1-16,37-17 15,-18 0 1,-19 0-1,0-17-15,1 17 0,0 0 0</inkml:trace>
  <inkml:trace contextRef="#ctx0" brushRef="#br0" timeOffset="118189.58">23221 15187 0,'-17'18'16,"17"0"-16,0-1 15,0 0-15,0 2 0,0-2 0,0 18 16,0-18 0,0 19-16,0-18 15,0-1-15,0 2 16,0-2-1,17-34 1,2-19 0,-2 18-1,-17 1-15,17-2 0,1 2 0,18-18 16,-36 18-16,17 17 0,0 0 16,-17-19-16,36 38 15,-18-19-15,-18 17 16,17-17-16,-17 18 0,17-1 15,2 0-15,-19 19 16,17-18 0,-17-1-16,18-17 31</inkml:trace>
  <inkml:trace contextRef="#ctx0" brushRef="#br0" timeOffset="118509.59">23698 15276 0,'0'35'32,"0"-18"-17,0 0 1,18-17-16,-1 19 15,0-19 1,2-19 0,-2 19-16,1-34 15,-18-1-15,0 16 16,-18 2 0,1 0-16,-2-1 15,2 18 1,0 0-1</inkml:trace>
  <inkml:trace contextRef="#ctx0" brushRef="#br0" timeOffset="119487.09">24386 15152 0,'-18'35'0,"18"-17"0,0 0 0,0-1 15,0 0 1,0 2-16,0-2 15,18-53 32,0 19-31,-18 0 0,17 17-16,0-18 15,1 18-15,0 0 0,0 0 16,-1 0-1,0 18 1,2-1-16,-19 0 16,17-17-16,-17 19 15,0-2 1,18-17 0,-1-17-1,-17-2 1,17 19-16,2-17 15,-2 17 1,1 0 0,-18 17-1,17-17-15,-17 19 0,19-2 16,-2-17 0,-17 18-1,17-18-15,1 0 16</inkml:trace>
  <inkml:trace contextRef="#ctx0" brushRef="#br0" timeOffset="119815.53">24933 15135 0,'-19'34'31,"19"2"-15,19-1-1,-2-35-15,1 0 16,-1 17-16,19-34 31,-19 17-31,-17-17 16,18-1-16,-18 0 15,17 18 1,-17-18-16,0 1 16,19 17-1,-2 0-15</inkml:trace>
  <inkml:trace contextRef="#ctx0" brushRef="#br0" timeOffset="120114.89">25338 15135 0,'-17'17'31,"17"0"-15,17 1-16,-17 0 15,18 0 1,-18-1-16,17-17 0,-17 17 15,0 2 1,0-2 0,-17 1-16,-18-1 15,35 0-15,-36-17 16,19 19 0</inkml:trace>
  <inkml:trace contextRef="#ctx0" brushRef="#br0" timeOffset="120290.73">25462 15169 0,'0'-17'0,"18"52"31,-18-17-15,-18 0-16,18-1 15,0 0 1,0 2-16,0-2 0</inkml:trace>
  <inkml:trace contextRef="#ctx0" brushRef="#br0" timeOffset="120429.12">25497 15011 0,'0'0'16</inkml:trace>
  <inkml:trace contextRef="#ctx0" brushRef="#br0" timeOffset="120674.65">25744 15116 0,'-71'53'16,"71"-35"-16,-17 18 16,17-19-1,0 0 1,17-17-16,0 19 0,2-19 15,16 0 1,-18 0 0,2 0-16</inkml:trace>
  <inkml:trace contextRef="#ctx0" brushRef="#br0" timeOffset="120989.57">24245 15681 0,'35'-17'15,"-18"17"1,19 0-16,-19 0 0,19 0 0,-1-19 0,18 19 16,-1 0-16,2-17 0,70 0 15,-72 17-15,1-18 16,0 18-16,-1 0 0,-16-18 0,70 18 16,-89 0-16,2 0 15,-2 0-15,0 0 16</inkml:trace>
  <inkml:trace contextRef="#ctx0" brushRef="#br0" timeOffset="121245.87">24245 15823 0,'105'0'15,"-69"-19"-15,123 2 16,-90 17 0,126-18-16,-124 18 15,-1-17-15,-16 17 0,-2 0 0,18 0 16,-16 0 0,-20-19-16,-15 19 0,-2 0 0,1 0 15,-1 0-15</inkml:trace>
  <inkml:trace contextRef="#ctx0" brushRef="#br0" timeOffset="126897.78">13749 11007 0,'36'-18'78,"-19"18"-63,18 0 1,36 0-16,-35 0 16,-2 0-16,-15 0 0,16 0 0,53 0 15,-52 0-15,16 0 16,72 0-16,-71 0 16,-1 0-16,-16 0 0,105 18 15,-106-18 1,18 0-16,-18 0 0,53 0 15,-52 0-15,-1 0 0,-18 0 16,19 0-16,-19 0 0,1 0 0,0 0 16,53 0-1,-54 0-15,1 0 0,-1 0 16,0 0-16,2-18 16,-2 18-1,1 0 1</inkml:trace>
  <inkml:trace contextRef="#ctx0" brushRef="#br0" timeOffset="128162.51">13432 10389 0,'17'-17'46,"19"17"-30,-19 0-16,1 0 16,35 0-16,-17 0 15,-19 0-15,159 0 16,-88 0 0,-52 0-16,87 0 0,-70 0 15,1 0-15,86 0 16,-87 0-16,-17 0 0,52 0 15,-17 0-15,-37 17 16,20-17-16,-2 0 16,-16 0-1,-19 0 1,0 0 0,2 0-16,-2 0 15,1 0 16</inkml:trace>
  <inkml:trace contextRef="#ctx0" brushRef="#br0" timeOffset="129653.14">16413 13600 0,'35'-17'0,"-17"17"0,17 0 0,1 0 16,123-19-16,-89 2 15,141 17 1,-140-18-16,-1 18 0,18 0 0,-17-17 16,0 17-16,-18 0 0,-1-19 15,-16 19-15,17 0 0,-35 0 0,16 0 16,-15 0-16,-2 0 0,1 0 15,-1 0-15</inkml:trace>
  <inkml:trace contextRef="#ctx0" brushRef="#br0" timeOffset="129876.2">16696 13741 0,'88'0'16,"-71"0"0,18 0-16,18 0 0,123-36 15,-123 36-15,18 0 0,-18-17 16,-1 17-16,19-17 0,-35 17 16,-1 0-16,1-19 0,-2 19 0,2 0 15,-18 0-15,-1 0 0,0 0 0,2-17 16,-2 17-16</inkml:trace>
  <inkml:trace contextRef="#ctx0" brushRef="#br0" timeOffset="135032.53">5953 11800 0,'141'19'0,"-123"-19"0,35 0 0,18 0 0,158 17 16,-124-17-1,1 0-15,-17 17 0,16-17 0,1 0 16,247 18 0,-229 0-16,123-18 15,-125 0-15,-15 18 0,-2-18 0,1 0 16,142 0-1,-178 17-15,-18-17 0,2 0 0,-20 0 16,20 0-16,-37 0 0,19 17 0,16-17 16,-33 0-16,-2 0 15,0 0-15,1 18 0,0-18 32,0 0-32,-1 0 0,0 0 15,2-18 32,-2 1-47</inkml:trace>
  <inkml:trace contextRef="#ctx0" brushRef="#br0" timeOffset="140629.87">17648 14111 0,'-18'36'31,"18"-2"-15,-17-15-16,17-2 15,0 35 1,-19-33-16,19-2 15,0 1-15,0-1 0,-17 2 16,17-2-16,0 0 16,17-51 15,2-20-15,-19 18-16,17 2 15,1-20-15,-1 20 16,-17 16-16,17-18 0,2 19 0,-19 0 15,17-2-15,18-33 16,-16 52-16,15 0 16,-34 17-16,18-17 15,-18 18-15,36 35 16,-19 0 0,-17-18-16,0-18 0,17 2 15,-17 33-15,0-35 16,0 2-16</inkml:trace>
  <inkml:trace contextRef="#ctx0" brushRef="#br0" timeOffset="140832.59">17524 14288 0,'124'-19'15,"-107"19"-15,0 0 0,54-17 16,-52 17-16,-2-17 16,0 17-16</inkml:trace>
  <inkml:trace contextRef="#ctx0" brushRef="#br0" timeOffset="141082.6">17453 14040 0,'-35'36'15,"18"-1"-15,0-17 0,17 17 0,-36 53 16,18-52-16,18-1 16,0 1-16,0-19 15,0 18-15,18-18 0,-18 19 0,53 17 16,-18-53-16,-18 18 0</inkml:trace>
  <inkml:trace contextRef="#ctx0" brushRef="#br0" timeOffset="141382.51">18177 13864 0,'17'0'0,"-34"0"0,52 17 0,-17-17 16,34 54-16,-34-37 15,0 19-15,17-19 0,-18 18 16,-17 1-16,36 69 16,-36-69-16,0-1 0,-17 72 15,17-90-15,-36 71 16,36-71-16,0 1 15</inkml:trace>
  <inkml:trace contextRef="#ctx0" brushRef="#br0" timeOffset="141985.67">22833 13793 0,'-17'18'15,"17"18"1,0-19-16,-18 36 16,18-35-16,0-1 15,-17 2-15,17-2 0,0 0 0,0 18 16,-19-35-16,19 19 0,0-2 16,0 0-1,19-17 1</inkml:trace>
  <inkml:trace contextRef="#ctx0" brushRef="#br0" timeOffset="142465.67">22833 13776 0,'36'-35'15,"-19"35"-15,18 0 16,-16 0-16,-2 0 15,-17 18 1,0-1-16,0 0 16,-17 1-16,-2 18 15,19-19 1,0 0 0,19 2-1,-19-2-15,17-17 0,-17 18 16,17-1-16,1 2 15,-18-2-15,0 0 16,-18 1-16,-16 18 16,15-19-1,2-17-15,-18 17 0,18-17 0,-19 18 16,-35 0-16,54-18 16,-1 0-16,1-18 0</inkml:trace>
  <inkml:trace contextRef="#ctx0" brushRef="#br0" timeOffset="142726.48">22622 13705 0,'-89'54'0,"72"-37"0,17 0 0,-18 19 15,18-18-15,0 16 0,-17-15 16,17 16-16,0-18 0,0 19 0,0-19 16,17 18-16,-17 1 0,18-19 0,-1 19 15,-17-18-15,36-1 0,-19 0 16,1 2-16,0-19 0,0 17 16,-1-17-16,19 0 0,-19 0 0,1 0 0,-1 0 15</inkml:trace>
  <inkml:trace contextRef="#ctx0" brushRef="#br0" timeOffset="143042.45">23150 13564 0,'90'19'15,"-73"-2"-15,18 18 0,-35-18 16,18 19-16,0-1 0,16 35 16,-34-34-16,0-1 0,0 1 0,0-1 15,0 1-15,0 16 0,-17-16 16,0 16-16,-1-16 0,-52 34 15,51-35-15,-16 1 0,-1-1 0,-69 35 16,52-52 0</inkml:trace>
  <inkml:trace contextRef="#ctx0" brushRef="#br0" timeOffset="149881.54">16589 15311 0,'0'34'16,"0"20"-1,0-37-15,-17 19 0,17-19 0,0 1 16,0 18-16,0-19 0,0 0 0,0 1 15,0 0-15</inkml:trace>
  <inkml:trace contextRef="#ctx0" brushRef="#br0" timeOffset="150889.48">16554 15823 0,'52'17'16,"-52"0"-16,0 1 15,0 0 1,-17 0-16,17-1 0,17-17 15,-17 17 1,19 1-16,-2 0 16,1-18-16,18 18 15,-36-1-15,0 0 16,17-17 0,-34 19-16,17-2 0,-19-17 15,19 18-15,-17-1 0,-1-17 16,1 17-16,-2 2 0,2-19 15,0 17-15,-1 1 0</inkml:trace>
  <inkml:trace contextRef="#ctx0" brushRef="#br0" timeOffset="151369.69">16660 16387 0,'0'-18'0,"-18"18"16,-18 18 0,19-1-1,17 0-15,0 2 16,17-2-1,2 1 1,-2-1-16,1 2 16,-1-2-1,-52 0 1,18 1 0,-19-18-1,19 17-15,-1-17 0,1 19 16,-2-2-16,2-17 0</inkml:trace>
  <inkml:trace contextRef="#ctx0" brushRef="#br0" timeOffset="152014.54">16484 16987 0,'0'-18'0,"-18"18"63,0 18-48,0-18-15,1 17 16,0 0 0,17 1-1,-19-18-15,19 18 16,-17 17-1,-1-18 1,18 2 0,0-2-1,0 1-15,18-18 0,18 17 32,-19-17-32,18-17 0,-17 17 15,0 0-15,-1 0 0,0 0 0,2-18 16,-2 18-16,1 0 0,-1-17 15,0-2-15</inkml:trace>
  <inkml:trace contextRef="#ctx0" brushRef="#br0" timeOffset="152187.6">16554 16951 0,'-17'0'15,"17"18"-15,-19 0 16,19-1-16,0 0 15,0 1-15,-17 0 0,17 0 0,0 16 16,0-15-16,0-2 0,0 1 16,0-1-16,0 0 0,0 19 15,0-18-15,0-1 0</inkml:trace>
  <inkml:trace contextRef="#ctx0" brushRef="#br0" timeOffset="152498.04">16396 17675 0,'-19'34'32,"19"2"-17,0-18 1,19-1-16,-19 0 15</inkml:trace>
  <inkml:trace contextRef="#ctx0" brushRef="#br0" timeOffset="152605.26">16484 17885 0,'17'19'0,"-52"16"16,17-35-16,18 17 15,-18-17-15</inkml:trace>
  <inkml:trace contextRef="#ctx0" brushRef="#br0" timeOffset="152728.57">16518 18097 0,'-17'18'32</inkml:trace>
  <inkml:trace contextRef="#ctx0" brushRef="#br0" timeOffset="153677.68">17065 15257 0,'36'-17'0,"-19"17"16,37 0-16,-37 0 16,18 17-1,-17-17-15,0 19 0,-1-2 16,0 1-16,-17-1 0,19 0 15,-19 2-15,0 16 0,0 70 16,17-52-16,-17 1 0,0 16 16,0 1-16,0-19 0,0 19 15,0-1-15,18 1 0,-1 194 16,2-89 0,-2-88-16,-17 0 0,17 0 0,1 0 15,-1-17-15,2 18 0,-2-19 16,0 0-16,1 1 0,0 0 0,0-1 15,-1-16-15,0-2 0,2 1 0,-19 0 16,17 1-16,-17-2 0,18-16 16,-18-2-16,0 2 0,0-18 15,0 16-15,0-16 0,0 18 0,0-19 0,0 0 16,-18 2-16,18-2 16,-17 1-16,-2-18 0,2 17 15,0-17-15,-19 0 0,18 0 16,1 0-16,0 0 15,-19 0-15,1 19 0,-53-19 16,35 0-16,17 0 0,18-19 16,-16 19-16,16 0 0,-18-17 15,19-1-15</inkml:trace>
  <inkml:trace contextRef="#ctx0" brushRef="#br0" timeOffset="155244.82">18194 15945 0,'-17'36'47,"0"-36"-47,-2 52 16,19-33-16,-17 16 0,17 18 15,-18-36-15,18 18 0,0 1 16,0-19-16,0 19 0,0-18 16,0 16-16,0-16 0,18 0 0,-18 0 0,17-18 15,-17 17-15,19-17 0,-2 17 16,0-17-16,1 0 15,18-17 1,-36 0 0,-18-1-16,0 0 15,0 0-15,1 18 16,0-17-16,-2 17 0,2-17 0,-18 17 16,16 0-16,2 0 15,0 0 1</inkml:trace>
  <inkml:trace contextRef="#ctx0" brushRef="#br0" timeOffset="155666.69">17860 15963 0,'-36'70'0,"18"-34"0,18-18 0,0 16 15,-17 37-15,17-18 0,0 1 16,0-2-16,0 1 0,0 0 0,17 1 16,-17-20-16,18 20 0,-18-20 15,17-16-15,19 52 16,-19-51-16,1-19 0,0 17 15,0-17-15,35-17 16,-18-2-16,-1-15 0,2 16 16,18-71-16</inkml:trace>
  <inkml:trace contextRef="#ctx0" brushRef="#br0" timeOffset="156025.79">18177 15681 0,'17'0'0,"54"52"16,-36-16-1,1-1-15,69 106 16,-86-87-16,15-20 0,-16 20 16,-1 16-16,-17-16 0,0 122 15,-35-106-15,18 1 16,-71 52-16,35-53 0,-1-16 15,2-1-15,-18-18 0,34 1 0,1-19 16,-1 0-16</inkml:trace>
  <inkml:trace contextRef="#ctx0" brushRef="#br0" timeOffset="158243.01">21740 14835 0,'-18'34'0,"18"-16"0,-17-18 15,17 18-15,0 17 16,-19-18-16,19 2 0,0-2 16,0 1-16,0-1 0,0 2 0,0-2 15,0 0-15,19 1 16,-19-1-16</inkml:trace>
  <inkml:trace contextRef="#ctx0" brushRef="#br0" timeOffset="158789.32">21686 15540 0,'0'-17'16,"-17"34"0,0-17-16,17 17 0,0 1 15,0 0-15,-18-18 0,18 18 0,0-1 16,0 0-16,0 2 0,0-2 0,-17 1 15,34-1 1,-17 0 0,18-17-16</inkml:trace>
  <inkml:trace contextRef="#ctx0" brushRef="#br0" timeOffset="159405.51">21898 15469 0,'-17'18'16,"34"-36"-16,-51 53 0,16 1 15,18-19 1,0 1-16,-18 0 0,18 0 15,18-1-15,-18 0 16,18 2-16,-1-19 0,0 17 16,37-34-1,-37 17-15,0 0 0,2-19 16,-19 2-16,17-18 16,-34-1-1,-2 19-15,2 0 16,0 17-16,-19 0 15,1 0-15,18 17 16,-1-17-16</inkml:trace>
  <inkml:trace contextRef="#ctx0" brushRef="#br0" timeOffset="160812.12">21864 16033 0,'-36'19'0,"18"-2"0,1-17 0,17 18 15,-17-1-15,-2 0 0,2 2 16,17-2-16,-18-17 0,18 18 16,0-1-16,18 2 15,18-38 1,-2 2 0,-16 17-16,0 0 15,0 0 1,-1 17-16,-17 2 15,0-2-15,0 36 16,0-35 0,0-1-16,17 0 0,-17 1 0,0 0 15,0 0-15,0-1 0</inkml:trace>
  <inkml:trace contextRef="#ctx0" brushRef="#br0" timeOffset="161624.76">21828 16687 0,'53'0'15,"-18"0"1,-17 0-1,0 0-15,-18 17 16,0 0 0,17-17-16,-17 19 0,0-2 0,0 1 15,0 16-15,0-15 0,0-2 16,0 1-16,0-1 0,0 2 16,0 15-16,-17-34 15,17 18-15,0 0 0,17 0 0</inkml:trace>
  <inkml:trace contextRef="#ctx0" brushRef="#br0" timeOffset="161787.39">21898 16987 0,'18'-36'15,"0"36"-15,0-18 16,-1 18-16,0-17 0,19 0 15,-1 17-15,-16 0 16,-2 0-16,0-19 0,1 38 0,-1-19 16</inkml:trace>
  <inkml:trace contextRef="#ctx0" brushRef="#br0" timeOffset="162276.31">21986 17409 0,'19'0'16,"-2"0"-16,1 18 15,-1 0-15,2 0 16,-19-1-16,0 0 0,0 2 16,0-2-16,0 1 0,0-1 15,0 2-15,-19-2 16,19-53 15,19-16-15,-19 33-16,0 2 15,0 0-15,0-1 0,0 0 16,0 0-16,-19 1 0,19 0 16,-17-1-16,-1 18 0,18-18 15,-17 18-15,-2-18 0,2 18 16,-18 0-16,17-17 15</inkml:trace>
  <inkml:trace contextRef="#ctx0" brushRef="#br0" timeOffset="163395.66">21952 18009 0,'-54'18'16,"37"-1"-16,0-17 0,17 19 16,-18-2-16,0-17 0,18 17 15,-18-17-15,18 18 16,0 0-16,-17-18 15,34 18-15,-17-1 16,18-17 0,0 0-16,17 0 15,-18 0-15,1 0 16,0 0 0,0 0-16,-1-17 15,0-1 1,-17 0-16,-17-17 31,17 18-15,-17 34 15,17 36-15,0-18-1,0 1-15,0-1 16,17-1-16,-17-15 15,0-2-15,0 1 0,0-1 0,0 2 16</inkml:trace>
  <inkml:trace contextRef="#ctx0" brushRef="#br0" timeOffset="163598.98">21846 18627 0,'-18'0'32,"18"17"-17</inkml:trace>
  <inkml:trace contextRef="#ctx0" brushRef="#br0" timeOffset="165282.82">21440 14940 0,'-71'0'0,"54"17"0,-1-17 16,1 0-1,-2 0-15,2 0 0,0 0 16,17 19-16,-18-19 0,0 17 15,0 1 1,18-1-16,0 2 0,0-2 0,-17 0 16,17 18-16,0 1 0,0-1 0,0 1 15,0-2-15,0 2 0,-17 70 16,17-1-16,0-52 16,0 1-16,0 16 0,0-18 15,0 19-15,0 0 0,0-18 0,0 18 16,0 17-16,17-18 0,-17 1 0,0-18 15,17 17-15,-17-17 0,18 18 16,-18-18-16,0 18 0,18-19 0,-18 1 16,18 0-16,-18-1 0,0-16 15,17 18-15,-17-20 0,0 2 0,0-1 16,0 18-16,0-1 0,0-16 0,0-1 16,0 18-16,0-18 0,0 18 15,-17-17-15,17 16 0,0 2 0,0-20 16,-18-15-16,18 16 0,0 1 15,0 16-15,-18-35 0,18 2 16,0 15-16,0-16 0,0 0 16,-18 17-16,18 0 0,0-17 15,0 17-15,-17-18 0,17 2 16,0 16-16,0-18 0,-17 2 16,17-2-16,0 0 0,0 1 0,0-1 15,0 2-15,0-2 0,0 0 16,-18 1-16,18 0 15,0 0-15,0-1 16,0 0-16,-18 2 16,18-2-16,0 1 15,0-1-15,0 19 16,0-19-16,0 1 0,0-1 16,0 2-16,18-2 15,-18 0-15,18 1 0,-1 0 16,0-18-16,1 18 0,0-18 15,0 0-15,16 0 0,-15 0 16,-2 0-16,18 0 0,-16-18 0,-2 18 16</inkml:trace>
  <inkml:trace contextRef="#ctx0" brushRef="#br0" timeOffset="166363.67">20452 15981 0,'-52'-18'16,"16"0"-16,18 18 16,1 18-1,17 0-15,17 34 32,1-33-32,0-2 0,-18 1 0,18 16 15,-1 2-15,0-18 16,-17-1-16,0 2 0,18-2 0,-18 0 15,-18 1-15,18 0 0,0 0 16,-17-1-16,17 0 0,-17-17 16,-1 0-16,0 0 15,0 0 1,18-17 0,18-18-1,0 35-15,0-18 0,-18 0 0,17 18 16,-17-17-16,17 0 0,1-2 15,-18 2-15,0-1 0,0 1 0,18-2 16,-18 2-16,-18 0 0,18-1 16,-18 1-16,18-2 0,-17 2 15,0 0-15,-1-1 0,0 0 16,0 0-16,1 18 0,0-17 16,-2 17-16,2 0 0,-1 0 15,1-17-15,-2 17 16</inkml:trace>
  <inkml:trace contextRef="#ctx0" brushRef="#br0" timeOffset="166635.93">20082 15681 0,'-53'71'0,"53"-54"0,-36 107 16,19-72 0,17 2-16,0-1 0,0 70 15,0-70-15,0 0 0,0-1 16,17-16-16,2-1 0,-19 1 16,17-1-16,0-18 0,-17 2 0,18-2 15,0 0-15,0-17 0,-1 18 0,0-18 16,2 0-16,16-18 15,-18 1-15,0 0 0</inkml:trace>
  <inkml:trace contextRef="#ctx0" brushRef="#br0" timeOffset="166978.4">20505 15593 0,'53'18'15,"-1"16"-15,-157-86 0,264 140 16,-142-53-16,19 1 0,-1 16 0,1 1 16,-19 1-16,0-2 0,1 1 15,0 0-15,-18 18 0,0-19 0,-18 19 16,-34 87-16,16-87 0,-35 53 16,36-71-16,-1-1 15,2-16-15</inkml:trace>
  <inkml:trace contextRef="#ctx0" brushRef="#br0" timeOffset="172533.55">18882 16351 0,'54'0'31,"-37"0"-31,0 0 0,71 0 16,-69 0-16,50-18 16,-50 18-16,16 0 0,1 0 15,-2 0-15,-16 0 0,18 0 0,-19 0 16,18-17-16,18 17 0,-36 0 15,2 0-15,16-17 0,-18 17 16,0 0-16,19-18 0</inkml:trace>
  <inkml:trace contextRef="#ctx0" brushRef="#br0" timeOffset="172836.04">19376 16192 0,'36'0'16,"-19"19"-16,0-19 0,19 17 15,-18 0 1,16 1-16,-15 0 0,-2 0 15,1-1-15,-18 0 0,17-17 16,-17 36-16,-17-18 16,17-1-16,-18 0 0,1 2 15,-2-2-15,-15-17 0,16 18 0,-35-1 16,36 2-16,-1-19 16,-18 17-16</inkml:trace>
  <inkml:trace contextRef="#ctx0" brushRef="#br0" timeOffset="173301.19">18936 16211 0,'-36'17'16,"36"0"-1,-18 1-15,1-18 0,17 18 16,0 0-16,-17 16 0,17-16 0,0 0 16,-19 0-16,19-1 0,19 0 0,-2 19 15,-17-18-15,17-18 0,1 17 16,35 2-16,-36-19 15,19 0-15,-1 0 0,-18 0 0,19 0 16,-1 0-16,1 0 0,-1-19 16,1 19-16,-2-17 0,-16 17 0,0-18 15</inkml:trace>
  <inkml:trace contextRef="#ctx0" brushRef="#br0" timeOffset="176209.62">15302 12453 0,'-141'-17'0,"105"34"0,1-17 15,-35 0-15,16 0 0,-68 35 16,51-35-16,18 19 0,-18-19 0,18 17 16,1 0-16,-2-17 15,1 18-15,1-1 0,-1 2 0,-1-2 0,20 0 16,-2-17-16,1 18 0,-1 0 15,19 0-15,-18-1 0,-1 18 16,1-17-16,18 17 0,17-18 16,-19 2-16,2-2 0,17 18 15,-17-16-15,17 15 0,0-16 0,0 18 16,-18-2-16,18 2 0,0-18 0,0 35 16,18-1-16,-18 1 0,0 18 0,17-18 15,-17 35-15,17 0 0,-17 0 16,0-17-16,0 34 0,-17-17 0,17 19 15,-17-19-15,-1 17 0,18 2 0,-18-2 16,-17 142-16,18-123 16,17 17-16,-36 89 0,36-89 15,0-36-15,-18 18 0,18 1 0,-17 17 16,17-35-16,0 0 0,0 17 16,0-16-16,0-19 0,0 105 15,0-105-15,17 1 0,-17-1 16,0 0-16,18-34 0,-18 16 15,0-18-15,17 19 0,-17-18 0,19-1 16,-19 2-16,17-1 0,-17-18 0,0 1 16,0-19-16,17 18 0,-17-17 15,0 0-15,18-36 16,0 0 0,0-17-16</inkml:trace>
  <inkml:trace contextRef="#ctx0" brushRef="#br0" timeOffset="177801.38">24333 12453 0,'88'18'16,"-53"-18"-16,-17-18 0,105 18 15,-52 0-15,-18 0 0,18 0 16,-1 0-16,-18 0 0,19 0 0,-18 0 15,-18 18-15,18-18 0,-17 0 16,35 17-16,-36-17 16,-1 19-16,2-2 0,-18-17 0,-1 17 15,19 1-15,-19-18 0,1 17 16,0 19-16,0-19 0,-18 1 0,17 18 16,18 34-16,-17-35 0,0 18 15,-18-18-15,17 18 0,0 1 16,2-2-16,-2 37 0,1-37 15,-1 1-15,0 1 0,-17-2 0,19 1 16,-2 0-16,-17-1 0,18 2 16,-1-1-16,2-1 0,-19 1 15,17 18-15,0-18 0,-17-1 0,18 2 0,0-1 16,-18 18-16,18-19 16,-1 54-16,-17-35 0,17-19 15,-17 1-15,18 18 0,0-18 0,-18-1 16,18 2-16,-18-1 0,17 18 15,-17-19-15,17-16 0,-17 16 0,19 1 16,-19 0-16,0 1 0,17-2 0,-17 1 16,18 0-16,-18-18 0,0 18 15,17 35-15,-17-53 0,0 1 16,0 69-16,19-69 16,-19 16-16,0-16 0,0 16 0,0-16 15,0 18-15,17 16 16,-17 18-16,0-53 0,0 1 0,0-1 15,0-1-15,0 2 0,0-1 16,0 1-16,0-1 0,17 35 16,-17-34-16,0 16 0,0-16 0,0-1 15,0 1-15,0-1 0,18 1 16,-18 34-16,0-35 16,17 1-16,-17-1 0,0-1 0,0 2 15,19-1-15,-19 1 0,0-1 0,17 1 16,-17-2-16,0-16 0,17 18 15,-17-2-15,18 2 0,-18-1 0,18-18 16,-18 19-16,18-1 0,-18-16 16,17 33-16,-17-34 0,17 17 15,1 0-15,-18 1 16,18-19-16,-18 19 0,0-19 0,18 1 16,-18-1-16,0 19 0,0-19 0,17 1 15,-17-1 1,0 2-16,0-2 0,0 0 0,0 1 15,17-18-15,-17 18 0,0 0 16,-17-18 0,17 17-16,-17 0 15,-1-17 1,0 18 0,0-18-16,1 0 0,0 0 15,-1 0-15,0 0 0,0 18 16,-123 17-16,53-18 15,17 19-15,-17-1 0,-17 1 16,-19-1-16,-35 35 0,1-16 0,-18 16 16,-283 106-16,176-88 0,-17 36 15</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4.130"/>
    </inkml:context>
    <inkml:brush xml:id="br0">
      <inkml:brushProperty name="width" value="0.025" units="cm"/>
      <inkml:brushProperty name="height" value="0.025" units="cm"/>
      <inkml:brushProperty name="ignorePressure" value="1"/>
    </inkml:brush>
  </inkml:definitions>
  <inkml:trace contextRef="#ctx0" brushRef="#br0">57 5,'-7'6,"2"0,0 1,-1 0,2-1,-1 1,1 1,0 0,1-1,-1 1,2 0,-1 0,-1 10,4-15,0-2,0 2,0 0,0-1,0 1,0-2,0 2,1 0,-1-1,2 0,-2 0,1 1,0-2,1 2,-2 0,1-2,0 0,3 5,-1-4,1 0,-1 0,-1 0,2 0,-1 0,1-1,-1 0,1 1,-2-2,2 1,0 0,-1-1,1 0,0 2,-1-2,5-2,1 2,2-1,-2 0,0-2,1 0,-1 1,0-1,1-1,-2 0,1 0,11-8,-17 11,-2-1,2 1,-1 0,0-1,0 0,1 0,-2 1,1-2,0 2,0-2,-1 2,0-2,1 1,-1 0,0 0,1-1,-1 0,-1 1,1-1,1 0,-2 1,0-1,1 0,-1 1,0-1,0 0,0 1,-1-1,1 2,0-2,-2 0,2 1,-1-1,0 0,1 1,-2-1,1 2,0-2,-1 0,1 1,-4-2,1 0,0 0,-2 0,2 1,-1-1,0 1,1 1,-2-1,1 2,-2-2,2 2,0-1,-1 1,1 0,-2-1,-10 2,-7-1</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5.546"/>
    </inkml:context>
    <inkml:brush xml:id="br0">
      <inkml:brushProperty name="width" value="0.025" units="cm"/>
      <inkml:brushProperty name="height" value="0.025" units="cm"/>
      <inkml:brushProperty name="ignorePressure" value="1"/>
    </inkml:brush>
  </inkml:definitions>
  <inkml:trace contextRef="#ctx0" brushRef="#br0">42 0,'19'0,"28"3,-47-3,1 0,-1 0,0 0,0 0,0 0,0 0,0 0,0 0,1 0,-1 0,0 0,0 0,0 0,0 0,0 0,0 0,0 1,0-1,2 0,-2 0,0 0,0 0,0 0,0 0,0 0,0 1,0-1,0 0,0 0,0 0,0 0,0 0,0 0,0 2,0-2,0 0,0 0,0 0,0 0,0 0,0 0,0 1,0-1,0 0,0 0,0 0,0 0,0 0,0 0,-2 0,2 1,0-1,0 0,0 0,0 0,0 0,0 0,0 0,-26 15,15-10,0 1,2-1,-2 2,2-1,-11 9,19-15,1 1,-2 1,1-2,1 1,-1 0,-1-1,2 2,-1-1,1 0,0 1,-1-2,1 1,0 0,-2 1,2-1,0 0,0 1,0-1,0 0,0 1,0-2,0 4,2-3,-1 2,0-2,1 2,-1-2,0 0,1 1,-1 0,0 0,1-1,0 0,0 1,0-1,0 0,0-1,0 2,0-1,4 0,-2 1,1 0,-1 0,0 0,0 1,0 0,0-1,0 1,0 0,-1 1,1-2,-2 2,1 0,1 0,-1 0,-1 0,0 0,3 8,-4-10,-1 0,0 0,2-1,-2 2,0-2,0 2,0-2,0 2,-2-2,2 0,0 2,0-2,-1 1,1 0,-1 0,-1-1,2 2,-2 1,-1-2,0 1,1 0,-1-1,0 1,-1 0,2-2,-1 2,-1-2,1 0,-1 2,0-2,-4 2,-17 4,1-5</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6.713"/>
    </inkml:context>
    <inkml:brush xml:id="br0">
      <inkml:brushProperty name="width" value="0.025" units="cm"/>
      <inkml:brushProperty name="height" value="0.025" units="cm"/>
      <inkml:brushProperty name="ignorePressure" value="1"/>
    </inkml:brush>
  </inkml:definitions>
  <inkml:trace contextRef="#ctx0" brushRef="#br0">73 1,'63'0,"-55"0,-42 0,26 1,-1 1,1-1,-1 2,1-2,-2 3,2-1,-10 6,15-8,0 1,2-2,-2 1,2 2,-2-2,2 0,0 1,-2-1,2 2,-1-2,1 2,0-2,-1 2,0 1,2-3,0 0,0 1,0-1,0 0,0 1,0-1,0 0,0 1,0-1,0 0,1 1,-1-1,0 0,1 1,-1-1,2 0,-2 1,1-1,0-1,-1 1,2 1,-1-1,-1 0,1-1,1 2,-1-2,2 2,50 22,-46-22,-1 0,0 0,0 0,1 1,-2 1,1-1,0 1,6 4,-12-7,2 2,-1-2,0 0,-1 2,2-2,-2 1,1 0,-1 0,0 0,1 0,-1 0,0 0,0-1,0 2,0-2,0 2,0-2,-1 2,1-2,0 2,-1-2,1 0,-2 2,1-2,1 1,-1 0,-1 0,1-1,0 0,-1 1,1 0,0 0,-2 0,-1 4,0-2,0 1,-1-1,1 1,-2-1,1 0,0-1,-1 1,1-1,0 1,-1-2,0 0,0 0,0 1,0-2,0 1,-8-1,-7 2</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7.794"/>
    </inkml:context>
    <inkml:brush xml:id="br0">
      <inkml:brushProperty name="width" value="0.025" units="cm"/>
      <inkml:brushProperty name="height" value="0.025" units="cm"/>
      <inkml:brushProperty name="ignorePressure" value="1"/>
    </inkml:brush>
  </inkml:definitions>
  <inkml:trace contextRef="#ctx0" brushRef="#br0">153 0,'-96'100,"88"-91,1 1,1 0,-1 1,2 0,-1-1,2 2,-8 22,12-30,-1-2,1 2,0 0,0-1,0 1,0 0,0-1,0 1,1-2,1 2,-2-1,1 1,0-1,1 1,-1-2,0 1,2 1,-2-1,2-1,-2 1,2 0,0-1,-1 1,1 0,0-2,-1 2,1-2,0 2,-1-2,2 0,-1 1,6 2,-2-3,-2 2,2-2,0 0,-2-1,2 2,-1-2,1 0,12-2,-19 2,1 0,0 0,-1-1,2 1,-1 0,-1 0,1 0,1-1,-2 1,1 0,0-2,-1 2,2 0,-2-1,1 1,0-1,-1 1,0-2,2 2,-2-1,1 1,-1-1,1-1,-1 1,0 0,0-1,0 0,0 0,-1 1,1 0,-1-1,1 1,-2 0,2-1,-1 0,1 0,-1 1,-1 0,1 1,0-2,1 1,-2 0,1-1,0 1,-2 0,-41-27,20 14</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8.256"/>
    </inkml:context>
    <inkml:brush xml:id="br0">
      <inkml:brushProperty name="width" value="0.025" units="cm"/>
      <inkml:brushProperty name="height" value="0.025" units="cm"/>
      <inkml:brushProperty name="ignorePressure" value="1"/>
    </inkml:brush>
  </inkml:definitions>
  <inkml:trace contextRef="#ctx0" brushRef="#br0">48 32,'-4'9,"0"-1,1 1,-1 1,1-1,1 0,0 1,1-1,0 0,-1 19,2-24,2-1,-2 0,1 1,-1-2,1 1,1 1,-1-1,0-1,1 1,-1 0,2-1,-2 1,2 0,-2-1,2 1,-1 0,0-2,0 2,1-2,0 2,-1-2,2 0,-1 1,0-1,-1 0,1 1,1-1,-1-1,1 1,-2-1,1 0,1 2,4-2,-4 0,0 0,0 0,0 0,0 0,-1-2,1 2,0-1,0 1,0-1,-2-1,2 1,0 0,-1-2,1 2,-1-2,1 2,-2-2,1 0,0 1,-1-1,1 0,0 1,-1-1,1 0,-2-1,2 2,-2-2,1 1,-1-1,0 0,1 1,-1-1,0 0,-1 0,2-6,-1 6,-1-2,0 1,0 1,0-1,0 1,-1-2,-1 2,2-1,-1 1,0 0,-2-1,2 1,-2 0,2 0,-2 0,0 0,1 0,-1 0,0 0,-1 1,2-1,-2 1,0 1,0-1,1 0,-1 1,-1-1,1 0,-6-1,-3 2,0-1,-1 0,1 2,0 1,-27 0,17 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9.858"/>
    </inkml:context>
    <inkml:brush xml:id="br0">
      <inkml:brushProperty name="width" value="0.025" units="cm"/>
      <inkml:brushProperty name="height" value="0.025" units="cm"/>
      <inkml:brushProperty name="ignorePressure" value="1"/>
    </inkml:brush>
  </inkml:definitions>
  <inkml:trace contextRef="#ctx0" brushRef="#br0">48 0,'0'5,"-6"6,1 5,0 4,1 4,-4-3,0-1,1 2,3-4</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0.685"/>
    </inkml:context>
    <inkml:brush xml:id="br0">
      <inkml:brushProperty name="width" value="0.025" units="cm"/>
      <inkml:brushProperty name="height" value="0.025" units="cm"/>
      <inkml:brushProperty name="ignorePressure" value="1"/>
    </inkml:brush>
  </inkml:definitions>
  <inkml:trace contextRef="#ctx0" brushRef="#br0">114 0,'-4'9,"-1"7,-6 6,1 2,-4 2,2 2,-2-5,2-2,2 1,-2-4,3-6</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1.505"/>
    </inkml:context>
    <inkml:brush xml:id="br0">
      <inkml:brushProperty name="width" value="0.025" units="cm"/>
      <inkml:brushProperty name="height" value="0.025" units="cm"/>
      <inkml:brushProperty name="ignorePressure" value="1"/>
    </inkml:brush>
  </inkml:definitions>
  <inkml:trace contextRef="#ctx0" brushRef="#br0">71 1,'0'4,"-4"7,-3 5,-2 4,-6 4,0 1,3 2,3-5</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321"/>
    </inkml:context>
    <inkml:brush xml:id="br0">
      <inkml:brushProperty name="width" value="0.025" units="cm"/>
      <inkml:brushProperty name="height" value="0.025" units="cm"/>
      <inkml:brushProperty name="ignorePressure" value="1"/>
    </inkml:brush>
  </inkml:definitions>
  <inkml:trace contextRef="#ctx0" brushRef="#br0">112 1,'-6'0,"1"4,-2 7,-1-1,-1 5,-3 4,0 2,-1 2,1 2,-3-4,3-5</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966"/>
    </inkml:context>
    <inkml:brush xml:id="br0">
      <inkml:brushProperty name="width" value="0.025" units="cm"/>
      <inkml:brushProperty name="height" value="0.025" units="cm"/>
      <inkml:brushProperty name="ignorePressure" value="1"/>
    </inkml:brush>
  </inkml:definitions>
  <inkml:trace contextRef="#ctx0" brushRef="#br0">59 0,'0'4,"-6"7,1 5,-2 4,-1-2,-1 2,-3 2,0-5</inkml:trace>
</inkml:ink>
</file>

<file path=ppt/ink/ink5.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4:19:33.831"/>
    </inkml:context>
    <inkml:brush xml:id="br0">
      <inkml:brushProperty name="width" value="0.05292" units="cm"/>
      <inkml:brushProperty name="height" value="0.05292" units="cm"/>
      <inkml:brushProperty name="color" value="#0070C0"/>
    </inkml:brush>
  </inkml:definitions>
  <inkml:trace contextRef="#ctx0" brushRef="#br0">1831 1597 0,'-19'0'16,"72"17"62,-35-17-78,-1 0 0,2 0 15,15 0-15,-16 0 0,0 0 16,17 0-16,1 0 0,-1 0 0,-1 18 16,37-18-16,-18 0 0,-17 0 15,16 0-15,-16 17 0,-1-17 0,18 0 16,-18 0-16,18 0 0,1 0 16,-20 0-16,20 17 0,-20-17 15,20 0-15,-20 0 0,20 0 0,-1 0 16,52 0-16,-51 0 0,-20 0 15,20 0-15,-20 0 0,20 0 0,-18 19 16,-2-19-16,2 0 16,16 0-16,-16 0 0,-1 17 0,-18-17 15,19 0-15,-1 0 0,1 0 0,-1 0 16,-18 0-16,19 0 0,-1 18 16,18-18-16,-18 0 0,-17 0 15,17 0-15,1 0 0,-1 0 16,18 0-16,-18 0 0,-18 17 15,19-17-15,-19 0 0,37 0 16,-20 0-16,-16 0 0,18 0 16,-19 0-16,19 0 0,-19 0 15,18 0-15,1 0 0,-19 0 0,18 0 16,1 0-16,-19 0 0,19 0 16,-1 0-16,1 0 0,-1 0 0,-18 0 15,19 0-15,35 0 16,-37 0-16,2 0 0,-1 0 0,0 0 15,35 0-15,-34 0 0,18 0 16,-20 0-16,1 0 0,1 0 16,17 0-16,-18 0 0,0 0 0,18 0 15,-17 0-15,-1 0 0,18 0 16,-18 0-16,1-17 0,-2 17 16,20 0-16,-20 0 0,2 0 0,-1 0 15,72-18-15,-90 18 16,18 0-16,1 0 0,34 0 15,-35-17-15,-18 17 0,19 0 16,-1 0-16,-18 0 0,19 0 16,-1-19-16,1 19 0,-19 0 15,19 0-15,-1 0 0,-18 0 0,19 0 16,-1-17-16,-18 17 0,19 0 0,-18 0 16,18 0-16,-2 0 0,1-17 15,-16 17-15,51 0 0,-35 0 16,1 0-16,-19-18 0,18 18 0,1 0 15,-1 0-15,-18 0 0,19-17 16,-19 17-16,18 0 0,1 0 0,-1 0 16,-17 0-16,17 0 0,36-19 15,-54 19-15,19 0 0,-1 0 16,1 0-16,-2 0 0,-16 0 16,18-17-16,34 17 15,-35 0-15,36 0 0,-37 0 0,-15 0 16,16 0-16,1 0 15,34-17-15,-52 17 0,16 0 16,2 0-16,-1 0 0,-18 0 0,19 0 16,-1 0-16,1 0 0,-19 0 15,18 0-15,1 0 0,-19 0 0,54 0 16,-54 0-16,19 0 16,-1-18-16,1 36 0,-1-36 0,-18 18 15,19 0-15,-1 0 0,1 0 16,-2 0-16,-16 0 0,18 0 0,-2 0 15,2 0-15,-18 0 0,16 0 0,37 0 16,-52 0-16,15 0 16,2 0-16,-1 0 0,-18 0 15,90 0-15,-55 0 16,-16 0-16,-1 0 0,-18 0 16,54 0-16,-35 0 15,16 0-15,-16 0 0,-2 0 16,37 0-16,-35 0 15,-19 0-15,18 0 0,1 0 0,35 18 16,-37-18-16,2 0 0,16 0 16,-16 0-16,-1 0 15,1 0-15,-1 0 0,1 0 16,-2 0-16,20 0 0,-20 17 16,-15-17-16,16 0 0,-18 0 0,36 0 15,-35 0-15,-1 0 16,2 0-16,-2 0 0,0 0 15,19 0-15,-18 0 0,-1 0 16,0 0-16,1 0 0,0-17 16,0 17-1</inkml:trace>
  <inkml:trace contextRef="#ctx0" brushRef="#br0" timeOffset="25168.62">15007 1844 0,'34'0'0,"37"0"16,-35 0-16,-1 0 16,1 0-16,33 0 0,2-18 0,-1 18 0,18 0 15,2 0-15,244-18 16,-211 18-16,1-18 16,0 18-16,-1 0 0,18-17 0,-17 17 15,17 0-15,-1-17 0,-16 17 16,18 0-16,-20 0 0,2-19 15,0 19-15,-1 0 0,1 0 0,-19-17 0,2 17 16,-2 0-16,-34 0 0,0 0 16,105-18-1,-123 18-15,-18 0 0,-17 0 0,17 0 16,-18 0-16,1 0 0,0 0 16,-54 18-1</inkml:trace>
  <inkml:trace contextRef="#ctx0" brushRef="#br0" timeOffset="25599.67">16541 2002 0,'52'0'0,"-16"-17"0,-1 17 0,160-19 16,-107 2 0,17 17-16,-17-17 0,19 17 0,-2 0 15,2-18-15,-2 18 0,230-18 16,-211 18-16,-36 0 16,17 0-16,-16 0 0,-18 0 0,17-18 15,-17 18-15,-1 0 0,89 0 16,-90 18-1,-33-18-15,-18 0 0,-1 0 0,2 0 16</inkml:trace>
  <inkml:trace contextRef="#ctx0" brushRef="#br0" timeOffset="32968.89">3471 6041 0,'0'-17'0,"-36"34"47,1 19-47,18-19 15,17 1-15,-18-1 0,-18 19 16,19-19-16,0 1 0,-2 18 0,2-2 16,-1-16-16,1 0 0,-36 53 15,53-54-15,-35 1 16,35-1-16,-19 2 15,19-2-15,-17-17 0,17 17 16</inkml:trace>
  <inkml:trace contextRef="#ctx0" brushRef="#br0" timeOffset="33212.78">3047 6270 0,'18'-17'16,"0"17"-16,16 17 15,-15-17 1,-2 18-16,1-18 0,16 18 0,-15-18 16,52 35-1,-54-18-15,36 19 16,-35-18-16,-1-18 0,0 17 15,19 2-15,-18-19 16,-1 17-16</inkml:trace>
  <inkml:trace contextRef="#ctx0" brushRef="#br0" timeOffset="33507.71">3683 6094 0,'0'54'31,"17"-37"-31,-17 18 16,17-17-16,-17 0 16,18-1-16,0 0 15,0 1-15,-1-18 16,0 0-16</inkml:trace>
  <inkml:trace contextRef="#ctx0" brushRef="#br0" timeOffset="33747.68">4035 6148 0,'-18'0'0,"-16"17"31,-2 18-15,18-17-16,1 0 0,-2-1 16,2 18-16,0-17 0,-1 17 15,0 1-15,0-19 0,1 18 0,17-16 16,-17-2-16,-1 0 0,-18 54 15,36-54 1,-17 1-16,17 0 0</inkml:trace>
  <inkml:trace contextRef="#ctx0" brushRef="#br0" timeOffset="34320.53">4229 6200 0,'0'0'16,"35"0"15,-18 0-31,2 0 15,33 0 1,-33 18 0,-2-18-1,-53 52 1,19-34 0,17 0-16,-18-18 0,-18 35 15,36-18-15,-17 2 16,17-2-16,-17 1 0,17-1 15,0 19 1,0-19 0,17-17-16,-17 18 0,17-18 0,2 17 15,16-17 1,-18 0-16,19 0 16,-19 0-16,1 0 15,-1 0 1</inkml:trace>
  <inkml:trace contextRef="#ctx0" brushRef="#br0" timeOffset="34515.58">4264 6465 0,'-17'-17'0,"51"17"31,2-19-15,-18 19-16,-1 0 15,2 0-15,-2-17 0,0 17 0,1 0 16,35-18-16,-18 18 0</inkml:trace>
  <inkml:trace contextRef="#ctx0" brushRef="#br0" timeOffset="34800.61">5181 6270 0,'54'0'32,"-37"0"-32,0 0 15,1 0-15,0 0 0,0 0 0,-1 0 16,0 0 0,2-17-16,-2 17 0,1 0 0,-1 0 15,2 0 1</inkml:trace>
  <inkml:trace contextRef="#ctx0" brushRef="#br0" timeOffset="35128.01">5393 6112 0,'-17'-18'15,"69"36"17,-33-1-17,-2-17-15,0 0 0,1 19 16,-1-19-16,2 17 0,-2 0 0,0-17 16,1 18-16,0 0 0,0 0 15,-1-18-15,0 17 0,2 36 16,-19-35-16,0 16 15,0-15-15,-19-2 16,19 1-16,-17-1 0,0 2 0,-19-2 16,18 0-16,1 1 0,0-1 0,-19 2 15,1-2 1</inkml:trace>
  <inkml:trace contextRef="#ctx0" brushRef="#br0" timeOffset="36825.41">7192 6077 0,'0'-17'0,"17"51"16,2-16 0,-19-1-16,0 2 0,0-2 15,17 0-15,-17 19 16,0-18-16,0-1 15,0 0-15</inkml:trace>
  <inkml:trace contextRef="#ctx0" brushRef="#br0" timeOffset="37439.98">7457 5936 0,'35'70'0,"-35"-52"15,0-1-15,17 19 16,-17-19 0,0 1-1,36-36 16,-18 1-15,-1 17-16,0-17 16,2 17-16,-2 0 15,1 0-15,-18 17 0,17-17 16,2 17 0,-2 1-16,0-1 0,-17 2 15,18-2 1,-18 0-16,18-17 0</inkml:trace>
  <inkml:trace contextRef="#ctx0" brushRef="#br0" timeOffset="37839.75">8004 6006 0,'0'35'15,"0"-16"1,17-19-16,-17 17 0,18 18 15,-1-18-15,-17 2 16,36-2 0,-19-17-16,1 0 31,0-36-15,-18 19-16,0-1 0,18-35 15,-18 36 1,17-1-16,-17 1 0,0-2 15,17 2 1</inkml:trace>
  <inkml:trace contextRef="#ctx0" brushRef="#br0" timeOffset="38539.99">8427 6165 0,'18'-36'15,"-18"19"-15,0-18 16,0 18-16,0-2 16,0 2-1,-18 34 17,18 2-17,0-2 1,0 0-16,18 1 15,0-1 1,-1-17 0,0 0-16,1 0 15,0-17 1,0-1-16,-1 1 16,0 17-1,-17-17-15,19-2 16,-2 19-16,1 19 31,-1-2-15,-17 0-16,17-17 15,-17 18-15,0-1 32,19-17-17,-2-17 1,1 17-1,-1-18 1,2 18 0,-2 0-16,0 0 15,-17 18-15,18-18 16,0 17-16,0 2 16</inkml:trace>
  <inkml:trace contextRef="#ctx0" brushRef="#br0" timeOffset="38835.53">9203 5741 0,'0'-17'0,"-18"53"16,18-19-1,0 0-15,0 1 0,-17 18 0,17-19 16,0 18-16,0-17 0,0 34 16,0-33-16,0 33 15,0-33-15,17-2 16,-17 0-16,0 1 0,0-1 15,0 2-15,0-2 0,0 0 16</inkml:trace>
  <inkml:trace contextRef="#ctx0" brushRef="#br0" timeOffset="39046.94">8973 6094 0,'0'0'32,"19"-17"-17,33 0-15,-33 17 16,-2-19-16,0 19 0,18 0 16,-16-17-16,51 17 15,-52 0-15,-1-18 0,0 18 16</inkml:trace>
  <inkml:trace contextRef="#ctx0" brushRef="#br0" timeOffset="39432.87">9468 6077 0,'-17'-17'16,"-2"34"-1,2 0 1,17 1 0,0-1-1,17 2-15,2-2 16,-2-17 0,0 17-16,1-17 15,-1 0 1,2 0-16,-2 0 0</inkml:trace>
  <inkml:trace contextRef="#ctx0" brushRef="#br0" timeOffset="39958.68">9997 5760 0,'-18'34'15,"0"2"1,18-1-16,-17 0 16,17-17-1,-17 0-15,17 16 0,0-15 0,0-2 0,0 1 16,0-1 0,0 19-16,-18-36 62,-18 17-46,19-17-16,0 18 0,-2-18 15,2 17-15,-1 19 16,1-36-16,17 17 16,0 1-16,0 0 15,35-18 1,-18 0-1,2 0 1</inkml:trace>
  <inkml:trace contextRef="#ctx0" brushRef="#br0" timeOffset="40549.56">6980 5900 0,'-17'0'31</inkml:trace>
  <inkml:trace contextRef="#ctx0" brushRef="#br0" timeOffset="41623.4">11232 5653 0,'0'36'15,"0"16"1,0-16-16,0-19 0,-19 19 16,19-18-16,0 16 0,0 37 15,0-54-15,0 37 16,0-37-16,19 2 16,-19-2-1,-19-34 16,-15-19-15,34 18-16,-18 18 0,-18-36 16,19 36-1,0 0-15,-1 0 0,0 0 0,0 19 16,1-19-16,0 17 16,-19 18-1,18-35-15,18 19 0,0-2 16,0 0-16,0 1 15,18-18-15,-1 17 0,2-17 0,-2 0 16,18 0-16,-17 0 16,0 0-16,-1 0 0,19 0 0,-19 0 15,18-17-15</inkml:trace>
  <inkml:trace contextRef="#ctx0" brushRef="#br0" timeOffset="41967.71">11408 5865 0,'0'0'0,"0"-17"15,17 34 17,1 0-17,0 19 1,-18-18-16,0-1 15,0 0-15,0 2 16,-18-2-16,18 1 16,18-72 31,-18 37-32,18 0-15,-18-1 0,17 18 0,0-36 16,2 36-16,-2-17 15,1 17-15,-1-17 16,2 17 0</inkml:trace>
  <inkml:trace contextRef="#ctx0" brushRef="#br0" timeOffset="42410.01">11867 5741 0,'0'-17'15,"-18"53"1,18-19-16,-17 0 16,17 19-1,0-18-15,0-1 16,0 0-16,17 1 0,-17 0 15,18-18 1,-1 0-16,19 0 16,-19 0-16,18-18 15,-35 0-15,36 1 16,-36 0-16,17 17 0,1-18 0,-18 0 16,17 18-1,-17-18-15,19 18 0,-2 0 31,-17 18-31,0 0 16,17 0 0,-17-1-16,18 0 15,0 1 1,-18 0-16,18-18 0,-1 0 16,0 0-1</inkml:trace>
  <inkml:trace contextRef="#ctx0" brushRef="#br0" timeOffset="42821.7">12413 5794 0,'-17'0'0,"0"0"15,17-17-15,-19 17 16,2 17-1,-1-17-15,18 18 16,0 0 0,18 17-1,-18-18-15,0 1 0,17 18 16,-17-19-16,0 0 0,19 37 16,-19-37-16,-19 54 15,19-54-15,0 2 16,-17-2-16,17 0 0,0 1 15,-35 0-15,35 0 16,-19-18-16,2-18 31,34 0-15,-17 0-16,19 1 0,-2 0 0,-17-2 16,18 2-16,35-18 15,-36 18-15,1 17 16,0-19-16,0 19 0,-1-17 0,0 17 15,1-18-15</inkml:trace>
  <inkml:trace contextRef="#ctx0" brushRef="#br0" timeOffset="44112.92">13489 5477 0,'-34'35'0,"15"-17"15,2 88 1,-1-53-16,-18 70 0,19-70 16,17 0-16,-17-1 0,-1 2 15,18-1-15,0-1 0,-17-16 0,34 52 16,-17-71 0,18 37-1,-1-54 1,0 0-1,2-18 1,-38 0-16,19 0 0,0 1 16,-17 0-16,0-1 15,-1-18-15,1 36 16,-2-17-16,2 0 16,0 17-1,17-19 1,17 2-16,0-18 31,2 35-31,-2-17 0,-17-2 0,18 2 16,-1 17-16,-17-18 0,17 1 0,2-2 15,-19 2-15,17 0 0,1-1 16,-18 0-16,17 18 0,2-52 16,-2 52-16,-17-18 0,17 18 15,-17-18-15,18 0 16,-18 1-1,18 17 1,0 0 15,-1 35-15,-17-17-16,0 0 16,17-1-16,-17 0 15,0 1-15,0 0 0,18-18 0,0 35 16,0-35-1,16 17 1,2-17 0,-18-17-16,-1 17 15,0-17-15,19-1 16,-36 0-16,18 0 16,-1 1-16,-17 0 15,0-1 1,19 18-16,-19-18 15,-19 0 1,2 1 0,-1 0-1,-18 17 17,19 0-17,17 17-15,-17-17 16,34 17 31,0-17-32,2 18 1,-2-18 0,1 18-16,-1-18 0,-17 18 15,36-1 1,-36 0-16,17-17 0,-17 18 15,18-18-15,-18 18 16,18 0 0,0-36 15,-1 18-31,-17-18 16,17 18-1,1-18-15,0 18 0,0-17 16,-1 17-16,0 0 15,2 0 1,-2 0 0</inkml:trace>
  <inkml:trace contextRef="#ctx0" brushRef="#br0" timeOffset="46691.74">15007 5601 0,'-18'52'15,"18"-35"1,0 19-1,0-1-15,-18 18 0,0 35 16,18-52 0,-17 16-1,17-33-15,0-2 16,17-34 15,19-19-15,-18 19-16,-1 17 0,-17-18 0,17 18 15,19-18-15,-18 18 16,-1 0-16,0 0 0,2 0 0,-2 18 16,1 0-1,-1-1 1,-17 0-16,0 2 0,19-2 0,-19 1 16,0-1-1,0 2 1,17-19-1</inkml:trace>
  <inkml:trace contextRef="#ctx0" brushRef="#br0" timeOffset="47054.67">15412 6024 0,'17'-35'0,"1"-1"31,-18 19-31,0-1 0,0 0 16,0 0-16,0 1 0,0 0 31,-18 17-15,1 17-16,0 0 15,-1 19 1,18-18-16,-18 16 16,18-15-16,18 16 15,0-35 1,-18 17-16,34-17 16,-16 0-1,52 0-15,-51 0 16,-2 0-16,1-17 0</inkml:trace>
  <inkml:trace contextRef="#ctx0" brushRef="#br0" timeOffset="47640.28">15888 5830 0,'-17'-18'0,"-1"18"15,1 18-15,-2 0 16,2-1 0,0 0-16,-1 1 0,18 0 15,-18 0-15,0-1 16,36 19-1,0-19 1,0-34 0,35-2-1,-18-15 1,-18 34 0,0-18-1,-17 0-15,19 36 31,-19 0-15,0-1-16,0 0 16,17-17-16,-17 19 15,0 16 1,18-35-16</inkml:trace>
  <inkml:trace contextRef="#ctx0" brushRef="#br0" timeOffset="48436.08">14989 5882 0,'88'0'0,"-53"0"15,1 0-15,-1 0 0,53 0 16,-35 0-16,0 0 0,-1 0 0,2-17 16,-20 17-16,56 0 15,-56 0-15,1 0 0,-16 0 0,15 0 16,-16 0-16,0 0 15</inkml:trace>
  <inkml:trace contextRef="#ctx0" brushRef="#br0" timeOffset="48668.57">15024 6041 0,'35'19'15,"-17"-19"-15,0 0 0,-1 0 0,19 0 16,-1 0-16,53 0 16,-35 0-16,0 0 0,-1-19 0,2 19 15,-20 0-15,20 0 0,-18 0 0,-2-17 16,1 17-16,1 0 0,52-18 16,-52 18-1,-19-17-15,18 17 0,-18 0 0</inkml:trace>
  <inkml:trace contextRef="#ctx0" brushRef="#br0" timeOffset="50263.93">16752 5794 0,'36'-53'15,"-19"-18"1,-17 54-16,0-18 16,0 18-16,0-2 15,0 2-15,-17 0 16,17-1-16,-36 53 31,19 18-31,17-18 16,-18 18-16,1 35 15,0-34-15,17-2 0,0 1 0,-19 18 16,2 70-16,17-106 16,0-17-16,0 17 0,0-18 15,0 1-15,0 0 0,-18 17 16,18-18-16,-17-17 16,-2 0-16,2-17 15,0 17 1,17-17-16,-18 17 0,18-18 0,0 0 15,-18 18-15,18-18 0,0 1 16,0 0 0,18-19-16,0 18 15,35-16 1,-36 15-16,1 19 0,18-17 16,-19-1-16,18 1 0,-18 0 0,2-19 15,-2 18-15,36-35 16,-35 36-16,-1-1 15,-17 0-15,17 0 0,-17 1 16,19 17-16,-19-17 16,-19 34 31,19 18-32,0-17-15,0 0 16,19-18-16,-19 17 0,17-17 15,-17 17-15,18-17 0,-1 19 16,0-19 0,2 0-16,16-19 15,-18 2 1,2 0 0,-2-1-16,-17 0 15,17 18-15,-17-18 16,18 18-16,-1 0 15,2 0 1,-2 18 0,0 0-16,1 0 15,0-18-15,-18 17 0,18 0 0,-1 2 16,19-2 0,-19-17-16,1 0 15,16-17 16,-34-2-15,0 2-16,0-18 16,0 17-1,0 0 1,0 1 31,19 17-32,-2 0-15,1 0 0,-1-17 16,2 17-16,15-18 16,-16 0-16,0 0 15,17 1-15,-35 0 16,17 17-16,-17-19 16,18 2-16,-36 53 46,1-2-30,17-16-16,0 0 16,17 0-1,-17-1-15,18-17 16,0 17 0,17-34-1,-18 17 1,2 0-16,-2 0 15,1 0-15,-1 17 16,0-17-16,-17 18 31,19-18-15,-19 18-16,35-18 47,-18-36-32,2 19-15,15-18 16,-16 35-16,0-18 16,0 0-16,-1 18 0,0-17 15,1 17-15,18-17 16,-19 17-16</inkml:trace>
  <inkml:trace contextRef="#ctx0" brushRef="#br0" timeOffset="59193.79">2836 8105 0,'17'-17'0,"-34"-1"32,-19 36-17,36-1 1,-35 19 0,17-19-16,18 1 0,-18-1 0,18 0 15,-17 2-15,0 33 16,-1-16-16,18-19 0,0 1 15,-18 18-15,18-19 0,0 54 16,0-54-16,0 19 16,0-19-16,0 1 0,18-1 15,-18 2-15,18-19 0,-18 17 0,17 0 16,0-17-16,1 0 16,0 0-16,0 0 15,-1-17 1,0 0-1,-34-37 1,0 37 0,17-2-16,-18 19 15,18-17 1,0 0-16,18 17 16,16-18-1,2 18 1,-18 0-16,-1 0 0,2 18 15,-2-18 1,0 17-16,1 0 16,-1 2-16,-17-2 0,0 1 15,0 18 1,0-19-16,0 0 16,0 1-1,0-1 1,19-17-1</inkml:trace>
  <inkml:trace contextRef="#ctx0" brushRef="#br0" timeOffset="59628.54">3171 8370 0,'0'52'16,"17"-34"-16,-17 0 15,0 0-15,0 35 16,17-18-16,-17-18 0,0 2 16,0 15-1,0-16-15,0-1 16,0-52 31,0 1-32,19 15-15,-19 2 0,17-1 0,1 1 16,-1-2 0,2 2-16,-2 17 15,0 0-15,1-17 16</inkml:trace>
  <inkml:trace contextRef="#ctx0" brushRef="#br0" timeOffset="59920.64">3488 8422 0,'0'0'0,"0"18"31,0 0-15,0 0-16,0 16 15,17 2 1,2-18 0,-19-1-16,52 2 15,-35-19-15,2 0 16,-2-19-16,18 19 15,-35-17-15,0-1 16,0 1-16,0-19 16,-17 36-16,-1-17 15,1-1-15,-2 18 16,2-18-16,0 18 0,-1 0 16,1 0-1,17 18-15</inkml:trace>
  <inkml:trace contextRef="#ctx0" brushRef="#br0" timeOffset="60639.5">3841 8405 0,'-36'17'16,"36"19"-1,0-1 1,0-18 0,0 2-16,18-19 0,-18 17 15,18-17-15,0 0 16,-1 0 0,0-17-1,-17-2-15,19 19 0,-19-17 16,17 0-1,1-1 1,-1 36 31,2-18-31,-2 0-1,0 0 32,1 0-31,-18-18-16,0 0 15,0 0 1,0 1 0,0 52 62,0-17-63,0 0 1</inkml:trace>
  <inkml:trace contextRef="#ctx0" brushRef="#br0" timeOffset="61111.59">4176 8264 0,'-17'-18'16,"-1"53"-1,18 1 1,-18-1-16,18-17 0,0 17 15,-18 70 1,18-51-16,0-18 0,-17 104 16,17-104-16,0-2 15,0 37 1,0-54-16,0 2 0,0-2 0,0 1 16,0-1-1,-17-69 16,34 16-15,-17 1-16,0-1 0,0 2 0,17-2 0,1-70 16,0 89-1,-18 0-15,18-2 0,-1-16 16,0 35-16,1-17 16,0 34-1,-18 1 1,0 18-16,-36-2 15,19-16-15,17-1 16,-35 2-16,35-2 16,-18-17-16</inkml:trace>
  <inkml:trace contextRef="#ctx0" brushRef="#br0" timeOffset="61539.8">4600 8264 0,'0'70'0,"0"-52"0,0 18 16,-19-2-1,19-16-15,0 0 0,0 53 16,0-54-16,0 1 15,0-1 1,0 2-16,19-55 47,-19 18-47,0 1 0,17-2 0,-17-15 16,35-37-16,-35 54 15,36-19 1,-36 18-16,17 18 0,-17-17 0,18 17 0,-1 0 15,2 17 1,-19 1-16,17-18 16,-17 18-16,0 0 0,0-1 0,0 0 0,0 1 15,17 35 1,-17-36 0,0 2-16,0-2 15</inkml:trace>
  <inkml:trace contextRef="#ctx0" brushRef="#br0" timeOffset="61747.36">4617 8529 0,'71'-36'16,"-54"36"-1,1 0-15,-1 0 0,2-17 16,15 17-16,-16 0 0,0 0 0,34-18 16,-34 18-16,0 0 15,0-18-15,-1 18 0</inkml:trace>
  <inkml:trace contextRef="#ctx0" brushRef="#br0" timeOffset="62656.65">11037 7717 0,'-17'0'16,"0"0"-16,-19 36 16,18-19-16,1 1 15,17-1-15,-17 19 0,-2 16 16,2-16-16,-1 35 16,18-37-16,0-16 0,18 0 15,-18 17-15,17 1 16,2-19-16,-2 18 15,0-35-15,1 0 16,18 0 0,-36-17-16,17-1 15,0 1-15,1-2 0,0 2 16,0-18-16,35 17 16,-36 18-1,18 0 1,-18 0-16,-17 18 0,36 17 15,-18-18 1,-18 2-16,17 16 16,2-18-1,-2 0 1,-17 2 0</inkml:trace>
  <inkml:trace contextRef="#ctx0" brushRef="#br0" timeOffset="62979.85">11408 8034 0,'0'-17'16,"17"52"15,1 1-15,-18-19-16,0 0 15,0 2-15,18-2 0,-18 1 0,0-1 16,0 0 0,0 2-16,18-19 15,-18-19 1,17-15 0,-17 16-16,0 1 15,17-19-15,-17 19 16,36-19-16,-36 18 15,18 1-15,-1 17 16,2 0 0,-2 0-16</inkml:trace>
  <inkml:trace contextRef="#ctx0" brushRef="#br0" timeOffset="63383.63">11796 8000 0,'-35'34'0,"35"-16"0,0 0 0,-18 0 16,18-1-16,0 0 0,0 2 16,0 16-1,18-18-15,-18 0 0,18-17 0,-18 19 16,17-19-16,0 0 0,2 0 16,-2 0-1,1 0-15,-18-19 0,17 2 16,-34-18-1,-1-1 1,18 19-16,-17 17 0,17-17 0,-19-1 16,2 0-16,0 18 31</inkml:trace>
  <inkml:trace contextRef="#ctx0" brushRef="#br0" timeOffset="63738.64">12025 8000 0,'0'17'32,"0"0"-17,0 1-15,0 0 16,0 17-1,18-18-15,-1 2 16,-17-2-16,19-17 16,-2 0-16,0 0 15,19 0-15,-18-17 16,-1-2 0,0 19-16,2-34 15,-19 16-15,17 18 16,1-18-16,-18 0 15</inkml:trace>
  <inkml:trace contextRef="#ctx0" brushRef="#br0" timeOffset="64179.65">12360 7876 0,'0'53'16,"-17"-1"0,17-16-1,0-19-15,0 19 0,0-1 0,-18 36 16,18-37-16,0-15 0,-17 69 15,17-71-15,0 1 16,-19 0-16,19 0 0,0-1 16,19-52 15,-19 17-15,35-34-1,-35 16-15,17 18 0,2-18 0,-2 2 0,0 16 16,1 1-16,0-2 0,0 2 15,-18 0-15,17 17 0,0 0 0,-17-18 16,18 18-16,-36 35 16,1 1 15,0-36-31,-1 17 0,0 1 0,0-1 16,1 0-1</inkml:trace>
  <inkml:trace contextRef="#ctx0" brushRef="#br0" timeOffset="64495.83">13048 7717 0,'19'-17'15,"-38"51"1,2 20 0,17-20-16,0-15 0,-18-2 15,18 18-15,-17-16 0,17-2 16,-19 18-16,19-18 0,0 2 0,-17-2 15,17 0-15,0 1 0,0 0 0,-17 0 16,17-1 0</inkml:trace>
  <inkml:trace contextRef="#ctx0" brushRef="#br0" timeOffset="64953.83">13031 7753 0,'17'-19'0,"-34"38"16,53-55-1,-19 53-15,0-17 16,1 19 0,-18-2-1,0 1-15,0-1 16,0 0-16,17 2 15,2-2 1,-2-17-16,18 18 16,-35-1-16,18-17 15,-18 19-15,18-2 0,-18 18 16,-18-35 0,18 17-16,-18-17 0,18 19 15,-18-2-15,-16 0 16,15 1-16,2 0 0,-1-18 15,1 18-15,0-1 16</inkml:trace>
  <inkml:trace contextRef="#ctx0" brushRef="#br0" timeOffset="65236.66">11884 8476 0,'36'-18'16,"-1"18"0,1-18-16,-2 18 0,1 0 15,18 0-15,1-18 0,16 18 0,-18 0 16,19-17-16,-18 17 0,18-17 15,-18 17-15,53-18 0,-72 18 16,2 0-16,-1-18 0,1 18 0,-19 0 16,1 0-16,0 0 0,0 0 15</inkml:trace>
  <inkml:trace contextRef="#ctx0" brushRef="#br0" timeOffset="65462.61">12043 8546 0,'0'18'0,"36"-18"15,-19 0-15,0-18 0,19 18 16,-18 0-16,16 0 0,2 0 0,-1 0 16,1 0-16,16-17 0,-16 17 0,-1 0 15,18-19-15,-18 19 0,1 0 16,-2 0-16,-15-17 0,16 17 15,-18 0-15,0 0 0,2 0 0</inkml:trace>
  <inkml:trace contextRef="#ctx0" brushRef="#br0" timeOffset="68243.74">3117 9057 0,'318'-35'16,"-248"18"-16,-16 17 0,16-17 15,1 17-15,-18-19 0,106 19 16,-124-17-16,1 17 0,-2 0 16,-16 0-16,18 0 0,-2 0 15</inkml:trace>
  <inkml:trace contextRef="#ctx0" brushRef="#br0" timeOffset="68478.71">3136 9322 0,'52'0'16,"-35"0"-16,19 0 0,-1-17 0,36 17 15,-18-19-15,18 19 16,-1-17-16,142 0 15,-142-1-15,0 18 0,-16-17 0,16 17 0,-35 0 16,1 0-16,-1-19 16,-17 19-16,0 0 0,-1 0 0</inkml:trace>
  <inkml:trace contextRef="#ctx0" brushRef="#br0" timeOffset="72313.72">2041 10381 0,'0'35'31,"0"35"-15,0-34-16,0-18 0,0 34 15,0 54 1,0-71-16,0 1 0,0 52 16,0-71-16,0 19 15,19-18-15,-19-1 0,0 0 16,0 1-1</inkml:trace>
  <inkml:trace contextRef="#ctx0" brushRef="#br0" timeOffset="72682.74">1971 10504 0,'18'-52'16,"-18"33"0,35 2-1,-18-1-15,2 18 0,-2 0 16,1 18-1,-1-1-15,0 2 0,-17 15 16,0-16 0,0 0-16,0 0 0,0-1 0,0 0 15,-34 19-15,16-18 16,18-1-16,-17 0 0,-2 2 16,2-2-16,0-17 15,-1 0 1</inkml:trace>
  <inkml:trace contextRef="#ctx0" brushRef="#br0" timeOffset="72939.63">2289 10310 0,'0'0'15,"18"18"1,-1-1-16,-17 0 16,0 2-16,17 16 0,-17-18 0,0 19 15,18-1-15,-18 1 0,0-2 0,0 90 16,0-89 0,0 1-16,0-19 0,0 18 0,0-16 15,0 33-15,18-34 16,-18 0-16</inkml:trace>
  <inkml:trace contextRef="#ctx0" brushRef="#br0" timeOffset="73484.92">2747 10557 0,'-18'-17'16,"1"34"-16,-18 18 16,35-17-16,-18 34 15,18-33-15,0-2 16,0 1-16,-18-1 0,18 19 16,0-19-16,18 1 0,-18-1 15,36-34 16,-36-1-15,0 1-16,17-2 0,-17 2 16,17-18-1,-17 18-15,18 17 32,0 35-17,-18-18 1,0 0-16,18 2 0,-18 16 15,0-18 1,17-17-16,-17 19 0,0-2 16,17-17-1</inkml:trace>
  <inkml:trace contextRef="#ctx0" brushRef="#br0" timeOffset="73955.59">3065 10504 0,'0'0'0,"-36"18"16,19 0 0,17-1-1,-17 36-15,17-35 16,0 52-1,0-52-15,17-1 0,-17 0 16,35 2 0,-17-2-16,0-17 0,16 0 15,-15-17 1,33-2 0,-52 2-16,17 0 0,-17-1 0,19 1 15,-19-2 1,0 2-1,-19 17-15,2 17 16,0 19 0,17-18-16,0-1 15,17 0 1,-17 2-16,0-2 0,17 1 0,2-1 16,16 2-1,-18-19-15,19 0 16,-19 0-16,19-19 15,-18 19-15,-1-17 0,0 17 0,-17-18 16</inkml:trace>
  <inkml:trace contextRef="#ctx0" brushRef="#br0" timeOffset="74459.75">3541 10274 0,'0'0'15,"-17"19"-15,17-2 0,0 1 16,0-1-16,0 0 0,0 19 0,0-18 16,0 70-1,0-70-15,0 17 0,0 0 16,0-17-16,0 0 0,17 52 15,-17-52-15,0-1 16,0 0-16,0-51 47,18-1-31,-1 16-16,0 2 0,19-18 15,-18 17 1,18 0-1,-2 18-15,-16 0 16,0 18-16,0-18 16,-18 18-16,0 0 15,-18 35 1,0-53-16,18 17 0,-18-17 16,1 18-16,-19-1 15,19-17-15,-1 17 16,1-17-16,-2 0 0,2 0 15</inkml:trace>
  <inkml:trace contextRef="#ctx0" brushRef="#br0" timeOffset="74835.67">3912 10452 0,'0'52'16,"0"-34"-16,-19-18 15,19 18-15,19 16 16,-19-16-16,17 18 16,1-19-1,-1-17-15,2 17 16,-2-17-16,35-17 15,-52 0-15,19 17 16,-2-18-16,0 18 0,-17-36 16,18 36-16,-18-17 0,0 0 15,-18-1-15,1-35 16,0 53-16,17-17 0,-54-2 31,37 2-31,-19 17 0,1 0 16,18 17-16,-2-17 15,-33 19-15,34-19 0,0 17 0,1 0 16</inkml:trace>
  <inkml:trace contextRef="#ctx0" brushRef="#br0" timeOffset="76871.57">11637 9693 0,'0'-19'16,"0"73"0,0-37-16,0 2 0,0 51 15,-17-52 1,17 16-16,0-16 0,0 18 0,0 34 15,0-35-15,0-16 16,0 33 0,0-35-16,0 2 0,0-2 15</inkml:trace>
  <inkml:trace contextRef="#ctx0" brushRef="#br0" timeOffset="77657.52">11532 9764 0,'-19'-19'0,"38"-16"16,-2 18-1,1-2 1,18 2 0,-19 0-16,0 17 0,54 0 15,-54 0-15,37 17 16,-20-17-16,-15 17 0,16 2 16,-18 16-16,19 1 15,-19-2-15,1-16 0,-1 52 16,-17-52-16,-17 18 0,17-19 15,-18 19-15,-35 35 16,36-54-16,-37 35 16,37-33-16,0-2 15,-1-17-15,0 17 0,-34-17 16,33 18 0,2-18-16,-1-18 15</inkml:trace>
  <inkml:trace contextRef="#ctx0" brushRef="#br0" timeOffset="79393.2">12149 9798 0,'52'36'0,"-52"-18"16,19-1-16,-19 0 0,17 37 16,1-20-1,-18 2 1,0-18-16,0-1 16,0-34 15,17-37-16,-17 37-15,17-54 16,-17 54-16,19 17 16,-19-17-16,0-1 0,35-18 15,-18 19 1,2 17 0</inkml:trace>
  <inkml:trace contextRef="#ctx0" brushRef="#br0" timeOffset="79751.47">12501 9745 0,'0'36'32,"0"-1"-32,0-17 15,0 0-15,0-1 0,18 0 16,0 19-1,-18-18-15,18-18 16,-1 0 0,0 17-16,2-34 15,-2-1-15,1 0 16,-18 0 0,17-16-1,0-2 1,2 18-16,-19 1 15,17 0 1</inkml:trace>
  <inkml:trace contextRef="#ctx0" brushRef="#br0" timeOffset="80218.73">13013 9657 0,'-36'0'16,"2"0"-16,16 17 15,0-17-15,18 19 0,-18-19 0,1 17 16,17 1 0,-17-18-16,34 36 15,0-36 1,1 0-16,0 17 16,0 0-16,16 19 15,-34-18-15,19-1 16,-19 0-16,17 1 0,-17 0 0,0 53 15,0-54-15,-17 37 16,-2-37-16,19 0 0,-17 1 16,0-18-16,17 17 0,-36 2 15,36-2-15,-18-17 32,1-17-32,17-2 0,0-16 15,17 18 1,19-19-1,-36 19-15,18 17 0,16-35 16,-15 16-16,-2 19 16</inkml:trace>
  <inkml:trace contextRef="#ctx0" brushRef="#br0" timeOffset="80471.52">13436 9674 0,'-17'0'0,"53"-17"0,-2 17 15,-16 0-15,0 0 16,17 0-1,0 0 1,-17-17-16,17 17 16</inkml:trace>
  <inkml:trace contextRef="#ctx0" brushRef="#br0" timeOffset="80719.7">13577 9498 0,'18'-17'16,"0"17"-16,17 17 16,-18-17-16,2 18 15,-2-18-15,1 18 0,35 34 16,-36-52-16,1 19 16,-18 16-16,0-18 0,17 0 15,-34 2-15,17-2 0,0 1 16,-18-1-16,18 2 0,-17-2 0,-2 0 15,2 1-15,0 0 0,17 0 0,-18-18 16,1 17-16,-2 0 16</inkml:trace>
  <inkml:trace contextRef="#ctx0" brushRef="#br0" timeOffset="81348.89">14301 9286 0,'35'0'16,"0"0"-1,-17 0-15,0-17 0,-1 17 16,0-17-16,2 17 0,-2-18 16,18-18-1,-16 19-15,-2 0 0,-17-1 0,17 0 16,-17 0-16,18 1 15,-18 0 1,-18 51 0,-16 37-1,34-35-15,-19-1 16,2-1-16,17 20 0,-18-1 16,18-18-16,-17 1 0,17 16 0,0-16 15,-19-2-15,19-15 0,0 16 0,0-1 16,0-15-16,0-2 15,19 1-15,-19-1 16,17-17-16,18 0 16</inkml:trace>
  <inkml:trace contextRef="#ctx0" brushRef="#br0" timeOffset="81821.37">14760 9464 0,'-53'0'15,"35"17"-15,0-17 0,0 35 16,1-17 0,17 0-1,0-1 1,17-17 0,19 0-16,-18 0 15,-18-17-15,17 17 0,0-18 16,2 0-1,-2 18 1,-17 18 15,0 0-15,0 16 0,0-15-16,0-2 15,0 1-15,18-1 16</inkml:trace>
  <inkml:trace contextRef="#ctx0" brushRef="#br0" timeOffset="82296.95">14989 9198 0,'0'0'0,"-18"19"16,0 16-1,18-18 1,0 0-16,0 2 0,-17-2 16,17 1-16,0-1 0,0 19 15,0-19 1,0 1-16,0 0 15,17 0 1,1-36 15,0 18-31,0-18 16,-1 18-16,0 0 16,1 18-1,-18 0-15,18-1 16,-18 0-16,18 1 15,-18 0-15,-18 17 16,18-18-16,-18-17 0,18 19 16,-18-19-16,18 17 0,-34 1 15,34-1-15,-18-17 0,0 0 16,0 0-16,-16 0 31,34-17-31</inkml:trace>
  <inkml:trace contextRef="#ctx0" brushRef="#br0" timeOffset="82571.42">15288 9146 0,'19'0'15,"-38"35"1,19 36 0,0-54-16,0 0 15,-35 73 1,35-73-16,0 0 0,0 1 0,-17 18 0,17-19 16,0 0-16,0 1 15,0 0-15,0 0 0,17-1 16,1-17-1</inkml:trace>
  <inkml:trace contextRef="#ctx0" brushRef="#br0" timeOffset="82904.89">15465 9534 0,'0'0'0,"18"-18"16,-1 0-16,-17 1 15,0 0 1,17-1-16,-17 0 16,-34 36 15,34 0-16,-18-1-15,18 0 16,0 1-16,0 0 16,0 0-16,0-1 0,35 0 15,-18-17-15,2 0 16,-2 0-16,1 0 0,-1-17 16,19 17-1</inkml:trace>
  <inkml:trace contextRef="#ctx0" brushRef="#br0" timeOffset="83191.03">15924 9146 0,'0'0'0,"0"-18"15,-19 36 1,2 34-1,17-33-15,-17 16 16,-1 18-16,18-36 0,0 18 16,0-16-16,0 15 0,0 20 15,0-37-15,18 0 16,-1 1-16,-17 0 16,17-18-16,2 0 0,33 0 15,-33 0 1,-2 0-16</inkml:trace>
  <inkml:trace contextRef="#ctx0" brushRef="#br0" timeOffset="83395.41">15624 9393 0,'52'-17'15,"19"-2"1,-35 19 0,-2 0-16,-15 0 0,16-17 0,-1 17 0,-15 0 15,16-18-15,-18 18 0,2 0 16,-2 0-16,0 0 0,1 0 0,-1 0 16</inkml:trace>
  <inkml:trace contextRef="#ctx0" brushRef="#br0" timeOffset="84661.71">2112 11262 0,'53'0'0,"-35"-17"16,123-19-1,-36 1-15,-17 18 0,-17 0 16,18-2-16,-1 2 0,88-18 16,-88-1-16,-17 19 0,17-1 15,53 0-15,-70 0 0,34 1 16,-69 17-16,-18 0 16,16-17-16,-15 17 0,-2 0 15</inkml:trace>
  <inkml:trace contextRef="#ctx0" brushRef="#br0" timeOffset="84945.59">2817 11316 0,'90'-18'16,"32"0"0,-68 0-16,-1 1 0,16 0 0,-15-2 0,16 2 15,-16-1-15,16 1 0,-18 0 16,2-2-16,-1 2 0,-1-1 0,-16 18 16,17-17-16,-35-2 15,-1 19-15,0-17 0,1 17 0,0-17 16,0 17-16,-18-18 15</inkml:trace>
  <inkml:trace contextRef="#ctx0" brushRef="#br0" timeOffset="85515.73">2359 10098 0,'370'-53'0,"-282"36"0,2-1 0,-2 18 15,0-17-15,0-2 0,0 2 0,0 17 16,0-17-16,-18-1 0,-16 18 16,16-18-16,-16 18 0,-2 0 0,-16 0 15,-19-18-15,18 18 16,-17 0-16,-18 18 0</inkml:trace>
  <inkml:trace contextRef="#ctx0" brushRef="#br0" timeOffset="85784.79">2800 10186 0,'88'0'16,"-35"-17"-16,18 0 0,0 17 15,-1-19-15,18 2 0,0-1 16,0 1-16,0 17 0,-17-17 0,17-2 15,-17 19-15,-1-17 0,1 17 0,-18-18 16,35 18 0,-53-17-16,-16 17 0,15 0 0,-16 0 0,0 0 15,0 0-15,-1 0 16,-52 17 15</inkml:trace>
  <inkml:trace contextRef="#ctx0" brushRef="#br0" timeOffset="108127.76">26860 15884 0,'17'0'0,"1"0"16,-1 0-1,-52 0 63,-18 36-62,36-36-16,-1 0 16,1 17-16,-2 0 15,2-17-15,17 18 0,-17-18 16,17 18-16,34 17 31,-15-18-31,16 1 16,-18 0-16,36 17 15,-53-18-15,18 2 16,-18-2-16,0 1 16,-18-1-16,1 2 15,0-2-15,-2-17 16,2 17-16,-1-17 0,1 0 15,-2 0-15,2 0 0,0 0 16,-1 0-16,0 0 16</inkml:trace>
  <inkml:trace contextRef="#ctx0" brushRef="#br0" timeOffset="108704.88">27195 16042 0,'-18'0'15,"1"0"1,-2 18-16,19 0 16,-17-18-16,17 18 0,-17-18 0,17 17 15,0 0-15,0 2 16,0-2 0,17-17-1,0 0 16,-17-17-31,19 17 0,-2-19 32,1 19-17,-1 0-15,2 19 16,-2-19 0,0 17-1,-17 1-15,18-18 16,-18 17-1,17-17 32,2 0 0,-19-17-31,17 17-1,0 0-15</inkml:trace>
  <inkml:trace contextRef="#ctx0" brushRef="#br0" timeOffset="109171.15">27353 16237 0,'18'-17'0,"-18"-2"15,18 2 1,-18-1-16,18 1 16,-1-2-16,-17 2 15,17 17 1,-17-17-16,19 17 16,-19-18-16,17 18 15</inkml:trace>
  <inkml:trace contextRef="#ctx0" brushRef="#br0" timeOffset="109384.55">27619 16042 0,'0'18'15,"0"35"1,0-17 0,-19-1-1,19-18 1</inkml:trace>
  <inkml:trace contextRef="#ctx0" brushRef="#br0" timeOffset="109524.64">27636 15954 0</inkml:trace>
  <inkml:trace contextRef="#ctx0" brushRef="#br0" timeOffset="109992.36">28217 15884 0,'-17'17'0,"0"-17"16,17 19-16,0-2 0,-18 0 16,18 19-16,-18-18 15,18-1-15,0 0 0,0 1 0,-18 0 0,18 0 16,0-1 0,0 0-16,18 2 0,-18-2 15,-35-34 32,18-2-47,-1 19 31,-18 0-31,19 19 0,0-19 16,-2 0-16,-16 35 16,18-35-1,17 17-15,-19 2 0,19-2 16,19 0-1,-19 1-15,17-18 16,1 0-16,-18 17 0,17-17 0,2 0 16,15-17-16,-16 17 15,35 0-15</inkml:trace>
  <inkml:trace contextRef="#ctx0" brushRef="#br0" timeOffset="110341.47">28447 16078 0,'-18'-18'32,"-16"36"-17,15 0 1,2-1-16,17 0 16,-18 2-16,18-2 15,106-105-15,-212 194 16,124-89-16,-1-17 15,2 0 1,-2 0-16,-17-17 0,17 17 16,-17-18-16,18 18 0,-18-17 15,0-2-15,0 2 16,0 0 0,0-1-16,-18 0 15,1 0-15,0 1 16,-2 17-1</inkml:trace>
  <inkml:trace contextRef="#ctx0" brushRef="#br0" timeOffset="110623.54">28571 16025 0,'0'17'0,"17"1"16,-17 0 15,36-18-15,-1 0-1,1 0 1,-19 0-16,0 0 15,1 0-15,0 0 16,0 0-16,-1 0 0,-17 18 16,17-18-1,-17 17-15</inkml:trace>
  <inkml:trace contextRef="#ctx0" brushRef="#br0" timeOffset="110943.73">27389 16554 0,'52'-17'0,"2"-2"16,-160 55-16,300-72 0,-141 19 15,0 17-15,-1-17 0,19 17 16,53-18-16,-72 0 16,72 0-16,-71 1 0,-18 17 0,1 0 15,-19-17-15,18 17 16,-16 0-16,-2 0 15</inkml:trace>
  <inkml:trace contextRef="#ctx0" brushRef="#br0" timeOffset="111203.47">27619 16642 0,'52'0'16,"-104"0"-16,122-17 16,-35 17-16,18 0 15,-18-17-15,1 17 0,69-19 16,-17 2-16,-17-1 16,0 18-16,-54 0 15,0-17-15,37 17 16,-37-19-16,2 19 0,-2 0 15</inkml:trace>
  <inkml:trace contextRef="#ctx0" brushRef="#br0" timeOffset="113212.71">21585 16166 0,'0'71'16,"-17"-71"-16,17 35 0,0-18 0,0 2 16,0-2-16,0 18 0,0-17 15,0 34-15,0-34 0,-17 0 16,17 0-16,0-1 0,0 0 0,0 2 15,0-2-15,0 1 16,0-1-16,-18-69 47,36 33-47,-18-103 16,0 86-16,17 1 15,-17-36-15,17 37 16,-17-2-16,18 18 0,-18 1 15,18-2-15,0 2 0,-1 0 0,19-1 16,-19 18-16,1 18 16,-1-18-16,-17 17 15,19-17-15,-19 36 0,17-19 16,-17 1-16,-17-1 0,17 19 16,-19-1-16,2-18 15,-18 19-15,-1-1 16,19-17-16,-1 0 0,0-18 15,0 17-15,1 0 0</inkml:trace>
  <inkml:trace contextRef="#ctx0" brushRef="#br0" timeOffset="113445.32">21921 16008 0,'18'34'0,"-18"-16"16,0 0-16,0 17 0,0-18 15,0 19-15,0 18 16,0-20-16,0 108 16,0-125-1,0 0-15,0 19 16,0-18-16</inkml:trace>
  <inkml:trace contextRef="#ctx0" brushRef="#br0" timeOffset="114045.41">22273 16272 0,'0'-18'16,"-17"18"-1,17-17 17,-17 17-17,-2 0 1,2 0-1,17 17-15,-18-17 16,1 18-16,0-1 0,-2 19 16,19-19-16,-17-17 15,17 18-15,-18 0 0,18 0 16,-17-1 0,17 0-16,17 1 0,1-18 15,-1 0 1,2-18-16,-2 1 15,0 0-15,1 17 0,-1-18 16,2 0 0,-2 36 15,-17 0-31,0-1 16,17-17-16,-17 17 0,0 1 15,18-18-15</inkml:trace>
  <inkml:trace contextRef="#ctx0" brushRef="#br0" timeOffset="119487.82">21815 16308 0,'124'-19'0,"-107"19"16,19-17-16,-19 17 0,18 0 0,-18 0 16,19 0-16,-18 0 0,18 0 15</inkml:trace>
  <inkml:trace contextRef="#ctx0" brushRef="#br0" timeOffset="119715.96">21285 16625 0,'54'-17'31,"-20"17"-31,2 0 0,35-19 0,-18 19 16,-1-17-16,2 17 0,16-18 0,-16 18 15,-2 0-15,18-17 0,-16 17 16,-1-19-16,16 19 0,55-17 15,-53 17-15,0 0 0,-1-17 16,36-1-16,-18 18 0</inkml:trace>
  <inkml:trace contextRef="#ctx0" brushRef="#br0" timeOffset="120267.22">27195 16042 0,'70'0'16,"-35"0"-1,1 0-15,17-17 0,18 17 0,-2 0 0,2 0 16,-18 0-16,18-17 0,0 17 16,-18 0-16,52 0 0,-51 0 15,-20 0-15,2 0 0,-1 0 0,-18 0 16,1 0-16,0 0 0</inkml:trace>
  <inkml:trace contextRef="#ctx0" brushRef="#br0" timeOffset="120508.6">27300 16289 0,'71'0'15,"-35"0"-15,-2 0 0,2 0 16,-1-17-16,36 17 0,-18-18 0,18 18 0,-19-17 15,18 17-15,-16 0 16,16-17-16,-16 17 0,-20-19 0,90 2 16,-89 17-16,1 0 15,-19 0-15,1-18 0,18 18 16,-2 0-16</inkml:trace>
  <inkml:trace contextRef="#ctx0" brushRef="#br0" timeOffset="121107.96">26543 17296 0,'-19'34'16,"19"-16"-1,0 18-15,0-19 16,0 0-16,0 1 0,0 0 0,0 0 0,0-1 15,19 0-15,-19 1 16,0 0-16,-19 0 0,19-1 0,0 0 16,0 2-16</inkml:trace>
  <inkml:trace contextRef="#ctx0" brushRef="#br0" timeOffset="121397.36">26524 17330 0,'71'-17'16,"-35"17"-16,-2 17 15,-16 1-15,0-18 0,17 36 0,-18-2 16,2-16-16,-2 0 15,-17 0-15,0-1 0,0 0 0,-17 19 16,-2-18-16,19 16 16,-17-34-16,0 19 0,-1-2 0,0 1 15,0-18-15,1 17 0,0-17 16,-1 19-16</inkml:trace>
  <inkml:trace contextRef="#ctx0" brushRef="#br0" timeOffset="121753.54">27107 17418 0,'-18'18'16,"1"-18"-16,17 18 15,-19 0-15,2-1 16,0 18-16,17-17 0,0 17 16,0-18-16,0 2 15,0-2-15,17-17 16,19 18-16,-36-36 16,35 18-16,-35-17 15,17 17-15,0-19 0,-17 2 16,0 0-16,0-1 15,0 0-15,-17 18 16,17-18-16,-17 18 16,-1-17-16,1 17 15,17-17-15</inkml:trace>
  <inkml:trace contextRef="#ctx0" brushRef="#br0" timeOffset="121948.73">27319 17225 0,'0'17'31,"0"18"-15,0-16-16,0-2 0,-19 18 16,19-18-16,0 2 0,0-2 15,0 0-15,0 1 0,-17 0 16,17 17-16,17-18 0,-17 1 15,19-18-15</inkml:trace>
  <inkml:trace contextRef="#ctx0" brushRef="#br0" timeOffset="122204.52">27441 17472 0,'19'17'32,"-19"0"-17,0 1-15,0 0 16,17 0-1,1-1-15,-1-17 16,-88-88-16,178 176 0,-214-193 0,231 210 16,-106-122-16,-1 17 15,-17-18-15,19 18 0,-19-18 16,0 0-16,0 1 16,-19 0-16,2 17 15,-1-18-15,1 18 16,17-18-1</inkml:trace>
  <inkml:trace contextRef="#ctx0" brushRef="#br0" timeOffset="122640.86">28095 17172 0,'-36'141'16,"36"-106"-16,0-18 0,0 19 15,0-19-15,0 1 0,0 0 0,36 17 16,-36-18-16,17-17 16,0 18-16,1-18 15,0 0-15,0-18 16,-18 1-1,0 0-15,0-1 16,-18 18-16,18-18 0,-18 0 16,0 1-1,-16 0 1</inkml:trace>
  <inkml:trace contextRef="#ctx0" brushRef="#br0" timeOffset="123024.47">28447 17225 0,'-35'0'0,"18"17"0,69-34 0,-123 34 32,71 1-32,-17-18 15,34 36 1,2-36-16,-2 17 16,0 0-16,1 1 15,0-1-15,0-17 0,-18 19 0,17-19 16,-17 17-16,0 0 15,0 1 1,-17 0-16,-1-18 0,18 18 16,-18-18-16,0 17 0,1-17 15,17 17-15,-17-17 0,-19 0 16</inkml:trace>
  <inkml:trace contextRef="#ctx0" brushRef="#br0" timeOffset="123328.67">28605 17277 0,'-17'36'16,"17"-19"0,17 18-1,-17-16-15,19-19 16,-2 17-1,1-17-15,-1 0 0,2 0 0,-2 0 16,0 0-16,1 0 0,0 0 0,0-17 16,-1 17-16,-17-19 15,17 19-15,-17-17 0,0-1 16,0-16-16,-17 15 16,17 2-16,-35-1 15,17 18-15,0-17 0,1 17 0,0 0 16,-2 17-16,2-17 0,-18 0 15,-18 18-15,18-1 0</inkml:trace>
  <inkml:trace contextRef="#ctx0" brushRef="#br0" timeOffset="123795.23">27300 18018 0,'71'-17'0,"-53"17"16,17-19-16,1 19 0,16-17 0,19 17 15,-18-17-15,0 17 0,17-18 0,-17 1 16,0 17-16,18-19 0,-19 2 0,19 0 16,-18 17-16,35-18 15,-52 0-15,-19 18 0,1 0 0,-1 0 16,2-18-16,-2 18 0,-17 18 16,-17 0-1</inkml:trace>
  <inkml:trace contextRef="#ctx0" brushRef="#br0" timeOffset="124047.8">27407 18106 0,'53'0'31,"-36"0"-31,54-17 0,-19 17 16,19-17-16,-18-2 0,18 19 15,-1-17-15,1 17 0,52-35 16,-17 16-16,-54 2 16,2 17-16,-18-17 0,-2 17 15,1-18-15,-16 18 0,33-17 16,-16-2-16,-2 19 0,-15-17 16,-2 17-16,1 0 15,-18-17-15,17 17 0,0 0 16</inkml:trace>
  <inkml:trace contextRef="#ctx0" brushRef="#br0" timeOffset="126125.77">26101 17454 0,'-17'-18'0,"-2"18"16,2 0-16,-18 18 15,-18-18-15,18 0 0,-18 18 16,17-18-16,1 0 0,-18 17 16,1-17-16,-1 0 0,-71 17 15,72 1-15,-19-18 0,18 18 16,-1-18-16,20 0 0,-2 0 15,-34 18-15,34-18 0,2 0 0,15 0 16,2 17-16,-1-17 16,-18 0-16,19 17 0</inkml:trace>
  <inkml:trace contextRef="#ctx0" brushRef="#br0" timeOffset="126451.79">25219 17384 0,'-106'17'16,"89"-17"-16,17 17 0,-17-17 15,-2 18-15,2-18 0,-1 18 16,1 0-16,17-1 0,-19 0 16,19 1-16,0 0 0,0 0 15,0-1-15,19-17 0,-19 17 16,17 2-16,1-2 0,-1 1 0,2-1 16,15 2-16,2-19 15,-18 17-15,-1-17 0,0 0 0,1 0 16,0 0-16,0 0 0,-1 0 0,0 0 15</inkml:trace>
  <inkml:trace contextRef="#ctx0" brushRef="#br0" timeOffset="133031.06">21727 17630 0,'-18'-17'31,"36"-2"1,-18 2-17,17 0 1,2-1-16,-19 0 16,52 0-16,-16 1 15,16 0 1,-34 17-16,0 0 0,-1 0 15,0 0-15,37 17 16,-37-17-16,0 17 0,19 1 0,-36 0 16,35 17-16,-16-18 0,-19 2 15,17-2-15,-17 37 16,0-37-16,0 0 16,0 1-16,-17 18 0,17-19 0,-19 0 15,19 1-15,-17 0 0,-1 17 0,1-18 16,-2-17-16,2 19 0,0-2 0,-1 1 15,1-18-15,-2 17 0,2-17 16,0 0-16,-1 0 0,0 0 16,0 0-16,1 0 0,0 0 0,-2 0 15,2-17-15,-1 17 0,1 0 16,0-18-16,17 1 0,-19 17 0,2-19 16,-1 2-16,18 0 0,0-1 15,-17 0 1,17 0-16,0 1 0,0 0 0,0-2 15,0 2-15,0-1 0,17 1 16,-17 0-16,18-2 16,-18 2-16,0-1 0,17 1 0,2-19 15,-2 36 1,0-35 0,1 35-16</inkml:trace>
  <inkml:trace contextRef="#ctx0" brushRef="#br0" timeOffset="133273.23">21956 17489 0,'-17'88'16,"17"-71"-16,0 2 0,0 16 0,0 1 16,0-2-16,0-16 15,0-1-15,0 19 0,0-19 0,0 1 16,0 0-16,-18 0 0,18-1 16</inkml:trace>
  <inkml:trace contextRef="#ctx0" brushRef="#br0" timeOffset="140725.39">22309 17772 0,'18'0'0,"16"-19"15,-15 19-15,-2 0 16,1 0-16,-1-17 0,0 17 15,2 0-15,-2-18 16,18 1 0,-16 17-16</inkml:trace>
  <inkml:trace contextRef="#ctx0" brushRef="#br0" timeOffset="140978.37">22591 17560 0,'36'0'31,"-19"17"-31,-17 0 0,17-17 16,-17 19-16,18-2 0,-18 1 0,0-1 15,18 2-15,-18-2 0,0 0 16,0 18-16,-18-16 0,18 15 15,-18-16-15,18 18 0,-17-19 16,0 0-16,17 2 16,-18-2-16</inkml:trace>
  <inkml:trace contextRef="#ctx0" brushRef="#br0" timeOffset="147969.37">22661 17384 0,'247'-54'16,"-176"54"-16,17-17 0,-18 0 16,20 17-16,-21-19 0,72 2 15,54-1-15,-124 18 16,-19 0-16,37-17 16,-1 17-16,-53 0 15,35-19-15,-52 19 0,0 0 16,34 0-16,-34 0 15,0 0-15,0 0 0,-1 0 16,19 0-16</inkml:trace>
  <inkml:trace contextRef="#ctx0" brushRef="#br0" timeOffset="148287.95">24037 17084 0,'18'-18'16,"0"18"-16,0 0 15,16 18-15,-16-18 0,0 17 16,17-17-16,-18 17 0,19 1 15,18 18-15,-20-19 16,-16 0-16,18 19 0,-36-18 16,0-1-16,0 2 15,0 15-15,-36 1 16,18-16-16,-35 15 16,36-16-16,-18-18 15</inkml:trace>
  <inkml:trace contextRef="#ctx0" brushRef="#br0" timeOffset="148784.1">22820 17225 0,'-123'140'16,"123"-121"-16,0 15 16,0-16-16,71 70 15,-36-52-15,18-19 16,176 36 0,-106-18-16,-35-35 15</inkml:trace>
  <inkml:trace contextRef="#ctx0" brushRef="#br0" timeOffset="153264.81">21763 17824 0,'0'-18'0,"-19"18"15,-16 0 17,18 0-32,-2 0 0,-15 0 15,16 0-15,0 0 0,-17 0 16,-18 0-16,35 0 16,-16 0-16,15 0 0,-16 0 0,18 0 15,-36 0-15,35 0 16,1 0-16,-19 0 0,19 0 0,-1 0 15,0 0-15,0 0 0,-35 0 16,36 0-16,-1 0 0,1 0 16,0 0-16,-2 18 0,2-36 15,-1 18-15,1 0 16,-2 0-16</inkml:trace>
  <inkml:trace contextRef="#ctx0" brushRef="#br0" timeOffset="153579.69">21056 17577 0,'-52'17'16,"16"19"-1,19-18-15,-18-1 16,16 2-16,19-2 0,-17 0 16,0 1-16,17-1 15,-18 19-15,18-19 0,18 19 16,-18-18 0,17-1-16,0 0 15,2-17-15,-2 0 0,1 0 0,16 0 16,-15 0-16,16 0 0,-18 0 0,2 0 15,-2-17-15,0 17 0</inkml:trace>
  <inkml:trace contextRef="#ctx0" brushRef="#br0" timeOffset="154312.26">18393 17030 0,'0'54'16,"0"-20"-16,0 20 15,18-37-15,-18 19 0,0-19 0,0 18 16,17-16-16,-17 33 16,0-35-16,0 2 0,17-2 15,-17 0-15,0 19 0,0-18 16</inkml:trace>
  <inkml:trace contextRef="#ctx0" brushRef="#br0" timeOffset="154739.31">18252 17066 0,'0'-53'15,"17"36"1,1-2-16,0 19 0,0-17 16,-1 17-16,19-18 15,-19 18-15,-17-17 0,35 17 16,-18 17-16,2-17 0,-2 18 16,1-1-16,-18 2 15,0-2-15,0 0 0,0 37 16,-18-37-16,18 0 15,-17 1-15,17 0 0,-19-18 0,2 35 16,0-18-16,17 2 16</inkml:trace>
  <inkml:trace contextRef="#ctx0" brushRef="#br0" timeOffset="155145.81">18587 16854 0,'0'35'16,"18"1"-1,-18-1-15,18-18 0,-18 2 16,17 33-16,-17-34 15,17 34-15,-17-34 0,18 18 16,-18-19-16,0 0 16,0 2-16,0-2 15,18 1-15,0-36 32,-18 1-32,17-2 15,0 2 1,19 17-1,-1 0-15,-18 17 16,2-17-16,-2 0 16,-17 19-16,18-19 0,-1 17 15,2 1 1,-2-18 0</inkml:trace>
  <inkml:trace contextRef="#ctx0" brushRef="#br0" timeOffset="155677.16">18975 16977 0,'-18'36'16,"36"-19"-16,-18 1 16,18-18-1,-18 18-15,18-18 0,-1 0 16,0 0 0,1 0-16,0-18 15,0 18-15,-18-18 0,0 1 0,17 17 16,-17-17-16,0-2 0,0 2 15,17 17-15,-17-18 16,0 1-16,0-2 16,19 55 15,-2-18-31,-17-1 16,0 2-16,0-2 0,18 18 15,-1 18-15,-17-36 16,19 37-16,-19-37 0,17-17 15,-17 36-15,0-1 16,0-18 0,0 2-16,-17-2 15,-2-17-15,2 17 0,-1-17 16,1 0 0,-2 0-16,2 0 15,0-17 1</inkml:trace>
  <inkml:trace contextRef="#ctx0" brushRef="#br0" timeOffset="156036.53">19292 16872 0,'-17'0'15,"-1"0"-15,18 17 16,0 0-16,18 2 16,-18-2-16,17 1 15,2-1-15,-19 2 0,17-19 16,-17 17-16,0 0 0,17 1 15,-17 0 1,0 0-16,-17-1 0,17 0 16,-17 1-16,-2 0 15,2-18 1,-1 18-16,1-18 16</inkml:trace>
  <inkml:trace contextRef="#ctx0" brushRef="#br0" timeOffset="156901.26">19433 16801 0,'-17'36'16,"17"-19"0,0 1-16,0 16 15,0-15-15,17 16 16,-17-18-16,0 2 0,18-19 16,-18 17-16,18-17 15,0 0-15,-1-17 16,0 17-16,-17-19 15,19 19-15,-2-17 16,1 17 0,-1 17-1,2-17-15,-2 0 16,18 0 0,-18 0-16,2 0 0,-2-17 15,0 17-15,-17-18 16,0-18-1,-17 19-15,0 0 16,-19-1-16,18 18 16,18-17-1,-17 17-15,0 17 16</inkml:trace>
  <inkml:trace contextRef="#ctx0" brushRef="#br0" timeOffset="157319.79">19663 16448 0,'17'53'16,"2"-17"-1,-19-1-15,17 18 0,0-18 16,-17-18-16,0 19 0,18-1 0,-18 18 16,18-17-1,-18-1-15,0-18 0,18 0 16,-1-17-16,0 0 15</inkml:trace>
  <inkml:trace contextRef="#ctx0" brushRef="#br0" timeOffset="157592.35">19928 16784 0,'35'-71'16,"-35"106"15,17-17-15,-17 0-16,19-18 15,-2 17-15,0-17 16,1 0-16,0 0 0,0 0 16,-1-17-16,0-1 15,-210 36-15,386-54 16,-210 18-16,17 1 16,-17 17-16,17-17 0,-18 17 15,0-19-15,-17 19 16,18 0-16,-2 0 15,2 19 1</inkml:trace>
  <inkml:trace contextRef="#ctx0" brushRef="#br0" timeOffset="158228.59">20139 16537 0,'-18'0'15,"36"0"-15,-53 0 16,35 17-16,-17 1 31,17-1 0,17 2-15,0-19 0,1 17-1,18 18 1,-36-18-16,17 2 0,0-19 16,2 52-16,-19-16 15,17-19-15,-17 0 16,-17 2-16,17-2 0,0 1 15,0-1-15,0 0 0,-19 2 16,19-55 31,0 1-47,0 18 16,19-2-16,-19 2 15,0 0-15,17-1 16,-17 0-16,18 0 0,-1-16 15,-17 15 1,19 2-16,-19-1 0,17 1 16,0 0-16,-17-2 15,0 2-15,18 17 16,-18-18-16,17 36 31,-17-1-15,19-17-16,-19 19 0,0-2 0,17 0 15,-17 1-15,0-1 16,0 2-16,17-2 0,-17 0 16</inkml:trace>
  <inkml:trace contextRef="#ctx0" brushRef="#br0" timeOffset="158381.28">20333 16342 0,'-17'0'0,"17"18"16</inkml:trace>
  <inkml:trace contextRef="#ctx0" brushRef="#br0" timeOffset="158645.39">20633 16396 0,'-17'0'0,"-2"17"16,2 36-1,17-35 1,0-1-16,-17 0 0,17 2 0,0-2 15,0 1-15,0-1 16,0 19-16,17-36 0,-17 17 16,17-17-16,2 18 15,16-36-15,1 18 16,-19-17 0</inkml:trace>
  <inkml:trace contextRef="#ctx0" brushRef="#br0" timeOffset="159164.31">20933 16413 0,'-17'0'0,"-2"0"16,2 0-1,0 17-15,-1-17 16,18 18-16,-18-18 0,18 18 15,-18 0 1,18-1 0,-17-17-1,34 0 17,1 17-17,0 2 1,0-2 15,-1-17-15,0-17-16,2-2 15,-2 19-15,-17-17 0,18-18 16,-1 17-16,0-34 16,-17 16-16,0 1 0,19-36 15,-19 37-15,0-2 0,0 18 16,0 1-16,0-2 0,0 2 0,17 0 15,-17-1-15,-17 70 32,17-33-32,0 16 0,0-18 0,0 19 0,0-1 15,0 1-15,0-2 16,0 20-16,17-2 16,1 1-16,-18-17 15</inkml:trace>
  <inkml:trace contextRef="#ctx0" brushRef="#br0" timeOffset="160001.17">18923 17965 0,'-19'-17'0,"2"34"31,17 0-31,17 19 16,-17-18-16,0-1 0,0 2 0,19 15 16,-19-16-16,0-1 0,17 2 15,-17 33-15,17-16 16,-17-19-16,18-17 16,-18 17-16,0-34 31,0 0-31,0-1 0,18 0 15,-18-17 1,18 18-16,-1-2 0,0 2 16,19-1-16,-18 18 15,-1 0-15,0 18 16,2-18-16,-2 36 16,-17-19-16,0 0 0,0 1 15,-17 0-15,17 0 16,-19-1-16,2 0 15,0 2-15,-1-19 0,0 0 16,0 17-16,1-17 16,17-17-1</inkml:trace>
  <inkml:trace contextRef="#ctx0" brushRef="#br0" timeOffset="160348.45">19381 18072 0,'-18'-107'16,"18"90"-1,-18 17-15,1-18 16,17 36 0,-17 16-1,34-15 1,-17-2-16,0 1 16,17-18-16,1 36 15,0-36 1,0 17-16,-1-17 15,18-17 1,-17 17 0</inkml:trace>
  <inkml:trace contextRef="#ctx0" brushRef="#br0" timeOffset="160700.51">19540 17877 0,'0'-17'15,"17"34"1,-17 0-16,18-17 0,-18 19 16,0-2-16,17-17 0,-17 18 15,0-1-15,19 0 16,-2-34 15,0 0-15,18-18-1,-16 16 1,15 19 0,-16 0-1,0 0-15,0 19 16,16-19-1,2-19-15</inkml:trace>
  <inkml:trace contextRef="#ctx0" brushRef="#br0" timeOffset="161110.85">19945 17824 0,'18'-35'16,"-1"-1"-1,2 19 1,-19-1-16,0 1 16,0-19-1,-19 55 32,19-2-31,0 0-16,19 18 15,-2-35 1,0 0-16,1 0 16,-18-17-16,18 17 0,0-18 15</inkml:trace>
  <inkml:trace contextRef="#ctx0" brushRef="#br0" timeOffset="161572.72">20175 17330 0,'-18'-70'0,"18"52"15,18 106-15,-36-122 32,36 51-17,-18 18-15,17 1 0,-17-2 16,17 20-16,2-20 0,-2 20 16,1 34-16,-18-35 0,17-1 15,-17 19-15,0-35 0,-17 69 16,17-88-1,0 2-15,-18-2 0,18 1 16,-17-18-16,17 17 0,-19-17 0,2 0 16,0 0-1,-1-17-15,18-1 16,0 1-16,0-2 16,0 2-16,18 0 0,-18-1 15,17 1-15,0-19 0,-17 19 16,19-19-16,-2 18 0,1 1 0,-18 0 15,17-2-15,2-16 0,-19 18 16,17 0-16,0 17 0,-17-19 0,0 2 16,18 17-16,-18-18 0,17 18 15,2 18 17,-2-1-17,-17 2-15,0-2 0,17-17 16,-17 17-1</inkml:trace>
  <inkml:trace contextRef="#ctx0" brushRef="#br0" timeOffset="161915.67">20563 17154 0,'0'52'31,"0"2"-15,0-37-16,0 2 0,17 33 15,-17-35-15,0 19 0,0-19 0,17 1 16,-17 0-16,19 0 16,-19-1-16,17-17 0,-17 17 15</inkml:trace>
  <inkml:trace contextRef="#ctx0" brushRef="#br0" timeOffset="162080.47">20509 17418 0,'0'-17'0,"36"-19"15,-18 36 1,-1-17-16,0-1 0,2 1 15,-2 0-15,18-2 0,1 2 16</inkml:trace>
  <inkml:trace contextRef="#ctx0" brushRef="#br0" timeOffset="164290.99">17459 16854 0,'34'-17'15,"2"-2"1,-18 2-16,87-18 15,-34-1-15,-1 19 0,18-19 0,0 1 16,90-35-16,-73 35 16,19-18-16,123-53 0,-106 53 15,-18 17-15,1-16 0,17-1 0,-18-1 16,142-16 0,-54 0-16,-105 34 0,-18 2 0,18-2 15,71-35-15,-106 54 16,17-18-16,34-1 15,-15 1-15,-72-1 0,18 19 16,-18 0-16,-18 17 0,19-18 16,-1 0-16,-17 0 0,0 18 15,-1-17-15,0 17 0,2 0 0,-2-17 16,1 17-16,-18-19 16,17 19-16,0-17 15,2 17-15,-2 0 31,1-18-31,-1 18 16,2 0 15,-2 0 1,-17 18-17,17-18-15,-17 17 16,18 2-1,-1 15 1,-17-16-16,0 0 0,19 17 0,-2 18 16,-17-18-16,0-18 15,17 19-15,-17-18 0,18 35 16,-18-1-16,0-33 16,0-2-16,0 0 0,0 1 0,18 0 15,-18 0-15,0-1 0,0 0 16,0 1-16,0 0 0,0 0 0,0-1 15,0 0-15,0 2 0,0-2 16,0 1-16,0 18 16,0-19-16,0 0 0,18 18 15,-18-16-15,0-2 16,0 0-16,0 1 0,0 0 16,0 0-16,0-1 0,0 18 15,0-17 1,0 0-16,0-1 15,-18-17-15,18 17 0,0 19 16,0-18 0,-18-1-16,18 2 15,0-2-15,-18 0 0,18 1 16,-17-1 0,17 2-16,-17-2 0,17 0 15,-19 1-15,19 0 16,-17 0-16,-1-1 0,18 0 15,0 2-15,-17-19 0,17 17 0,-17 1 16,17-1-16,-19-17 0,19 17 16,-17 2-16,17-2 0,-18-17 15,18 18-15,-17-1 0,17 2 0,-19-19 16,2 34-16,0-16 16,17 0-16,-18 0 15,18-1-15,-17 0 0,17 1 16,-19-18-16,19 18 0,-17 0 15,17-1-15,-17 0 16,17 2 0,-18-19-16,18 17 0,-18 18 15,18-16-15,-18-19 16,18 17-16,0 0 0,0 1 16,-17-18-16,17 17 0,0 2 15,-17-2-15,17 0 0,0 1 16,-19 0-1,19 0-15,0-1 0,-17-17 16,17 17-16,0 1 0,0 0 16,-18-18-16,18 18 15,0-1-15,0 0 16,0 2-16,-17-19 0,17 17 16,0 1-16,0-1 15,-17 2-15,17-2 0,0 0 16,-19 1-16,19-1 15,0 2 1,-17-2-16,17 0 16,0 1-16,-18 0 0,18 0 15,0-1-15,-17 0 0,-2 2 16,19 16-16,-17-18 0,0 19 16,17-19-16,-18 1 0,0-1 15,18 19-15,-18-19 0,1 1 16,17-1-16,-17 2 0,-1 15 15,0 2-15,18-18 0,-18-1 16,18 0-16,-17 2 0,0-2 16,-2 35-16,19-33 0,-17-2 15,-1 18-15,-16 1 16,34-19-16,-19 1 0,2 0 16,-1 0-16,1-1 0,-2 18 15,2-17-15,-36 17 16,35-18-16,-34 19 0,16-18 0,19-18 15,-36 36-15,18-19 16,16-17-16,-15 17 0,16-17 16,-35 18-16,18-1 0,17-17 0,0 19 15,-16-19-15,15 17 16,-50 0-16,50 1 0,-16-18 16,-1 18-16,2 0 0,-2-18 0,1 17 15,-18 0-15</inkml:trace>
  <inkml:trace contextRef="#ctx0" brushRef="#br0" timeOffset="164640.43">19363 18970 0,'-882'-52'0,"865"52"0,-71-53 15,69 36-15,-15-2 0,16 2 0,-18-18 16,36 18-16,-17-19 15,0 18-15,17-18 0,-19 19 16,2-18-16,17 17 0,-18-17 0,18 0 16,-17-1-16,0 2 0,-2-20 0,2 18 15,17-16-15,-18 16 0,1-16 16,-2 16-16,-15-52 0,16 35 16,0 18-16,0-18 0,-16-18 15,-2 19-15,18-1 16,1 17-16,0-16 0,-2-1 0,2-1 15,-18-51-15,-1 0 0,19 51 16,-1 1-16,18 1 16,-17 16-16,-2-17 0,19 18 15,0 18-15,0-19 0,0 18 0,0 1 0,19 0 16,-19-2-16,0 2 16</inkml:trace>
  <inkml:trace contextRef="#ctx0" brushRef="#br0" timeOffset="193647.01">30176 1526 0,'0'-18'0,"-17"36"187,17 0-93,0-1-78,0 0-1,-19 2-15,19 16 16,0-1-16,-17-34 16,17 36-16,-18-1 15,18 1-15,-17-19 0,17 1 16,0 18-16,-19-19 0,19 0 0,0 1 15,-17 0-15,17 0 0,0-1 16,0 0-16,0 2 0,-17-19 16,17 17-16,0 1 0,0-1 15,0 2 1,17-19 46,19 0-46,-19-19 0,37 19-1,-37-17-15,0 17 0,1 0 16,0 0-16,17 0 0,-18 0 0,1 0 16,0-18-16,0 18 0,-1 0 0,0 0 15,2 0-15,16 0 16,-18 0-1,-17-17-15,19 17 16,-19-19 15,17 2-15,-17 0-16,-17-1 16,17-18-1,0 19-15,0-18 0,0-1 16,0 19-16,0 0 0,0-2 15,0 2-15,0-1 0,0 1 16,0-2-16,0 2 16,0 0 15</inkml:trace>
  <inkml:trace contextRef="#ctx0" brushRef="#br0" timeOffset="194749.46">30140 1437 0,'71'-17'15,"-35"17"-15,-19 0 0,18 0 0,89-35 16,-71 35-16,18 0 16,-19-17-16,18 17 15,-16-19-15,16 19 0,-16-17 0,-2 17 16,125-35-16,-108 16 0,-33 19 16,-1-17-16,1 17 0,-1 0 15,35-17-15,-52 17 16,0 0-16,0-18 0,-1 18 0,0 0 15,2 0-15,-2-18 16,1 18 0,-1 0-16,0 0 15,-17 18 1,19-18-16,-19 18 16,0-1-16,0 0 15,0 2-15,0-2 16,0 1-16,0-1 0,0 2 15,0-2-15,0 18 16,0-18 0,0 2-16,0-2 15,0 0 1,-36 1 0,19-18-16,-1 0 0,18 18 15,-17-18-15,-2 0 0,2 0 16,-18 18-16,-18-18 15,36 17-15,-19-17 0,1 0 0,18 0 0,-19 17 16,1-17-16,-1 0 0,1 0 16,-1 19-16,19-19 0,-54 0 15,18 17-15,18-17 0,18 0 16,-19 0-16,19 0 16,-1 0-16,1 0 0,-2 0 0,-15 18 15,16-18-15,0 0 0,0 0 16,1 0-16,0 0 15,-19 0-15,18 0 16,1 0 0,0 0 15</inkml:trace>
  <inkml:trace contextRef="#ctx0" brushRef="#br0" timeOffset="195183.53">30776 1649 0,'-36'17'31,"19"-17"-31,-19 36 16,18-36-1,1 18-15,0-18 0,-37 36 16,37-19-16,0-17 16,-2 17-16,2-17 0,-1 18 15,1-18-15,0 18 16</inkml:trace>
  <inkml:trace contextRef="#ctx0" brushRef="#br0" timeOffset="197353.2">30652 1314 0,'-17'35'16,"17"-16"-16,0-2 0,0 18 15,0-18-15,-18 2 0,18 15 16,0-16 0,0 0-16</inkml:trace>
  <inkml:trace contextRef="#ctx0" brushRef="#br0" timeOffset="197972.44">31076 1402 0,'176'-17'16,"-124"0"-1,1 17-15,-17-19 0,16 19 16,-16-17-16,16 17 0,2 0 16</inkml:trace>
  <inkml:trace contextRef="#ctx0" brushRef="#br0" timeOffset="198437.69">30599 1526 0,'88'-36'0,"-52"19"16,-2 17-16,20 0 0,-18-17 0,16 17 0,-16-19 15,16 19-15,18 0 16,-34-17-16,-1 17 0,1 0 15</inkml:trace>
  <inkml:trace contextRef="#ctx0" brushRef="#br0" timeOffset="198615.11">30440 1632 0,'71'-18'16,"-35"18"-16,-2 0 16,20 0-16,-20-17 0,2 17 0,16 0 15</inkml:trace>
  <inkml:trace contextRef="#ctx0" brushRef="#br0" timeOffset="199464.18">30440 750 0,'-123'159'15,"105"-124"-15,18 1 16,-18-19-16,18 0 0,-17 1 0,17-1 0,0 2 15,0-2 1,17-17-16,1 0 16,18 0-1,-19-17-15,19 17 16,-19 0 0,1 0-16,-18 17 0,17-17 0,2 0 15,-19 17 1,17-17-16,-17 18 0,17-18 15,-17 18-15,18-18 0,-18 18 16</inkml:trace>
  <inkml:trace contextRef="#ctx0" brushRef="#br0" timeOffset="199756.55">30652 961 0,'-17'19'31,"17"-2"-31,17 0 0,-17 1 16,35-1 0,1-17-1,-2-17 1,-15-1-1,-2 18-15,1-17 16,-18 0 0</inkml:trace>
  <inkml:trace contextRef="#ctx0" brushRef="#br0" timeOffset="200044.11">30969 873 0,'0'17'0,"18"2"0,-18-2 16,0 1-16,0-1 16,0 2-1,0-2 1,18-17-1,0 0 17,-1 0-32,0 0 0,2 0 15,-2 17 1,1-17-16,-1 0 16,0 18-16</inkml:trace>
  <inkml:trace contextRef="#ctx0" brushRef="#br0" timeOffset="201675.47">26507 1737 0,'0'-17'0,"17"53"31,-17-19-31,0 0 0,0 1 16,0 0-16,0 0 0,0 16 15,0-16-15,0 18 0,0-19 16,0 19-16,0-19 0,0 1 0,0-1 15,0 2-15,0-2 0,0 0 16,0 1-16,0-1 0,0 2 0,0-2 16,0 0-16,0 1 0,19-18 15,-19 18 1,17-18-16,-17 18 16,17-18-16,1 0 46,0-18-30,0 0 0,-18 0-1,0-16-15,17 34 16,-17-36 0,0 18-16,0 1 0,17-19 15,-17 19 1,0-18-1,0 16 1,0 2 0,18 0 15,-18-1-15,-18 0 93</inkml:trace>
  <inkml:trace contextRef="#ctx0" brushRef="#br0" timeOffset="202944.53">26543 2196 0,'34'0'63,"2"0"-48,-18 0 1,16 0 0,2-18-1,-18 18-15,-1 0 0,0-17 16,-17 0-1,19 17 1,-19-19-16,0 2 16,0-1-1,0 1 1,-19 0-16,19-2 0,0 2 16,0-1-1,0 1-15,-17 17 16,17-19-1,0 2 1,0 0 0,-17 17-1,17-18 1,0 0 78,34 18-79,-15 0-15,-2-18 16,18 18-16,-16 0 0,-2 0 16,18-17-16,-18 17 0,19 0 15,35-17-15,-54 17 0,19-18 16,-19 18-16,35-18 15</inkml:trace>
  <inkml:trace contextRef="#ctx0" brushRef="#br0" timeOffset="203673.19">26577 1685 0,'335'-71'15,"-282"54"-15,1 17 16,-1-19-16,158-33 16,-175 52-1,34-18-15,-35 0 0,-18 18 0,19 0 16,-18-17-16,-1 17 0,0 0 16,2-17-16,-2 17 0,1 0 15,-1-19 1,2 19-16,-2 0 15,0 0 1,-17 19-16,18-19 0,-18 17 0,18 0 16,-18 1-1,0 0-15,18 0 0,-1-1 16,-17 0-16,0 2 16,17-2-16,-17 1 15,0-1-15,0 0 16,0 2-16,-17-19 15,0 17-15,-1 1 16,0-18-16,-34 36 0,16-36 16,-35 17-16,36 0 0,-1 1 15,19-18-15,-18 18 16,-18-18-16,36 18 0,-19-18 16,18 0-16,1 0 0,0 17 0,-2-17 15,2 0-15,-1 0 16</inkml:trace>
  <inkml:trace contextRef="#ctx0" brushRef="#br0" timeOffset="204195.85">27053 1878 0,'0'0'0,"19"18"31,-19 0-15,0 0-1,0-1 1,17 0-16,-34-17 0,17 36 31,-19-18-31,2-18 0,-54 36 16,54-36 0,0 0-16,-2 17 0,-33-17 15,35 17 1,-2-17-16,2 0 0,17 18 15,-18-18-15</inkml:trace>
  <inkml:trace contextRef="#ctx0" brushRef="#br0" timeOffset="204537.35">26948 1914 0,'-53'35'15</inkml:trace>
  <inkml:trace contextRef="#ctx0" brushRef="#br0" timeOffset="207763.39">28112 1773 0,'195'-36'0,"-161"36"0,20-17 0,16 17 0,-18-18 15,2 18-15,-1-17 0,18-2 16,-37 19-16,2 0 0,16-17 0,-16 17 16,-1 0-16,-18 0 0,19-17 0,-1 17 15,1 0 1,-19 0-16,1 0 0,-1 0 0,2-18 0</inkml:trace>
  <inkml:trace contextRef="#ctx0" brushRef="#br0" timeOffset="208059.46">28941 1490 0,'52'18'16,"-16"0"-1,-18-18-15,-18 18 0,17-1 0,2-17 16,-19 17-16,17 2 0,-17-2 16,0 1-16,0-1 0,0 0 15,0 2-15,-17-2 0,-2-17 16,2 35-16,-1-16 0,-18-2 0</inkml:trace>
  <inkml:trace contextRef="#ctx0" brushRef="#br0" timeOffset="208453.16">28077 1649 0,'-18'124'16,"18"-107"-16,0 1 0,36 0 15,-19-18-15,0 18 16,1-18-16,0 0 0,17 0 0,-18 0 15,2 0-15,-2 0 0,1 0 16</inkml:trace>
  <inkml:trace contextRef="#ctx0" brushRef="#br0" timeOffset="209979.96">26172 1138 0,'-17'70'0,"17"-52"15,0 0-15,0-1 16,17-17 0,0 0-16,18 0 15,-16 0 1,-19-17-16,17 17 0,0 0 16,19 0-1,-18 17-15,-1 0 16,0-17-1,2 19-15,-2-19 16,-17 17-16,18-17 0,-1 0 16</inkml:trace>
  <inkml:trace contextRef="#ctx0" brushRef="#br0" timeOffset="210277.08">26543 1138 0,'-19'0'15,"19"18"17,19-1-17,-2 0 1,0-17-1,1 0 1,0 0 0,0 0-1,-18-17 1,17 17 0,-17-17-16</inkml:trace>
  <inkml:trace contextRef="#ctx0" brushRef="#br0" timeOffset="210535.75">26753 1049 0,'19'19'16,"-2"-19"-16,-17 17 0,18 0 31,-1-17-16,-17 18 1,19-18-16,-2 0 0,0 0 16,1 0-16,-1 0 15,2 0-15,15 0 16,2 0 0,-18 18-1</inkml:trace>
  <inkml:trace contextRef="#ctx0" brushRef="#br0" timeOffset="211027.56">26613 1473 0,'52'-17'15,"-16"-2"-15,-1 19 0,18-17 0,1-1 0,-2 1 16,-16 0-16,16-2 0,1 2 16,0-1-16,35-18 0,-53 19 15,1 0-15,16-19 0,-16 36 16,-19-18-16,37-34 0,-20-1 15,-34 17 1,19 19-16,-19-18 0,-19 18 0,19-19 16,-17 18-16,0-18 0,-1 2 15,-18-2-15,2 18 0,-20 1 16,1-18-16,1 17 0,-89 0 0,70 18 16,-17 0-16,17 0 0,-35 0 15,18 18-15,-18 0 0,18 17 0,0-18 16,-1 19-16,20-1 0,-2 1 0,0 16 15,18-16-15,0 16 16,1 1-16,33-17 0,-16-1 0,18 0 16,17 1-16,0-2 0,0 2 0,0-18 15,35 35-15,-18-18 0,19 1 16,-1-19-16,18 0 0,0 1 0,-1-18 16,19 0-16,0 0 0,17 0 0</inkml:trace>
  <inkml:trace contextRef="#ctx0" brushRef="#br0" timeOffset="211919.24">29859 1102 0,'0'18'0,"17"0"16,0-18-1,19 18-15,-1-18 16,-18 0-16,19 17 16,35-17-16,-19 0 0,-16 0 15,17 17-15,53-17 0,-36 0 16,-16-17-16,15 17 0,2 0 16,-18-17-16,18 17 0,53-18 15,-2-18-15,-51 36 0,-18-17 16,-1 0-16,2-2 0,-1 2 15,18-1-15,-37 1 0,20 0 16,-37-2-16,0 2 0,2-1 16,-2 1-16,-17-2 15,18 2-15,-18 0 0,0-1 0,0 0 16,-18 0-16,18-16 0,-17 16 16,-2-18-16,2 19 0,0-19 15,-54-35-15,35 54 0,-33-35 16,33 33-16,-18 2 15,2 0-15,-1-1 0,-52 0 16,51 18-16,1 0 0,1 0 0,-19 18 16,18-18-16,-18 18 0,18-18 15,-52 34-15,51-15 16,-51 33-16,70-35 0,-54 19 16,54-18-16,-1-1 15,19 2-15,-18-2 0,18-17 0</inkml:trace>
  <inkml:trace contextRef="#ctx0" brushRef="#br0" timeOffset="213271.08">25977 185 0,'-17'17'16,"0"2"-16,-1-2 0,18 1 0,-18-1 15,18 2-15,-18-2 0,18 0 16,-17 19-16,17-18 0,-17 16 15,17-16-15,0 0 0,0 0 16,0-1-16,17-17 0,-17 17 16,17 2-16,1-19 15,-18 17-15,18-17 0,0 0 0,-1 0 16,0 0-16,-17-17 16,19 17-16,-2 0 0</inkml:trace>
  <inkml:trace contextRef="#ctx0" brushRef="#br0" timeOffset="-208181.55">26013 485 0,'18'-17'46,"-1"-1"-46,19 18 16,-19-18 0,1 18-16,-1-18 31,2 18-15,-2 18-16,0 0 15,-17 0-15,0-1 16,18 0-16,-18 2 0,0-2 15,0 1-15,17-1 0,-17 0 16,0 2-16,0-2 0,19 1 16,-19-1-16,0 2 0,0-2 15,0 0 1,-19 1-16,2 0 16,17 0-1,-18-18 1</inkml:trace>
  <inkml:trace contextRef="#ctx0" brushRef="#br0" timeOffset="-205239.59">30935 1756 0,'0'17'0,"0"0"15</inkml:trace>
  <inkml:trace contextRef="#ctx0" brushRef="#br0" timeOffset="-202039.74">26719 2444 0,'17'17'0,"0"-17"16,2 0-16,-2 0 0,1 0 16,18 0-16,16 0 15,1 0-15,0 0 0,-18 0 16,1 0-16,33 0 0,-15-17 15,-1 17-15,-1-19 0,1 2 0,1-1 16,-1 18-16,-1-17 0,1-2 0,1 2 16,-20 0-16,20-1 15,16-18-15,-52 19 0,52-18 16,-35 17-16,1 0 0,-19 1 0,18 0 16,1-19-1,-1 18-15,-17 1 0,0 0 0,-1-2 16,18-16-16,-17 18 0,0-2 15,-1 2-15,-17 0 16,17-1-16,-17 0 0,0 0 16,19 1-16,-19 0 0,0-1 15,-19 0-15,19 0 16,0 1-16,-17 0 0,17-19 16,-17 1-16,-1 35 15,0-19-15,0 2 0,18 0 16,-34-18-16,16 16 0,0 2 15,-17 0-15,-1-19 16,19 18-16,-1 18 0,-35-17 16,36 0-16,-37-2 15,37 2-15,-18 17 0,17-18 0,-34 1 16,34 17-16,0-17 16,-17 17-16,18 0 0,-19-19 0,-18 2 15,37 17-15,-18 0 16,-18-18-16,36 18 0,-19 0 15,1-17-15,-1 17 16,19 0-16,-18 0 0,18 17 0,-19-17 0,1 0 16,-18 18-16,18-18 15,-18 17-15,35-17 0,-35 19 16,36-19-16,-19 17 0,1 0 0,-106 18 16,105-16-1,-16 15-15,-2-16 16,1 18-16,1-2 15,16-15-15,19-2 16,-37 18-16,20 1 16,16-19-16,0 1 0,-17 18 15,-1-2-15,19-16 16,-18 18-16,18-19 16,17 0-16,-36 19 0,18-1 15,1 1-15,-2-19 16,19 37-16,-17-20 15,17-16-15,0-1 0,0 36 16,0-17-16,17-18 0,2 34 16,-19-16-1,17-19-15,1 0 0,-1 37 0,19-18 16,-19-19-16,1-17 16,-1 17-16,19 1 0,17-1 15,-35-17-15,16 0 0,2 0 16,-1 0-16,1 0 0,-1 0 15,35 0-15,-34 0 16,-1 0-16,0 0 0,1 0 0,-2-17 0,-15 17 16,16 0-16,-18 0 15,19 0-15,-19 0 0,1 0 16,-1 0-16,2 0 0,-2 0 16,0-18-1,1 18-15,0 0 16,0 0-1,-1 0 1</inkml:trace>
  <inkml:trace contextRef="#ctx0" brushRef="#br0" timeOffset="-201277.5">27953 2214 0,'54'0'16,"-37"0"-16,0 0 0,1 18 0,0-18 15,34 0-15,-34 17 16,52-17-16,-34 17 16,-18-17-16,-1 0 15,2 0-15,-2 0 0,0 0 16,1 18-16,-1-18 31</inkml:trace>
  <inkml:trace contextRef="#ctx0" brushRef="#br0" timeOffset="-200882.29">28129 2125 0,'-17'0'16,"17"-17"-16,-17 17 15,-1 0-15,-35 17 16,36 2 0,-2-19-16,2 17 15,-1 0 1,18 1-16,0 0 16,0 17-1,18-18-15,-18 1 0,17 0 16,-17 0-16,0-1 15,19 0-15,-2 2 16,0-2-16,1 1 0,0-1 16,0 2-1,-1-19-15</inkml:trace>
  <inkml:trace contextRef="#ctx0" brushRef="#br0" timeOffset="-199863.56">28536 2090 0,'0'-17'16,"-19"17"-16,19-17 0,19 51 0,-55-87 16,36 89 15,0-19-31,0 107 15,17-54 1,-17-34-16,19 34 0,-19-52 16,17 87-1,-17-86-15,0-2 16,0 36-16,-17-35 16,-19 16-1,19-34-15,-1 0 16,0 19-16,-17-19 15,18 0-15,17-19 16,-19 19 0,19-17-16,19 0 15,-19-1-15,17 0 16,0 18-16,1-18 0,0 1 16,0 17-16,-1-17 0,19-2 15,-1 2-15,-18-1 0,19 1 0,-1 0 16,-18-2-16,2 2 0,15 17 0,2-35 15,-36 16-15,18 19 16,-1-17-16,-17 0 0,17 17 16,-17-18-16,0 0 15,-17 18 1,0 0 0,-1 18-16,0 0 15,0-1-15,1 0 0,17 2 16,-17-2-16,17 1 15,0-1-15,0 2 16,17-19 0,18 0-16,-17-19 15,0 19 1,-18-17-16,17 17 16,0-18-16,1 36 31,-18-1-16,0 19 1,0-19-16,0 1 16,0-1-16,0 2 31,0-2-31</inkml:trace>
  <inkml:trace contextRef="#ctx0" brushRef="#br0" timeOffset="-199620.75">29012 2090 0,'0'-17'0,"-19"52"16,19-18-16,0 2 15,0 15-15,-17-16 0,17 35 16,-17-18-16,17 1 15,0-19-15,-18 0 0,18 19 0,0-18 16,-17 18-16,17-19 0,0 0 16,-19 1-1,19-1-15,19-17 16</inkml:trace>
  <inkml:trace contextRef="#ctx0" brushRef="#br0" timeOffset="-199352.71">29153 2214 0,'0'0'0,"-18"0"15,0 18 1,1-18-16,-19 34 16,19-16-16,17 0 15,-18-18-15,1 18 0,17-1 16,0 0-16,-19 2 0,19-2 15,19 1 1,-19-1 0,17-17-1,1 0-15,-1 19 16,2-19 0</inkml:trace>
  <inkml:trace contextRef="#ctx0" brushRef="#br0" timeOffset="-199054.44">29276 2390 0,'17'-36'0,"2"19"15,-19 0-15,-36 51 47,19 2-31,17-18-16,-18-1 0,18 2 15,0-2 1,0 0-16,18-17 0,-18 18 16,17-18-16,0 0 15,19 0-15,-18 0 16,-1 0-16,2 0 0,-2-18 15,18 18-15</inkml:trace>
  <inkml:trace contextRef="#ctx0" brushRef="#br0" timeOffset="-196469.9">2817 10310 0,'36'-17'16,"-18"17"-16,18-19 0,-2 19 15,1-17-15,18 0 0,18-19 0,53 1 16,-36-1-16,247-87 16,-141 53-1,-106 34-15,0 1 0,18 0 0,-18-1 16,1 2-16,-1-2 15,-17 1-15,17-1 0,-18 19 0,-18-1 16,2 1-16,-1-2 0,-18 2 0,1 17 16,-19-17-16,0 17 0,1 0 15,0 0-15,0 0 16,-1 17-16,0 0 0,2 2 0,-19 16 16,17-18-16,1 19 0,-18 16 15,17-16-15,19 69 16,-1-34-16,-18 0 0,2-1 0,15 1 15,-16 0-15,18-18 0,-19 16 0,18-15 16,-17-1-16,17 35 16,1-53-16,-19 18 0,1-17 0,-18-19 15,17 1-15,2 16 0,-19-15 16,17-2-16,-17 1 0,0-1 16,17 2-16,-34-2 15,17 0-15,-17-17 0,-19 18 16,18-18-16,-18 18 15,2 0-15,-108 16 0,72 2 0,-18-18 16,0 16-16,-18 2 16,-88 35-16,88-36 0,17 1 15,-16-19-15,17 18 0,-18-17 0,17 17 16,20-18-16,-21 1 0,20 0 16,0-18-16,34 0 0</inkml:trace>
  <inkml:trace contextRef="#ctx0" brushRef="#br0" timeOffset="-195721.04">3117 10152 0,'-17'0'0,"0"17"16,-1-17-16,-35 0 15,36 0-15,-2 0 0,2 0 16,-1 17-16,-16-17 0,15 0 0,-16 0 16,-1 0-16,2 0 0,-2 18 15,-34-18-15,17 18 0,0-18 16,-18 18-16,19-1 0,-19-17 0,18 17 15,-88 37-15,70-37 0,-52 36 16,70-35-16,-18 18 16,18-2-16,18-16 0,-18 18 0,1-19 15,16 18-15,-17-17 0,18 0 16,18-1-16,-19 0 0,18 2 0,-16 33 16,-2-35-16,18 37 0,1-18 15,-2-2-15,19 20 0,-17-20 16,17 2-16,0-1 0,0 18 0,0 1 15,17-20-15,-17 20 0,19-2 0,-2 1 16,1 0-16,-1-1 0,2-16 0,15-1 16,1 18-16,-16-18 15,15 1-15,2-19 0,16 19 0,36 16 16,-34-33-16,-1-2 0,-1-17 0,1 18 16,18-18-16,-18 0 15,18 0-15,0-18 0,-1 1 0,18-2 16,-17 2-16,-2 0 0,21-19 0,-20 18 15,0 1-15,-17-19 0,0 19 16,18-1-16,-19 1 0,1 0 0,18-2 16,34-16-16,-51 18 0,-18 17 15,16-19-15,1 2 0,-18 17 16,1 0-16,-19 0 0,19-17 16,-19 17-16,18 0 0,1 0 0</inkml:trace>
  <inkml:trace contextRef="#ctx0" brushRef="#br0" timeOffset="-194232.87">2695 12162 0,'-18'18'16,"0"70"0,36-71-16,-18 19 15,0 17-15,18-1 0,-1 2 0,0-1 16,1-18-16,-18 18 0,36 18 15,-19-37-15,-17-16 0,0 18 16,17-19-16,-17 19 16,0-19-16,0 1 0,0-1 0,-17-17 15,17 17-15,-17-17 0,17 19 0,-18-19 16,0 0-16,-17 17 16,18-17-16,-1 0 0,-18 0 15,19-17 1,34-2-1,-17 2-15,54-35 32,-20 16-32,2 1 0,-1-1 0,18 2 15,18-54-15,-36 52 0,18-35 16,-18 54-16,1-37 16,-36 37-16,0 0 15,-18-1 1,-18 18-1,36 18-15,-53 34 16,36-16-16,-1-19 16,18 0-16,-17 2 0,17-2 15,0 1-15,0-1 16,0 2-16,35-38 16,1-16 15,-19 35-31,-17-17 0,17 17 0,1 0 15,0 0 1,0 17-16,-1-17 0,0 18 0,19 35 16,-18-53-1,-1 17-15,0-17 0,-17 18 16,19-18 0</inkml:trace>
  <inkml:trace contextRef="#ctx0" brushRef="#br0" timeOffset="-193796.8">3153 12092 0,'-17'34'16,"17"-15"0,0-2-16,17 1 0,-17 18 0,0-19 15,18 18-15,-18 1 0,0-2 16,17-16-16,-17 18 0,17-2 15,-17 2-15,19-18 0,-19-1 0,0 0 16,17 2-16,-17-2 16,18-34-16,-1 17 0,2-19 15,-19 2-15,0 0 0,17-37 16,-17 37-16,17 0 16,-17-1-16,0 0 0,0 0 0,18 1 15,-18 0-15,0-2 16,-18 2-16,1 34 15,0 36 1,-2-35-16,19 0 16,-17 0-16,17-1 0,0 0 15,0 1-15,-18 0 0,18 0 16,18-1-16,-1 0 16,19-34-1,-19 17-15,1-17 16,35-1-1,-36 0-15,19 18 0,-18-18 0</inkml:trace>
  <inkml:trace contextRef="#ctx0" brushRef="#br0" timeOffset="-193551.84">3664 12321 0,'-17'-36'0,"-1"36"0,1-17 15,-2 17 1,2 0 0,17 17-1,-17 2-15,17 15 16,17 2 0,0-18-16,2-1 15,-2-17 1,18 0-16,-16 0 15</inkml:trace>
  <inkml:trace contextRef="#ctx0" brushRef="#br0" timeOffset="-192637.64">3805 11897 0,'18'53'31,"0"-35"-31,0 18 16,16 16-16,-15-34 15,-19 0-15,17-1 0,1 0 16,-1 19-16,-17-18 0,19-1 0,-2 2 16,-17-2-16,17 0 0,-17 1 0,18-1 15,-18 2-15,0-2 16,17 0-16,-17 1 15,0 0 1,0 0 15,-17-18 16,17-18 31,0 0-62,-18 18 0,18-18-1,0 1 48</inkml:trace>
  <inkml:trace contextRef="#ctx0" brushRef="#br0" timeOffset="-192159.1">3717 12268 0,'36'-35'15,"-36"18"-15,18-2 16,70-33-1,-71 33-15,0 2 0,19 0 16,-18-1-16,-1 0 0</inkml:trace>
  <inkml:trace contextRef="#ctx0" brushRef="#br0" timeOffset="-191819.23">4193 11880 0,'-34'36'0,"-2"16"15,18-34-15,18 0 16,-17-1-16,17 0 0,-17 1 16,17 0-16,0 0 0,0-1 15,0 0-15,0 2 16,17-19-16,0-19 16,19 2-1,-18 0-15,-1-1 16,0-18-16,1 19 15,-18 0 1,18 34 0,0-17-1,-18 17-15,0 1 0,17-18 0,0 36 16,2-19 0,-19 0-16,17-17 0,-17 19 15,18-19-15,-18 17 0,17-17 16</inkml:trace>
  <inkml:trace contextRef="#ctx0" brushRef="#br0" timeOffset="-191444.03">4300 11738 0,'-19'19'0,"2"16"16,17-18-1,0 19-15,0-19 0,17 1 16,-17-1-16,0 19 0,19-19 16,-19 1-16,0 0 0,17 0 15,-17-1-15,18-17 0,-1 0 32,-17-17-32,19 17 0,-19-18 15,17 18-15,-17-18 0,17 18 0,-17-18 16,18 18-16,-1 0 15,2 0-15,-2 0 16,-17 18-16,17 0 0,-17 0 16,0-1-16,0 0 15,0 1-15,0 0 0,-17 17 0,17-18 16,0 2-16,0-2 0,-17-17 0,17 18 16,0-1-16,0 2 15</inkml:trace>
  <inkml:trace contextRef="#ctx0" brushRef="#br0" timeOffset="-190980.73">4740 12004 0,'-17'-71'0,"17"54"16,0-2-1,0 2-15,-18 17 16,18 17 15,0 2-31,0-2 16,18 0-1,-1-17-15,2 0 16,-2 0-16,0-17 0,1-19 0,0 19 16,0-1-16,-1-18 15,0-16-15,1 16 0,-18 19 16,18-18-16,-18-1 0,0 19 0,0-19 16,0 19-16,0-1 0,0 1 15,0 0-15,18 51 31,-18 1-15,17 1-16,-17-1 0,17 1 16,-17-19-16,19 0 0,-2 2 15,-17-2-15,18 1 0,-18-1 16,17 0-16,2 2 0</inkml:trace>
  <inkml:trace contextRef="#ctx0" brushRef="#br0" timeOffset="-178593.65">5217 8300 0,'35'0'15,"-18"0"1,19 0 0,-18 0-16,-1 0 0,0 0 0,2 0 15,-2 0-15,1 0 0,-1 0 0,-17-19 16,19 19-16,-2 0 0,0 0 0,1-17 16</inkml:trace>
  <inkml:trace contextRef="#ctx0" brushRef="#br0" timeOffset="-178355.33">5499 8141 0,'0'0'0,"17"17"31,2-17-31,-19 18 0,17 16 15,-17-15-15,17-19 0,-17 17 16,0 1-16,0-1 0,0 19 16,0-1-16,0-17 0,0 17 15,-17-18-15,17 1 0,0 0 16</inkml:trace>
  <inkml:trace contextRef="#ctx0" brushRef="#br0" timeOffset="-177716.61">6028 7822 0,'0'90'15,"0"-56"-15,0 20 0,17-20 16,-17 37-16,0-18 0,19-1 0,-19 2 15,17-1-15,-17 0 16,0-18-16,0 0 0,18-17 0,-18 17 0,0-18 16,0 2-16,0-2 0,0 1 15,-18-1-15,18 2 16,-17-19-16,-2 0 16,2-19-1,0 2 1,17-1-16,0-18 15,17 36-15,-17-34 0,17 16 16,-17 0-16,19 0 0,-19 1 16,17 0-16,1-19 0,-1 18 0,-17 1 15,17-19-15,2 19 0,-19-1 16,17 1-16,-17-2 16,0 2-16,0 53 46,0-1-30,0-18-16,18 2 16,-18-2-16,17 0 15,-17 1-15,19-18 0,-2 18 16,0-18-16,1 0 16,0 0-16</inkml:trace>
  <inkml:trace contextRef="#ctx0" brushRef="#br0" timeOffset="-177196.25">6433 8193 0,'0'-17'0,"0"-1"15,0 53-15,0-35 32,19 17-17,-2 19 1,-17-18-16,0-1 15,18 2-15,-1-2 16,2 0-16,-2-34 31,0-19-15,1 19-16,-18-1 16,0 1-16,0-2 0,17 19 0,-17-17 15,0 0-15,19-1 16,-2 18 15,0 0-15,1 0-16,0-17 0,0 17 15,-1 0-15,0-19 0,2 2 16,-2 17-16,1-17 16,-1 17-16,-17-18 15,17 18-15,-34 35 47,17 1-31,17-19-1,-17 1-15,19-1 16,-2-17-16,37 0 16,-37 0-1,0 0-15,1 0 0,-1 0 0,19-17 16</inkml:trace>
  <inkml:trace contextRef="#ctx0" brushRef="#br0" timeOffset="-176406.66">13613 7841 0,'35'0'0,"-18"0"16,2 0-16,-2 0 0,1 0 0,-1 0 15,0 0-15,19 0 16,-1 0-16,1 0 0,-19 0 15,1-19-15,0 19 0,0 0 16</inkml:trace>
  <inkml:trace contextRef="#ctx0" brushRef="#br0" timeOffset="-176181.36">13913 7734 0,'52'0'31,"-34"0"-31,18 19 0,-36-2 16,34 18-16,-34-18 0,19 2 15,-19 16-15,0-18 16,-19 36-16,19-18 0,-17-16 16,-18 15-16,-1 37 0,2-35 15,-2-1-15,54-477 0,-54 901 16,36-442-16</inkml:trace>
  <inkml:trace contextRef="#ctx0" brushRef="#br0" timeOffset="-174613.49">15024 7400 0,'0'-18'15,"-17"36"16,17 16-31,-18 20 0,18-18 16,0 16-16,0 1 0,0 18 16,0-18-16,0-1 0,18 55 15,-18-19-15,17-36 16,-17-16-16,0-19 0,17 36 16,-17-35-16,18-18 15,-18 17-15,-18-52 31,1 18-31,17-2 16,-17-15-16,-1 16 16,0 18-16,18-18 0,-18 0 15,1 1-15,0 0 16,17-2-16,-19 19 16,19-17-1,19 17-15,-19-18 16,34 1-16,-16 17 0,18-17 15,-2-2-15,-16 2 16,0 17-16,17-18 0,-18 1 16,2-2-16,-2 19 0,-17-17 0,18 17 15,-1-17-15,-17-1 16,19 18-16,-19-17 16,0 34 30,0 1-46,17-1 0,-17 0 16,17 2-16,-17-2 16,18 1-16,-1-18 15,2 17-15,-2-17 16,0 0 0,1 0-16,0-17 15,0-1-15,-1 1 16,-17-2-1,17 2-15,1 0 16,0 17 15,0 17-31,-1-17 16,-17 17-16,17 2 0,19-2 16,-18-17-16,-18 18 15,17-18-15,2 17 16,-2-17-16,0-17 31,-17-1-31,18-18 16,-1 19-1,2 0 1,-2-1 0,-17 1-16,17-2 0,1 19 15,-18-17-15,18 0 31,-18 34 16,18 19-31,-18-19 0,17-17-1,0 18 1,2-18-1,-2 0 1,18 17 0,-18-17-1,2 17 1,-2-17 0,37-17-1,-54 0 1,17 17-16,0 0 15,1-18-15,-1 1 16,2 17 15</inkml:trace>
  <inkml:trace contextRef="#ctx0" brushRef="#br0" timeOffset="-173597.84">14936 8193 0,'193'0'15,"-157"0"-15,18 0 16,34-17-16,-36 17 0,1 0 15,71 0-15,-36-18 16,-36 18-16,-16 0 0,17-17 16,18 17-16,-36 0 0,18-19 15,-1 19 1,-33 0-16,-2-17 0,0 17 16,1 0-1,-1 0 1,-17-17-1,19 17-15,-2-18 16,0 18 0,1-18-16,0 0 15,0 18-15,16-34 16,2-2-16,-18 18 0,-1 1 16,0-19-16,2 19 15,16-54-15,-18-17 0,2 53 16,-19-18-16,17 17 0,-17 1 15,0-106-15,-17 106 16,-2-18-16,19 18 0,-17-18 16,-37-18-16,20 37 0,-37-20 15,36 37-15,-18-19 16,-52 1-16,-54-18 16,88 36-16,-70-1 0,70 0 15,18 0-15,0 18 0,-17 0 16,34-17-16,2 17 0,-2 0 0,1 0 15,-1 0-15,19 0 0,-37 0 16,20 17-16,16-17 16,0 0-16,-17 18 0,0 18 15,17-19-15,0 0 0,1 1 16,17 0-16,-36 17 16,36-18-16,-17 2 0,-1-2 15,18 1-15,-36 18 0,36-19 16,-17 0-16,0 1 0,-1-1 15,18 2-15,-17 15 0,-2-16 0,2 0 16,-18 34-16,35-34 16,-18 35-16,0-36 15,18 2-15,-17 33 0,17 1 16,-17-35-16,17-1 0,17 19 16,-17 17-16,0-35 0,0 16 15,17 37-15,-17-54 16,18 19-16,0 18 0,0-20 15,-18-16-15,17-1 0,0 2 16,-17 15-16,19-16 0,16 18 16,-1-19-16,-15 0 0,-2-17 15,1 19-15,18-19 16,-19 17-16,0-17 16,1 0-16</inkml:trace>
  <inkml:trace contextRef="#ctx0" brushRef="#br0" timeOffset="-171533.73">13365 10522 0,'-17'18'31,"0"16"-31,17-16 0,-18 18 16,18-19-16,-17 19 0,-2-1 16,-33 53-16,34-52 0,0-2 15,1 2-15,-19 16 0,36-34 16,-17 0-16,17 0 15,-18-1-15,1 0 0</inkml:trace>
  <inkml:trace contextRef="#ctx0" brushRef="#br0" timeOffset="-171047.83">13331 10486 0,'-35'18'16,"16"0"-16,2-18 16,0 0-16,17 18 0,-18-18 15,18 17-15,-18-17 0,0 17 16,1 1-1,34-18 17,19 0-17,-18 0-15,-1 0 0,0-18 16,19 36-16,-18-18 16,-1 0-16,19 0 0,-19 18 15,1-18-15,-1 18 0,2-18 16,-19 17-16,17-17 0,0 17 15,19-17-15</inkml:trace>
  <inkml:trace contextRef="#ctx0" brushRef="#br0" timeOffset="-167833.53">6064 10240 0,'-124'34'0,"88"-34"0,1 19 16,1-19-16,-2 17 0,-18-17 15,-34 35-15,18-18 16,35-17-16,-1 19 0,19-19 0,-18 17 16,-1-17-16,1 18 0,18-1 15,-19-17-15,19 19 0,-1-19 16,0 0-16,0 17 16,1-17-1</inkml:trace>
  <inkml:trace contextRef="#ctx0" brushRef="#br0" timeOffset="-167570">5357 10310 0,'-17'18'0,"0"-1"0,51-52 0,-86 87 15,52-33-15,-18-2 0,0 18 16,18-16-16,0-2 0,0 0 16,0 19-16,18-18 15,-18-1-15,18-17 0,0 17 16,-1 1-16,19-18 0,-1 18 16,1-18-16,-19 0 0,18 18 15,1-18-15,-19 0 0,18 0 0,-17 0 16</inkml:trace>
  <inkml:trace contextRef="#ctx0" brushRef="#br0" timeOffset="-158996.83">11691 10362 0,'-36'-17'0,"18"17"15,1-17 1,0 17 0,34 34 30,18-34-46,-18 19 16,19-19-16,17 17 0,-1 1 16,2 18-16,16-19 0,-16 0 15,15 1-15,2 0 0,53 17 0,-71-18 16,18 1-16,-1 0 16,-18 0-16,19-1 0,53 0 0,-53-17 15,-19 0-15,1 0 0,-18 0 16,54 0-16,-37 0 15,36 0-15,-35-17 0,-17 0 0,-1 17 16,36-18-16,-37 0 16,-15 0-16,52 1 15,-54 0-15,0-1 0,19 0 0,-18 0 16,16-35-16,-16 36 16,0-1-16,0 1 0,-1-2 0,0-15 15,-17 16-15,19 1 0,-19-2 0,17-15 16,-17 16-16,0 0 0,0-17 15,0 18-15,0-19 0,0 18 0,-17-16 16,17-2-16,0 1 0,-19 16 16,19-15-16,0-2 0,-17 1 15,17 18-15,0-1 0,-17-18 0,17 19 16,-18-36-16,0-1 16,0 37-16,1-18 0,0 18 15,-1-2-15,0-15 0,0 16 0,1 0 16,0 0-16,-2-16 0,-16 16 15,-1 0-15,19 0 0,-18 1 0,-53-19 16,35 36-16,0-17 0,1-1 16,-2 18-16,1-17 0,-18-2 15,19 19-15,-1-17 0,17 17 0,-16 0 16,-36-17-16,52 17 0,-17 0 16,18-18-16,-70 18 15,34 0-15,0 18 0,18-18 0,-18 17 16,18-17-16,-16 17 0,15 2 15,1-2-15,-88 37 16,89-37-16,16 18 0,1-17 16,-18 17-16,18-18 0,-1 19 0,1-1 15,-1 1-15,2-1 0,-37 35 16,54-35-16,-19 1 0,18-19 16,1 19-16,17-18 0,-19 16 15,2-16-15,17 18 0,0-19 0,0 0 16,0 54-1,0-35-15,17-19 0,2 18 0,-2-16 16,1-2-16,18 18 0,-2 1 16,-16-19-16,18 19 0,34-1 15,-18-1-15,-33-15 16</inkml:trace>
  <inkml:trace contextRef="#ctx0" brushRef="#br0" timeOffset="-120299.95">4547 12850 0,'0'71'15,"0"-54"-15,0 1 0,0 18 0,-18 16 16,18-35-16,-18 19 16,18-1-16,0-17 0,-35 70 15,35-70-15,-17 35 16,17-36-16,0 1 0,-19-1 15,19 2-15,0-2 0,-17 18 16,17-17 0,0 0-1,0-1-15,0 0 16,17-17 15,19 18-15,-19-18-16,19 0 15,-18 0-15,70 0 16,-35-18-16,-1 18 0,160 0 16,-141 0-16,-1 18 0,36-18 15,0-18-15,0 36 0,18-36 16,-19 18-16,283 0 16,-247-17-16,142 17 15,-143 0-15,55 0 0,-19 0 0,1-17 16,-1 17-16,371 0 15,-406 0-15,211 0 16,-157 0-16,-19 0 0,0 0 16,-35 0-16,36 17 0,-37-17 0,338 17 15,-338 1-15,-16 0 16,281 0 0,-281-1-16,105 0 0,-106 2 15,-16-2-15,-19-17 0,0 18 16,158 18-1,-175-36-15,0 17 0,-18-17 0,0 0 0,-18 0 16,18 17 0,-35-17-16,-1 0 0,0 0 0,2 0 0,-2 0 15,1 0 1,-1 0-16,2 0 16,-2 0-1,0 0-15,-17-17 16,18 17-1,-18-17 1,0-2 0,0 2-16,0-18 15,0 16-15,17-33 16,-17 34-16,0-17 16,0 0-16,19-1 0,-19 2 0,17-2 15,0-123 1,1 124-16,0-106 15,0 105-15,-18 19 0,17-54 16,-17 54-16,0-1 0,17-35 16,-17 18-1,0 17-15,19 0 0,-19 1 16,0-19 0,0 19-16,-19 34 46,2 2-46</inkml:trace>
  <inkml:trace contextRef="#ctx0" brushRef="#br0" timeOffset="-119157.89">3753 14473 0,'-70'-17'0,"51"34"0,2-17 15,-54 0-15,54 17 16,-1-17-16,-52 18 16,52-18-16,0 18 15,0 0-15,1-1 0,17 0 16,17 1 0,-17 0-1,18-18-15,0 18 0,0-1 0,-1-17 16,36 36-1,-18-19-15,-18 1 0,2-1 16,-2 0-16,1 19 16,-18-18-16,-18-18 15,18 17-15,-36 19 0,19-19 16,-18 1-16,18 0 0,-19 0 16,-52 16-1,53-16-15,17-18 0,-17 0 0,18 0 16,-2 0-16,2 18 0,-1-18 0,-18-18 15</inkml:trace>
  <inkml:trace contextRef="#ctx0" brushRef="#br0" timeOffset="-118552.27">3964 14666 0,'-71'19'15,"54"-19"1,0 52-16,17-35 16,0 2-16,0-2 0,0 1 15,17-1 1,-17 2-16,17-19 0,-17 17 0,19-17 16,16-17-1,-35-2-15,17 2 16,-17-1-16,19 18 15,-19-17-15,0-2 16,0 2-16,17 34 31,0 2-15,-17-2 0,0 1-16,18-1 0,-18 2 15,17-2 1,2-17-16,-2 17 0,0-17 15</inkml:trace>
  <inkml:trace contextRef="#ctx0" brushRef="#br0" timeOffset="-118001.78">4281 14632 0,'0'17'47,"0"19"-31,0-1 0,0-18-1,0 0 1,36-17 15,-18-17-15,-1 17-16,-17-17 0,19 17 15,15 0 1,-16 17-16,-1 0 16,2 2-1,-19-2 1,34-34 62,-16-2-62,0 19-16,0 0 15,-1 0 1,0 0-16,2 0 15,-2 0-15,-17 19 16,18-19 0,-18 17-1,17-17-15</inkml:trace>
  <inkml:trace contextRef="#ctx0" brushRef="#br0" timeOffset="-117701.89">4917 14773 0,'18'-36'0,"-18"19"15,0-1-15,-18 53 47,0-18-31,18 19-1,18-1 1,0-35-16,-1 0 0,0 19 0,2-19 16,52 0-1,-19-19 1</inkml:trace>
  <inkml:trace contextRef="#ctx0" brushRef="#br0" timeOffset="-117191.85">5535 14437 0,'17'0'0,"18"53"16,-17-35-16,0 0 15,-1 0-15,-17-1 0,17 18 16,-17 1-16,19-19 0,-19 0 16,17 19-16,-17-18 0,0-1 0,0 19 15,0-19-15,0 1 16,0-53 15,0-1-15,0 19-16,18-1 15,-18-18-15,17 19 0,0 0 0,-17-1 16,19 0-16,-2 0 0,-17 1 0,18 17 16,18-17-16,-19 17 15,0 0-15,1 0 0,-1 0 16,2 0-16</inkml:trace>
  <inkml:trace contextRef="#ctx0" brushRef="#br0" timeOffset="-116840.02">6064 14754 0,'17'-34'16,"1"-37"-1,-1 36 17,-17 17-17,0 0-15,-35 36 31,35 18-31,-17-19 16,17 0-16,0 2 16,0-2-16,17 1 0,18 16 31,1-34-15,16 0-16,-16-17 15</inkml:trace>
  <inkml:trace contextRef="#ctx0" brushRef="#br0" timeOffset="-116560.97">6487 14578 0,'-18'0'0,"1"0"0,17 18 15,0 0 1,17 17-1,1-18-15,-18 2 0,17-19 16,-17 17-16,19 1 0,-19-1 16,0 0-16,0 2 15,0-2-15,-36 37 16,18-54-16,-18 17 0,19 0 16,0-17-16,-19 0 0,18 18 15,1-18-15,0 0 0,-1 0 16,0 0-16</inkml:trace>
  <inkml:trace contextRef="#ctx0" brushRef="#br0" timeOffset="-115506.96">6733 14596 0,'0'-18'0,"-17"36"0,17 18 15,0-2 1,0-15-16,17-2 16,-17 1-16,19-18 0,-19 17 15,35-17 1,-18 0-16,0 0 0,2 0 16,-2 0-16,-17-17 0,18 17 15,-1 0 1,2 0-1,-2 0-15,-17 17 16,0 0 0,17-17-16,-17 19 0,18-19 0,-1 17 31,2-17-31,-2-17 0,0 17 16,1-19-16,18-15 15,-19 16-15,-17 1 16,0-19-16,17 19 0,-17-1 15,0 0-15,19 0 0,-19-16 0,17 16 16,-17 0-16,0 0 0,0 1 16,0 34 15,0 19-15,-17-1-1,17 0-15,0-17 0,0 17 16,0-18-16,0 2 0,0-2 0,0 1 15,17-1-15,-17 0 0,0 2 16,18-2-16,-1 1 0,0-18 16,19 0-1,-18 0-15,-1-18 0,2 18 16,-2-17-16,0-2 0,1-15 0,35-20 16,-36 20-16,1-2 0,0 1 15,0 0-15,-1-1 0,-17 2 16,17-2-16,-17 18 0,0 1 15,19-2-15,-19 2 0,0 0 0,0-1 16,0 1-16,-19 34 31,19 18-15,-17 1-16,17-19 0,0 18 16,0 1-16,0-19 0,-17 19 0,17-1 15,17-18-15,-17 19 0,0-18 16,0-1-16,0 0 0,17 2 15,-17-2-15,0 1 0,19-18 0,-19 17 0,17-17 16,1 0 0,16 0-1,-34-17-15</inkml:trace>
  <inkml:trace contextRef="#ctx0" brushRef="#br0" timeOffset="-115346.03">7299 14596 0,'-19'0'0,"90"0"31,-53 0-31,0 0 16,16 0-16,-16-18 0,18 18 0,17 0 16</inkml:trace>
  <inkml:trace contextRef="#ctx0" brushRef="#br0" timeOffset="-114901.25">8339 14526 0,'17'-18'16,"19"18"-1,-19 0 1,1-18-16,0 18 0,0 0 16,-1 0-16,0 0 0,1-17 0,0 17 15,0 0-15,-1 0 0,0 0 16,2 0-16,-2-17 15,1 17-15,-1 0 32</inkml:trace>
  <inkml:trace contextRef="#ctx0" brushRef="#br0" timeOffset="-114472.72">8604 14208 0,'17'18'15,"1"0"-15,-1-18 16,0 17-16,54 36 16,-52-35-16,-2-1 0,18 0 15,-17 2-15,0-2 0,-1 1 0,0-1 16,1 2-16,0-2 0,-18 0 15,0 1-15,0 0 0,0 0 0,0-1 16,0 0-16,-18 1 0,18 0 16,-18 0-16,1-1 0,0 0 15,17 2-15,-18-2 0,18 1 0,-18-1 16</inkml:trace>
  <inkml:trace contextRef="#ctx0" brushRef="#br0" timeOffset="-114044.34">9856 14120 0,'53'-52'0,"-35"52"0,16 17 15,2 0 1,-18 1-16,16 35 16,-34-18-16,0-17 0,0 105 15,-17-87 1,17-1-16,-35 35 16,35-34-16,-18-18 0,18-1 15,-18 0-15,1 54 16,17-18-1,-17-35-15,17 16 16</inkml:trace>
  <inkml:trace contextRef="#ctx0" brushRef="#br0" timeOffset="-113910.77">9927 15125 0,'0'19'0,"-18"-19"16</inkml:trace>
  <inkml:trace contextRef="#ctx0" brushRef="#br0" timeOffset="-92278.23">13172 11209 0,'0'36'0,"-17"-19"15,34-70-15,-34 124 0,-2-53 0,19 0 32</inkml:trace>
  <inkml:trace contextRef="#ctx0" brushRef="#br0" timeOffset="-91690.92">13348 10557 0,'-17'17'32,"-1"1"-32,18 0 15,-36 34 1,36-16-16,-17-18 0,0 35 0,-1-18 15,0 1-15,-34 86 16,33-86-16,19-18 0,-17 16 16,-1-15-16,18-2 0,-17 1 0,0-1 15,17 2-15,0-2 0,-19 0 16,19 1-16,-17-1 16</inkml:trace>
  <inkml:trace contextRef="#ctx0" brushRef="#br0" timeOffset="-91062.78">13225 10610 0,'-36'18'31,"2"16"-15,15-15 0,2-19-16,-54 69 15,54-50-15,-1-2 0,-18 37 16,19-54 0,0 17-1,17 0-15,17-51 31,19-2-15,-19 18 0,18-18-1,-16 36-15,-2-17 0,-17 0 16,17-1-16,1 1 0,-1-2 0,2 19 0,-19-17 16,17 0-16,0 17 0,-17-18 15,36 0-15,-18 18 16,-1-18-16,0 18 15,37 18 1,-37 0-16,0-18 16,-17 18-16,19-18 0,-2 17 0,-17 0 15,18 2-15,-1-19 0,-17 17 16,36 18 0,-36-18-1,17 2-15,1 16 16,-18-18-16</inkml:trace>
  <inkml:trace contextRef="#ctx0" brushRef="#br0" timeOffset="-88236.68">13172 11086 0,'-17'-17'15,"-2"34"17,19 37-17,-17-37 1,17 0-16,-18 18 0,18 1 0,-17-19 15,17 19-15,0-1 0,-17-18 16,17 19-16,-19-18 0,19 16 0,-17-15 16,17 16-16,0-18 0,0 2 0,-18-2 15,18 0-15,0 1 16</inkml:trace>
  <inkml:trace contextRef="#ctx0" brushRef="#br0" timeOffset="-87833.91">13119 11245 0,'-52'71'0,"33"-19"15,2-34 1,17 0-16,-18-1 0,18 0 0,-17 2 16,17 16-1</inkml:trace>
  <inkml:trace contextRef="#ctx0" brushRef="#br0" timeOffset="-87077.8">12996 10892 0,'17'-18'16,"1"1"-1,18-19 1,-19 36-16,35-35 16,-33 18-16,-2-2 0,0 19 15,1-17-15,0 0 0,0 17 0,16-18 16,2 1 0,-18-2-16,-1 19 0,0 0 15,2-17-15,-2 34 31,1-17-31,-1 19 0,2-19 0,-2 17 16,0 1-16,1-1 16,0 0-16,0 2 0,-18-2 0,17 1 15,0-1-15,1 2 0,-18-2 16,18-17-16,-18 17 0,18 1 0,-1 0 16,0 17-1,-17-18-15</inkml:trace>
  <inkml:trace contextRef="#ctx0" brushRef="#br0" timeOffset="-82217.71">10561 14614 0,'54'-18'0,"-37"18"0,0 0 16,19 0-16,-1-18 0,1 18 16,-19 0-16,1 0 0,-1 0 0,19 0 15,-19 0-15,1 0 0,-1 0 16,2-17-16,15 17 16,-16 0-16</inkml:trace>
  <inkml:trace contextRef="#ctx0" brushRef="#br0" timeOffset="-81949.96">10949 14437 0,'88'19'16,"-70"-2"-16,0-17 0,0 17 16,16 1-16,-15 0 0,-2 0 0,54 52 15,-71-52 1,17-1-16,-17 0 0,18 2 0,-18-2 16,0 1-16,-18-1 0,18 0 15,-17 19-15,17-18 0,-19-1 0,2 2 16</inkml:trace>
  <inkml:trace contextRef="#ctx0" brushRef="#br0" timeOffset="-76790.67">13048 10786 0,'-35'35'16,"18"-16"-16,-2-19 16,19 17-1,-17-17-15,0 17 32,51-34-1,-15 0-16,-2 17-15,-17-19 0,18 19 0,-1-17 16,2 17-16,33-35 16,-35 16-16,36 2 15,-35 17-15,18-17 16,-19 17-16,0-18 0,2 18 0,-2 0 16,1 0-1,-1 0-15,0 0 0,2 18 0,33 16 16,-33-34-16,-2 19 15,0-2-15,19 1 16</inkml:trace>
  <inkml:trace contextRef="#ctx0" brushRef="#br0" timeOffset="-75117.46">2553 14666 0,'-17'19'0,"17"-2"0,0 1 16,-19 52-16,19-52 15,0-1-15,0 19 0,0 35 16,0-54-16,0 0 16,0 19-16,0-1 15,0-18-15</inkml:trace>
  <inkml:trace contextRef="#ctx0" brushRef="#br0" timeOffset="-74749.89">2219 14349 0,'34'17'31,"-16"2"-15,18-19-16,-19 17 0,18 1 0,1-1 0,17 2 15,-18 15-15,18-16 0,-18 18 0,1-19 16,69 88 0,-70-69-16,-17-1 0,17 1 15,-18-1-15,2 1 0,-2 34 16,-17-35-16,-17 0 15,-19 71 1,1-71-16,17 1 0,-17 16 0,18-16 0,-19-1 16,18-17-16,1 0 0,17-1 15,0 0-15</inkml:trace>
  <inkml:trace contextRef="#ctx0" brushRef="#br0" timeOffset="-73910.7">12449 14226 0,'0'52'32,"0"-33"-32,0-2 0,0 1 15,0-1-15,0 0 0,0 19 0,0-18 16,0 52-16,0-52 15,0 0-15,0 0 16,0 16-16,0-16 0</inkml:trace>
  <inkml:trace contextRef="#ctx0" brushRef="#br0" timeOffset="-73569.11">12396 14156 0,'0'0'0,"17"-19"0,1 19 15,18 0 1,-19 19-16,18 15 15,-17 2-15,0 16 16,-18-16 0,0-18-16,-18 16 0,18 2 15,-18-18-15,-17 35 16,35-36-16,-17 1 16,-1 0-16,0 0 0,0-1 15</inkml:trace>
  <inkml:trace contextRef="#ctx0" brushRef="#br0" timeOffset="-73257.96">12713 14208 0,'35'18'16,"-16"-18"-16,-2 18 0,-17-1 15,17 0-15,1 2 0,-18-2 0,18 1 16,0 35-16,-18-36 16,17 1-16,-17-1 15,17 2-15,-17-2 0,18 0 16,0-34 15,-18-36-15,0 35-16,0-18 15,18 19-15,-18 0 16,0-1-16,17 18 0,-17-17 16,17-2-1</inkml:trace>
  <inkml:trace contextRef="#ctx0" brushRef="#br0" timeOffset="-72873.84">13136 14173 0,'19'35'15,"-19"-17"-15,0 0 16,0-1-16,17 0 15,-17 2-15,17-2 16,-17 1-16,36-1 16,-18-17-1,-1-17-15,0 17 16,2-18-16,-2 1 16,-17-2-1,18 2-15,-18 0 16,0-1-16,17 18 15,-17 18 17,36 16-17</inkml:trace>
  <inkml:trace contextRef="#ctx0" brushRef="#br0" timeOffset="-72464.28">13648 14120 0,'-35'0'0,"17"0"16,0 17-1,18 2 1,18-2-1,-18 0-15,18 1 16,0-18-16,-18 18 0,17 0 0,0-1 0,2 0 16,-19 2-16,17-2 0,1 18 15,-1 18 1,-17-35-16,-17 18 0,17-2 16,-18 2-16,1-18 15,17-1-15,-19-17 0,19 17 0,-17-17 16,0 18-16,-1-18 15,18-18 1,0-16-16,18 16 16,-18 0-16,17 18 0,19-52 15,-19 33-15,1 2 16,16-1-16,-15 1 0,-2-2 0,1 2 16,18 17-16,-19-17 0,0-1 0</inkml:trace>
  <inkml:trace contextRef="#ctx0" brushRef="#br0" timeOffset="-71230.05">2836 16448 0,'-19'0'16,"38"-18"-1,-2 18 1,18 0-1,-16 18 1,-19 0-16,0 0 0,-19 35 16,2-36-1,17 1-15,-18-1 16,18 2-16,-17-19 0,17 17 0,-19 0 16,2 1-16,17-1 15,17 2 1,-17-2-1,19-17-15,-2 0 0,18 17 16,-16-17-16,-2 0 16,0-17-16,1 17 0,35 0 15,-36-17-15,1 17 0,0-19 0,0 19 16,-18-17-16,17 17 0,-17-18 16</inkml:trace>
  <inkml:trace contextRef="#ctx0" brushRef="#br0" timeOffset="-70933.93">3100 16184 0,'17'0'0,"2"0"0,-55 0 0,89 0 0,-35 0 16,-1 17-16,54 19 15,-35-19-15,34 37 16,-52-20-16,16 2 16,-16-18-16,-18-1 0,18 0 0,-18 19 15,0-18-15,0-1 16,0 36-16,-18-35 16,18-1-16,-35 36 15,18-35-15,-1-1 16</inkml:trace>
  <inkml:trace contextRef="#ctx0" brushRef="#br0" timeOffset="-69228.59">15659 11262 0,'0'71'0,"17"-54"15,-17 1-15,0 18 0,0-19 16,0 54-16,0-35 16,0-19-16,0 18 0,0-18 0,0 2 15,0-2-15,0 0 0,0 1 16,19 0 0</inkml:trace>
  <inkml:trace contextRef="#ctx0" brushRef="#br0" timeOffset="-68867.04">15995 11316 0,'-36'17'16,"18"-17"-16,18 17 0,0 1 15,0 35 1,18-36-16,-18 2 0,0-2 0,17-17 16,-17 18-16,19-1 15,-2-17-15,0 0 0,1 0 0,18 19 16,-19-19-16,0-19 0,19 19 16,-18-17-1,-18-1-15,17-18 16,-34 19-1,17 0-15,0-1 16,-18 0-16,0 0 16,0 18-1</inkml:trace>
  <inkml:trace contextRef="#ctx0" brushRef="#br0" timeOffset="-68359.96">16488 11104 0,'0'36'16,"17"33"-1,-17-33-15,18-1 0,0 35 16,-18-34-16,0-1 0,18 53 16,-1-52-1,-17-19-15,0 1 0,0-1 0,17 19 16,-17-19 0,0 1-16,19-53 31,-19-18-16,0 18-15,35-53 16,-18 52 0,-17 19-16,19-19 0,-2 18 0,0 1 15,18 0-15,-16-1 16,-2 18 0,0 18-16,1-18 15,-18 17 1,-18 18-16,1-17 15,0 0 1,-2-1 0,2 0-16,-1 2 0</inkml:trace>
  <inkml:trace contextRef="#ctx0" brushRef="#br0" timeOffset="-67982.14">17071 11209 0,'-90'53'15,"73"-35"-15,17 0 0,-17-18 16,17 18-16,0-1 0,0 0 16,0 1-1,17-18 1,0-18-16,2 18 16,-2-17-16,-17 0 15,18-1 1,-1 18-1,2 18 1,-2 16 0,0-16-1,1 0 1,-1-18 0</inkml:trace>
  <inkml:trace contextRef="#ctx0" brushRef="#br0" timeOffset="-67529.32">17369 10962 0,'0'-34'15,"0"86"17,0-34-32,0 34 15,0-16-15,0-18 0,0 18 16,0 33-1,0-50-15,0-2 0,0 0 0,0 1 0,0 0 16,0 0 0,0-1-16,0 0 0,-17-17 15,0 0 1,-1 0 0,-18-17-1,19 17 1,17-17-1,17-1-15,2 0 16,-2 18 0,1 0-16,-1-18 0,0 18 15,37 0 1,-54 18-16,17-18 16,2 18-16,-2-18 15,-17 18-15,0-1 16,17 18-1,-17-17 1</inkml:trace>
  <inkml:trace contextRef="#ctx0" brushRef="#br0" timeOffset="-67401.12">17564 11104 0,'-17'0'16</inkml:trace>
  <inkml:trace contextRef="#ctx0" brushRef="#br0" timeOffset="-66963.89">17669 11174 0,'0'-17'16,"0"52"15,0-18-15,0 2-1,0-2 1,36-17 0,-1-17-1,-18 17-15,2-19 16,-2 2-16,1-1 0,-18 1 16,17 0-16,2-2 0,-19 2 0,17-1 15,0-18 1,-17 19-16,18 0 0,0 51 31,-36-15-15,18-2-16,0 18 15,0-16-15,0-2 0,0 0 16,0 1 0,0-1-16</inkml:trace>
  <inkml:trace contextRef="#ctx0" brushRef="#br0" timeOffset="-65748.31">6540 11386 0,'-17'-18'15,"17"71"16,0-36-31,0 2 0,0-2 0,0 1 16,0 18-16,0 16 16,0-35-16,-19 2 0,19 15 0,19-16 15,-19 18-15,0-19 0,0 0 0</inkml:trace>
  <inkml:trace contextRef="#ctx0" brushRef="#br0" timeOffset="-65253.35">6857 11421 0,'-17'0'0,"17"53"31,0-35-31,0 70 16,17-52-16,-17-19 0,0 18 15,18 54-15,-18-72 16,0 1-16,17 16 16,-17-15-16,-17-38 46,17 2-46,0-35 16,0 33 0,0 2-16,17 0 0,2-37 15,-2 37 1,0 17-16,1 0 16,-1 17-1,-17 1-15,-17 18 16,17-2-1,-18-15-15,1-2 16,0 1-16,-2-18 16,2 17-16,-1-17 15</inkml:trace>
  <inkml:trace contextRef="#ctx0" brushRef="#br0" timeOffset="-64346.08">7175 11545 0,'-35'17'0,"16"1"15,2 18-15,17-2 32,-17-16-32,17 18 15,17-36-15,-17 17 0,17 0 32,2-34-17,-2 0-15,1 17 16,-1-18-1,0 36 1,2-18 0,-2 17-1,18-17-15,-16 0 16,15-17 0,-34-1-16,36-18 15,-36 19-15,18-19 16,-18 19-16,0-18 0,0 18 15,0-19-15,0-35 16,0 54-16,0-1 0,0-18 0,0 19 16,0 0-1,0-1-15,0 70 32,0 2-17,0-20-15,0-15 0,0-2 16,0 1-16,0 18 0,0-19 0,17 0 15,-17 1-15,17-1 0,-17 2 16,0-2-16,18-17 0,0 17 16,17-17-1,-18-17-15,2 17 0,-2-17 16,1 17 0,-1-19-16,-17 2 0,17 17 0,2-18 15,-2 18 1,1 0-1,-1 18-15,2-1 16,-19 2 0,17-2-16,0 0 15,1-17 1,0 0 0</inkml:trace>
  <inkml:trace contextRef="#ctx0" brushRef="#br0" timeOffset="-64030.15">7316 11528 0,'-17'0'0,"51"-36"16,37 18-1,0 1-15,-18-2 16,-36 19-16,18 0 0</inkml:trace>
  <inkml:trace contextRef="#ctx0" brushRef="#br0" timeOffset="-63438.07">7987 11545 0,'17'-36'31,"-17"19"0,17-1 16,-34 53 47,17 1-78,0-19-1,0 1-15,0-1 16,17 2-16,1-19 16,-1 17-1,19-17-15,-19-17 16</inkml:trace>
  <inkml:trace contextRef="#ctx0" brushRef="#br0" timeOffset="-62834.26">8251 11509 0,'17'19'47,"0"-2"-31,2-17-1,-19 17 1,17-17-1,1 0-15,-1 18 16,2-36 0,-2 18-16,18-17 15,-17 17-15,0-17 16,-1-2-16,0 2 16,1-18-1,-18 16-15,0 2 0,0 0 16,0-1-16,18 0 0,-18 0 0,0 1 0,0 0 15,-18-1 1,18 70 15,18-16-15,-18-18-16,0-1 16,0 0-16,18-17 0,-18 19 15,0-2-15,0 1 16,-18-1-1,36-52 32,-1 18-31,0 17-16,19-36 16,-18 19-1</inkml:trace>
  <inkml:trace contextRef="#ctx0" brushRef="#br0" timeOffset="-61337.96">4917 16060 0,'0'-18'0,"0"54"31,18 16-16,-18-16-15,0-18 0,0 18 16,0-19-16,17 54 16,-17-37-16,0 20 15,0-37-15,0 0 0,0 1 16,0 0-16,0 0 0,17-1 16</inkml:trace>
  <inkml:trace contextRef="#ctx0" brushRef="#br0" timeOffset="-60953.1">4917 16078 0,'0'-36'16,"18"19"-16,16 17 16,2 17-16,-18 1 15,-1-18-15,36 53 16,-53-17-16,18-19 0,-18 1 15,0 35-15,0-18 0,0-18 16,-35 72 0,18-71-16,-19 16 0,18-16 0,-35 18 15,36-19 1,-37-17 0,37 0-16,17-17 15</inkml:trace>
  <inkml:trace contextRef="#ctx0" brushRef="#br0" timeOffset="-60604.17">5252 16149 0,'17'52'16,"-17"-33"-16,36 50 16,-36-33-16,0-19 0,0 1 15,18 0-15,-18 0 0,0-1 0,0 0 16,0 1-16,-18 0 31,18-71-15,0 36-16,0-1 15,0 0-15,0 0 0,0 1 16,0 0-16,35-37 16,-35 37-16,17 0 0,2-2 15,-2 19-15,1-17 16,-1 17-16,2 0 0,15-18 16</inkml:trace>
  <inkml:trace contextRef="#ctx0" brushRef="#br0" timeOffset="-60164.66">5657 16149 0,'-17'52'16,"17"-16"-1,0-19-15,0 1 0,0-1 0,17 2 16,-17-2-16,19-17 15,-2 0-15,1 0 16,-1-17 0,0-2-1,2 19-15,-19-17 16,17 17-16,1 17 31,-1 2-15,-17-2-16,19-17 0,-2 17 15,0-17-15,1 0 16</inkml:trace>
  <inkml:trace contextRef="#ctx0" brushRef="#br0" timeOffset="-59789.8">6099 16113 0,'-18'17'0,"1"-17"0,-2 19 16,2-2 0,17 1-1,17-1-15,-17 19 16,19-19-16,-2 1 16,1 35-1,-1 0 1,-17-35-16,0-1 0,0 18 0,0-17 15,0 0-15,-17 16 0,17-15 0,0-2 16,0 1-16,-18 18 16,1-36-16,17 17 0,-19-34 47,38-37-32,-2 37-15,-17-2 0,18 2 0,-1 0 16,36-37-1,-53 37-15,18 0 0,-1-1 0,19 0 16</inkml:trace>
  <inkml:trace contextRef="#ctx0" brushRef="#br0" timeOffset="-59502.98">7104 16130 0,'-17'36'16,"17"-18"-16,0-1 0,0 2 15,0-2-15,0 35 16,0-33-16,0-2 0,-18 0 0,18 1 16,0 0-16,0 0 15</inkml:trace>
  <inkml:trace contextRef="#ctx0" brushRef="#br0" timeOffset="-59356.14">7051 15990 0,'-18'0'15</inkml:trace>
  <inkml:trace contextRef="#ctx0" brushRef="#br0" timeOffset="-59114.73">7316 16025 0,'-17'17'0,"34"19"16,-17-18-1,35 35 1,1-1-1,-19 1 1,-17-18 0,-17-16-16,17-2 0,-36-17 31</inkml:trace>
  <inkml:trace contextRef="#ctx0" brushRef="#br0" timeOffset="-58244.52">8604 16078 0,'0'35'94,"17"-35"-79,1 17-15,-1-17 16,0 0 0,2 0-1,-2 0 1,1 0-16,-1 0 16,19 19-1,-19-19 1,1 0-1,0 0 1,0 0-16,-1 0 0,0-19 16,1 2 15,-18 0-31,18-1 0,-18 0 31,18 0-15,-1 36 15,0 0-31,-17 0 16,36-18-1,-36 17-15,35-17 16,1-17 0,-19-1-1,1 18-15,-18-18 16,17-17-1,-17 18-15,0-1 16,0 0 0,0 0-1</inkml:trace>
  <inkml:trace contextRef="#ctx0" brushRef="#br0" timeOffset="-57810.07">9451 15937 0,'-90'53'0,"90"-35"0,-17-1 16,17 0-16,0 1 0,0 0 0,0 0 16,17-1-1,-17 0-15,19-17 0,-19 19 0,17-19 16,1 0-16,-1 0 15,2 0 1,-2-19-16,0 2 0,-17 0 16,-17-1-1,17 0-15,-17 0 16,-2 18-16,2 0 0,17-17 16,-35 17-16,16 0 15,2 0 1</inkml:trace>
  <inkml:trace contextRef="#ctx0" brushRef="#br0" timeOffset="-57494.05">9609 15901 0,'18'0'0,"-1"19"15,-17-2-15,17-17 16,-17 17-16,19 1 0,-19 0 0,0 0 15,17-1-15,-17 0 0,0 1 0,0 0 16,0 0-16,0-1 0,0 0 16,18 2-1,-18-2-15,0 1 16,0-53 15,0 16-31,0 2 16,0 0-16,17-1 15,-17 0-15,17 0 0,2 1 16,16 0 0,-18-1-16,19 0 15,-19 0-15,1 18 0</inkml:trace>
  <inkml:trace contextRef="#ctx0" brushRef="#br0" timeOffset="-57150.85">10227 15725 0,'0'71'16,"0"-54"-16,0 19 0,-19 69 15,2-17 1,17-52-16,-18 16 15,18-33 1,0-2-16,0 1 0,-17-1 0</inkml:trace>
  <inkml:trace contextRef="#ctx0" brushRef="#br0" timeOffset="-56704.82">10508 15901 0,'-35'0'0,"-53"36"15,70-19-15,0 1 16,-16-18-16,16 18 0,0-18 0,0 18 16,18-1-16,-17-17 0,17 17 15,-17-17-15,17 18 0,0 0 16,17 0-16,0-1 15,1-17-15,0 0 0,0 0 16,-1 17-16,0-34 0,1 17 16,18 0-16,-19 0 0,0 0 0,54-35 15,-35 17 1,-19 18-16,1-18 0,-1 1 0,2 17 16,-2-17-16,-17-1 0,17 18 0,-17-18 15,18 18-15,0-18 16,0 36 15,-18 0-31,0 0 16,0-1-16,0 0 15,0 1-15,0 0 0,0 0 16,0 16 0,0-15-16</inkml:trace>
  <inkml:trace contextRef="#ctx0" brushRef="#br0" timeOffset="-56574.66">10615 15866 0,'-36'0'16,"18"0"-1,1 0 1</inkml:trace>
  <inkml:trace contextRef="#ctx0" brushRef="#br0" timeOffset="-56245.97">10756 15990 0,'0'35'15,"0"-70"-15,0 87 0,0-34 0,0 0 16,17 0-16,-17-1 16,0 0-1,18-34 17,-1 0-17,0 17-15,-17-18 0,19 18 16,-2-18-1,1 18-15,-1 0 16,2 0-16,-2 18 16,0-18-1,1 0-15,-1 0 0,2 0 0,-2-18 16</inkml:trace>
  <inkml:trace contextRef="#ctx0" brushRef="#br0" timeOffset="-55875.23">11196 15954 0,'-17'0'0,"-1"0"15,18 18 1,0 18 0,0-2-1,0-16-15,18 35 16,-18-36-16,0 19 15,0-1-15,-18-16 0,18 15 0,0 1 16,-17-16-16,-2 15 0,19 2 0,-17-18 16,-18 34-16,17-52 0,0 18 15,18 0-15,-17-18 0,0-18 32,17 0-32,34-34 15,-34 34 1,18 0-16,0 0 0,0 1 0,-1-19 15,19 19-15,-19-18 0,1 18 0,16-2 16,-15-16-16,33-18 16,-33 36-16,15-1 0,2-18 0,-18 19 15,-1 0-15,18-1 0</inkml:trace>
  <inkml:trace contextRef="#ctx0" brushRef="#br0" timeOffset="-55765.97">11672 15866 0,'-17'0'16,"34"0"-16,-52-17 16</inkml:trace>
  <inkml:trace contextRef="#ctx0" brushRef="#br0" timeOffset="-51046.11">6523 12021 0,'17'35'0</inkml:trace>
  <inkml:trace contextRef="#ctx0" brushRef="#br0" timeOffset="-50324.81">6892 12550 0,'19'-17'0,"-19"-2"16,-19 55-16,55-72 0,-36 19 0,17 17 15,1-17-15,-53 17 47,-53 53-31,69-53-16,2 17 0,-18 1 15,18-18-15,-2 17 0,2-17 16,17 19-16,-17-19 0,17 17 0,17 18 16,19-18-1,-1 2 1,-18-2-16,0 0 0,2-17 0,16 18 15,-18 0-15,-17 0 16,19-18-16,-19 17 0,0 0 0,17-17 16,-34 19-16,17-2 0,-19 1 0,2 16 15,-18-15-15,16 16 16,2-18-16,-18 2 0,18-19 16,-2 17-16,2 0 0,0-17 15</inkml:trace>
  <inkml:trace contextRef="#ctx0" brushRef="#br0" timeOffset="-49714.34">7475 12444 0,'0'53'15,"17"-36"-15,0 73 16,2-73-16,-19 18 16,17 1-16,1 16 15,-18-16-15,17-2 0,-17-15 0,17 16 16,-17-18-16,0 0 0,19 2 0,-19-2 15,0 1-15,0-1 16,17-52 15,1-35-15,-18 52-16,17-18 0,2 19 16,-2-18-16,0 17 0,1 0 0,0 1 15,17-19-15,-18 19 16,1 17-16,0 0 15,-18 17-15,0 2 16,0-2-16,-18 0 0,18 1 16,-18 0-16,1 0 0,0-1 15,-1 0-15,0 2 0,0-2 16</inkml:trace>
  <inkml:trace contextRef="#ctx0" brushRef="#br0" timeOffset="-49004.67">8075 12621 0,'0'0'16,"-36"17"15,18 1-15,18-1-16,0 2 0,0 15 15,18-34 1,-1 0 0,19 0-16,-1-34 15,-17 15 1,0 19-16,-18-17 0,17 17 0,0-18 16,2 18 15,-19 18-31,17-18 0,-17 17 15,18-17-15,-1 19 16,0-19-16,2-19 16,-2 19-16,1-17 15,-1-1-15,36-35 16,-17 18-16,-36-1 16,18 19-16,-18 0 0,17-1 0,-17 0 15,17 0-15,-17 1 16,18 17-16,0 0 31,-18 17-31,0 1 16,18-18-16,-18 18 0,0 0 0,0-1 0,-18 19 15,18-19-15,0 1 0,0-1 16,-18-17-16,18 19 0,-18-2 0,18 0 16,-17-17-16,17 18 0,-17-18 15,34-35 32,18 18-31,18-19-1,-36 18-15,2 18 16,-2 0-16,1 0 16,-1 0-16,-17 18 15,17-1 1,-17 2-1,0-2-15,0 0 0,0 1 32</inkml:trace>
  <inkml:trace contextRef="#ctx0" brushRef="#br0" timeOffset="-48900.67">8727 12444 0,'0'-18'0,"17"72"0</inkml:trace>
  <inkml:trace contextRef="#ctx0" brushRef="#br0" timeOffset="-47794.2">14231 12004 0,'0'-18'15,"-19"53"-15,19-18 16,-17-17-16,17 18 0,0 0 16,0 17-16,0-18 0,0 2 0,0-2 15,0 1-15,17-1 0,-17 19 16,19-19-16,-2 1 0,0-1 15,1-17-15,0 19 0,0-19 16,-1 0-16,0 0 0,1 0 16,0-19-16,0 2 0,-1-1 15,-17 1-15,0 0 16,-17-2-16,17 2 0,0-1 16,-36-18-16,36 19 15,-18 0-15,1-1 0,0 18 16,-1-18-16,0 18 15</inkml:trace>
  <inkml:trace contextRef="#ctx0" brushRef="#br0" timeOffset="-47373.49">14548 11986 0,'17'35'15,"1"0"1,-18 1-16,0-19 0,0 0 16,0 54-16,17-35 15,-17-1-15,0 1 0,0-19 0,0 18 16,0-17-16,0 17 0,0-18 0,0 1 16,0 0-16,0 0 0,0-1 15,0 0-15,0-69 47,19-18-31,-2 34-16,-17 18 0,17 1 15,1 0-15,0 17 0,0-19 16,-1 2-16,0 17 0,2 0 16,16 0-1,-18 17-15,-34 2 16,-18 15-1,-1-16 1,19 0-16,-1-18 16,0 0-16</inkml:trace>
  <inkml:trace contextRef="#ctx0" brushRef="#br0" timeOffset="-46681.74">15112 12216 0,'-35'-19'16,"-18"38"-1,53-2-15,-17-17 16,17 17-16,-18-17 15,18 18-15,0-1 0,0 2 32,18-19-32,-1 0 15,0-19 1,1 19 0,0 0-16,0 0 15,-1 0 1,0 0-1,2-17-15,-2 17 0,1-18 16,-1 1-16,2 17 0,-19-17 16,17-2-16,0 2 0,1-18 15,-18 16-15,17 19 16,-17-17-16,19 0 16,-2 34-1,-17 0 1,0 2-16,0 16 15,0-18-15,0 2 0,0-2 0,0 0 16,17 1-16,-17-1 16,0 2-16,0-2 0,0 0 15,0 1 1,18-53 46,-18 18-62,18 17 16,0-19-16,34 2 16,-34 17-16,0-18 15,-1 18 1,0 18-16,-17-1 16,0 2 15</inkml:trace>
  <inkml:trace contextRef="#ctx0" brushRef="#br0" timeOffset="-45308.07">4547 17472 0,'17'0'0,"0"0"15,2 17 1,-2-17-16,-17 17 16,18 1-1,-18 0 1,17 0-1,0-1 1,2 19 0,-2-36-16,-17 17 0,0 1 15,0-1-15,0 19 16,0-19-16,-17-17 16,-2 35-16,-15-16 15,-20-2 1,20-34-1</inkml:trace>
  <inkml:trace contextRef="#ctx0" brushRef="#br0" timeOffset="-45105.39">4581 17348 0,'195'229'16,"-178"-193"-16,19 104 16,-36-87-16,0 1 0,0-20 15,0 37-15,0-18 16,0-18-16,-18-16 0,18 15 0,0-16 16</inkml:trace>
  <inkml:trace contextRef="#ctx0" brushRef="#br0" timeOffset="-42016.73">6064 17506 0,'0'-17'16,"0"70"15,0-35-31,0-1 0,0 0 16,0 2-16,0-2 0,17 18 0,-17 1 15,0-1 1,18-18-16,-18 19 0,0-19 0,0 1 15,0 0-15,0 17 0,0-18 16,0 2 0</inkml:trace>
  <inkml:trace contextRef="#ctx0" brushRef="#br0" timeOffset="-41676.96">5957 17542 0,'0'-36'0,"18"19"16,0 0-1,53 34 1,-36 0-1,-1 1-15,20 18 0,-37-2 16,2 2-16,-2-18 0,0-1 16,1 19-16,0 16 0,-18-33 15,0 15-15,0 2 16,-18-1-16,18-18 0,-18 2 16,1 16-16,0-18 0,-2 0 15,2 2-15,-1-19 0,18 17 16,-17-17-16,-2 0 15</inkml:trace>
  <inkml:trace contextRef="#ctx0" brushRef="#br0" timeOffset="-41344.97">6328 17630 0,'35'88'32,"-17"-70"-17,-18-1-15,18 2 0,-18-2 16,0 0-16,17-17 16,-105-176-16,176 370 0,-71-212 31,-17 1-31,0-54 31,19 37-15,-19 15-16,0 2 0,17 17 15,-17-18-15,18 1 16,-1 17 0,2 0-16</inkml:trace>
  <inkml:trace contextRef="#ctx0" brushRef="#br0" timeOffset="-40850.14">6716 17577 0,'0'36'16,"0"16"-1,0-33 1,0-2-16,17 0 0,2 1 15,-2-18 1,1-18 0,-18 1-16,17 17 15,-17-17-15,17-2 16,-17 2-16,0-1 0,19 18 16,-19-17-16,0-2 15,17 38 16,1-2-31,-18 18 16,17-16 0,2 15-1,-2-16-15,-17-1 16,17-17 0</inkml:trace>
  <inkml:trace contextRef="#ctx0" brushRef="#br0" timeOffset="-40315.58">7087 17594 0,'-54'19'31,"54"-2"-15,0 1-16,54-72 0,-108 125 15,72-71-15,-18 19 16,18-2-16,0 0 16,-1 1-16,-17-1 0,17 2 15,2 15-15,-2-34 16,-17 18-16,18 0 0,-18 0 0,0-1 16,0 0-16,0 19 0,-18-18 15,18-1-15,-17-17 16,17 17-16,-19-17 15,2 0-15,17-17 16,0 0 0,17-1-1,-17 1-15,19-2 16,-2 2-16,1 0 0,-1-1 16,0-18-16,2 19 0,-2 0 0,1-2 15,-1-33-15,2 35 16,-2-2-16,0 2 15,1 17-15,-18-18 0,18 18 16,0 0 0,-1 18-1,-17-1-15,0 2 16,17-2-16,-17 0 16,0 1-16,18-1 0,-18 2 15,0-2 1</inkml:trace>
  <inkml:trace contextRef="#ctx0" brushRef="#br0" timeOffset="-39704.32">7580 17613 0,'-35'0'15,"18"17"-15,69-34 0,-87 52 32,53-35-32,-1 17 0,19-17 15,-19 19-15,1-19 0,-1 17 16,2-17-16,-2 17 0,18 1 15,-17-1-15,0 2 16,-18-2 0,-18 0-16,18 1 0,-18-18 15,0 18-15,1 0 0,-19-1 16,1 0-16,18-17 16,-2 0-16,19 19 0</inkml:trace>
  <inkml:trace contextRef="#ctx0" brushRef="#br0" timeOffset="-38484.94">8780 17594 0,'105'0'15,"-87"-17"1,18 17-16,-19 0 0,0 0 0,2 0 16,-2-17-16,37 17 15,-37 0-15,0 0 16,1 0-16</inkml:trace>
  <inkml:trace contextRef="#ctx0" brushRef="#br0" timeOffset="-37910.25">9239 17472 0,'17'17'16,"0"0"-1,1 1-15,-18 0 16,18-18-16,0 18 16,-1-18-1,0 0-15,-17 17 16,19-34-16,-2 17 16,-17-36-1,0 18-15,18 18 16,-18-17-1,0 0-15,17 17 32,2 0-1,15 0-15,-16-18-16,18 0 15,-19 0 1,0 18-16,-17-34 15,-17 68 48,17 2-47,17-36-16,-17 18 15,18-1-15,0 0 16,0-17 15</inkml:trace>
  <inkml:trace contextRef="#ctx0" brushRef="#br0" timeOffset="-35701.54">10456 17489 0,'71'-53'15,"-71"35"-15,17 1 16,-17 0-1,0-19 1,-17 36 0,-2 17 15,19 19-15,0-19-16,19-17 15,-19 18-15,17 0 0,0-18 16,1 18-16,-1-18 15,2 0-15,-2 0 16,18-18-16,-17 18 0,0-18 0,-1 0 0,19 18 16,-19-17-16,1 0 15,-1-2-15,0 2 0,-17-1 0,19 1 16,-19 0-16,17-2 0,-17 2 0,0-1 16,0 1-16,0-2 0,0 2 15,0 0-15,0-1 16,0 70 15,18-33-31,-18-2 0,0 18 0,0-16 16,17 15-16,-17 1 0,0 1 15,0-1-15,0 1 0,0-2 0,0 2 16,0 35-16,-17-19 0,-1 1 16,1-18-1,-2 1-15,2-1 0,0-17 16,-1 0-16,1-18 31,17-18-15,0 0-16,17-17 15,1 18-15,-18-2 0,17 2 16,0-1-16,2-16 0,16-20 16,18-52-16,-36 71 15,-17 0-15,18-1 16,-1 2-16,-17-2 0,19 1 0,-19-36 15,0 54-15,0-19 0,17 19 16,-17-1-16,0 0 16,0 0-16,0 1 0,35 34 31,-35 1-31,18 0 0,-18 0 16,18-1-16,-1 36 0,0 1 15,2-20 1,-19 1-16,17-16 0,-17 15 0,0 37 15,0-54-15,0 19 0,0-1 0,-17-18 16,-2 37-16,19-37 16,-17 19-16,17-19 15,-17 1-15,-1-1 16,18-52 15,18 18-15,-1 0-16,-17-2 15,17 19-15,2-35 0,16-1 16,-35 19-16,17 0 16,0-1-16,2-18 0,16-16 15,-35 34-15,17-17 16,2 18 0,-19-2-16,0 2 0,17-1 15,-34 53 32,34-16-31,-17-2-1,17 0 1,1-17 0,35-34-1,-36 34-15,-17-19 16,36 2-16,-18-1 15,-1 1-15,0 17 16,2 0 0,-19 17-1,17 18 1,1-16 15,-1-19-31,2 0 0,-2-19 16,18 2-1,-35-1-15,17 18 16,2-53-16,-2 36 0,0-1 0,-17-18 16,18 2-16,-18 16 0,0-18 15,18 2-15,-18-20 0,0 20 16,0 15-16,0-16 16,18 18-16,-18-2 15,0 55 1,0-18-16,0 35 15,0-18-15,17 1 16,-17-2-16,17-16 0,2 52 16,-2-51-16,1-2 0,-18 1 15,34 18-15,-15-19 0,-2 0 16,1-17-16,-1 0 16,2 0-16,-2 0 15</inkml:trace>
  <inkml:trace contextRef="#ctx0" brushRef="#br0" timeOffset="-35478.09">11355 17189 0,'353'-123'47,"-300"105"-47,-1 18 16,2-18-16,-1 1 0,-18 17 15,1-17-15,-2 17 0,20-19 16,-20 19-16,-16 0 0,0-17 16</inkml:trace>
  <inkml:trace contextRef="#ctx0" brushRef="#br0" timeOffset="-35110.22">12625 17101 0,'-70'53'0,"16"-18"15,2 36 1,-1-18-16,36-18 16,-19-18-16,18 19 0,1-19 15,17 1-15,17-18 16</inkml:trace>
  <inkml:trace contextRef="#ctx0" brushRef="#br0" timeOffset="-34954.19">12784 17101 0,'-141'195'47,"-335"333"-15,388-458-17,52-34-15</inkml:trace>
  <inkml:trace contextRef="#ctx0" brushRef="#br0" timeOffset="-34269.29">11832 15937 0,'-71'105'16,"53"-69"-16,0-1 0,1 1 15,0-1-15,-2 1 0,2-19 0,-1 0 16,18 1-16,-17-1 0,17 2 16</inkml:trace>
  <inkml:trace contextRef="#ctx0" brushRef="#br0" timeOffset="-34145.86">11901 16042 0,'-34'71'31,"-230"264"1</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3.605"/>
    </inkml:context>
    <inkml:brush xml:id="br0">
      <inkml:brushProperty name="width" value="0.025" units="cm"/>
      <inkml:brushProperty name="height" value="0.025" units="cm"/>
      <inkml:brushProperty name="ignorePressure" value="1"/>
    </inkml:brush>
  </inkml:definitions>
  <inkml:trace contextRef="#ctx0" brushRef="#br0">37 1,'0'8,"-4"8,-7 5,-1 5,3-4</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5.186"/>
    </inkml:context>
    <inkml:brush xml:id="br0">
      <inkml:brushProperty name="width" value="0.025" units="cm"/>
      <inkml:brushProperty name="height" value="0.025" units="cm"/>
      <inkml:brushProperty name="ignorePressure" value="1"/>
    </inkml:brush>
  </inkml:definitions>
  <inkml:trace contextRef="#ctx0" brushRef="#br0">104 1,'-4'0,"-7"0,-1 4,-2 1,0 6,0-2,-5 5,3-1</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5.383"/>
    </inkml:context>
    <inkml:brush xml:id="br0">
      <inkml:brushProperty name="width" value="0.05" units="cm"/>
      <inkml:brushProperty name="height" value="0.05" units="cm"/>
      <inkml:brushProperty name="color" value="#E71224"/>
      <inkml:brushProperty name="ignorePressure" value="1"/>
    </inkml:brush>
  </inkml:definitions>
  <inkml:trace contextRef="#ctx0" brushRef="#br0">326 0,'-9'13,"0"1,-1-1,1 2,1-2,1 2,1 1,0-2,-7 28,-14 32,-163 346,167-381,15-23</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6.45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64 32,'-9'9,"1"-2,0-1,0 1,1 0,0 1,1 0,-1 0,2 0,-1 0,1 1,1 0,-1 1,1-1,1 0,-1 1,0 11,3-16,-1 1,1-1,1 0,0 1,-1-1,2 0,-1 1,0-1,1 0,1-1,-1 2,0-1,1 0,-1 1,2-2,-1 1,1-1,0 0,-1 1,1-1,5 6,-4-8,0 1,1 0,-1-1,2 1,-2-2,1 2,0-2,1 1,-1-1,0 0,-1-1,2 2,-1-2,0 0,1 0,-1 0,0-2,1 2,-1-1,0 0,7-3,-4 1,0-1,0 0,0 0,0 0,0-1,-1 1,1-3,-1 2,-1-1,0 0,0-1,0 0,-1 1,0-2,1 1,-2-1,0 0,0 0,-2 0,2 0,3-17,-6 19,1 1,-2 0,1-1,-1 1,0 0,0-1,0 1,0 0,-1-1,1 1,-2 0,1-1,-2 2,2-1,-2 0,2 1,-2-2,1 2,-1-1,-1 1,1 0,-1 0,2 0,-2 0,0 0,0 1,0-1,-2 2,2-1,-1 0,1 1,-1 0,-1 0,2 0,-1 1,-10-3,1 1,-1 1,0 0,1 1,-1 1,0 0,1 0,-1 1,0 2,1 0,0 1,0 0,-1 0,-22 12,18-7</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1.698"/>
    </inkml:context>
    <inkml:brush xml:id="br0">
      <inkml:brushProperty name="width" value="0.025" units="cm"/>
      <inkml:brushProperty name="height" value="0.025" units="cm"/>
      <inkml:brushProperty name="ignorePressure" value="1"/>
    </inkml:brush>
  </inkml:definitions>
  <inkml:trace contextRef="#ctx0" brushRef="#br0">316 1,'-31'19,"2"2,-1 2,4-1,-1 4,2-1,-31 40,-7 6,60-70,1 2,-1 0,2-1,-2 1,0 0,2-1,0 1,-2 0,2 1,-1-2,1 1,0 1,1-1,-2 1,2-2,-1 2,1 3,0-4,1-2,1 2,-2-2,1 2,0-2,1 0,-1 2,0-2,1 1,-1-1,2 0,-2 1,0-1,2 0,-2 1,1-1,0 0,0-1,0 2,0-2,0 1,1-1,-2 1,2-1,-2 0,2 0,0 0,1 0,40 4,0-4,0 0,0-2,-2-4,48-8,-81 12,14-2</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2.353"/>
    </inkml:context>
    <inkml:brush xml:id="br0">
      <inkml:brushProperty name="width" value="0.025" units="cm"/>
      <inkml:brushProperty name="height" value="0.025" units="cm"/>
      <inkml:brushProperty name="ignorePressure" value="1"/>
    </inkml:brush>
  </inkml:definitions>
  <inkml:trace contextRef="#ctx0" brushRef="#br0">178 1,'-4'24,"0"0,-1 0,-2 0,1-1,-2 1,-22 37,6-5,11-24,-12 31,-21 74,41-114</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151"/>
    </inkml:context>
    <inkml:brush xml:id="br0">
      <inkml:brushProperty name="width" value="0.025" units="cm"/>
      <inkml:brushProperty name="height" value="0.025" units="cm"/>
      <inkml:brushProperty name="ignorePressure" value="1"/>
    </inkml:brush>
  </inkml:definitions>
  <inkml:trace contextRef="#ctx0" brushRef="#br0">53 2,'-2'2,"-1"-1,0-1,1 1,0 1,0-1,-1 0,0 1,2-1,-2 0,1 1,0 0,0 0,0 0,1 0,-2 0,2 0,0 0,-1 1,1 0,0-2,-1 2,2-1,-1 1,0 0,1-1,-2 1,2 0,0-1,0 4,-2 4,0 1,2 0,-1-1,1 0,0 0,4 16,-4-24,0 1,1 0,1 1,-2-2,1 1,0 0,1-1,-1 1,0 0,2-1,-2 1,1 0,0-1,0 0,0 0,1 0,0 0,-1 0,0-1,0 2,1-2,0 0,1 1,-2-1,1-1,0 1,-1 1,8-1,-4-1,0 0,0-1,0 1,0-2,0 1,-1 0,2-2,-2 2,0-2,1 0,-1 1,0-1,1 0,4-5,-6 4,2 2,-2-2,0 0,0 0,0 0,-2 0,2 0,-1-2,0 2,-1-1,1 0,0-1,-2 1,2 1,1-11,-4 13,0-2,0 0,0 0,-2 1,2-1,-1 0,1 1,-1-1,-1 0,1 2,0-2,-1 1,1-1,-2 1,2 1,-2-2,1 1,-1 0,2 1,-2-1,0 0,-1 2,2-2,-1 2,0-2,-6-1,-14-6,1 3</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548"/>
    </inkml:context>
    <inkml:brush xml:id="br0">
      <inkml:brushProperty name="width" value="0.025" units="cm"/>
      <inkml:brushProperty name="height" value="0.025" units="cm"/>
      <inkml:brushProperty name="ignorePressure" value="1"/>
    </inkml:brush>
  </inkml:definitions>
  <inkml:trace contextRef="#ctx0" brushRef="#br0">97 1,'-5'4,"0"0,-1 0,1 0,0 1,1 1,-2-1,2 0,0 1,0-1,0 2,2-2,-1 2,0-1,1 0,-1 0,2 1,-2 0,0 10,3-14,-1 1,1 0,-1-2,1 2,0-1,0 1,1 0,-1-1,0 1,1-2,-1 2,2-1,-1 1,0-1,1 1,-1-2,0 1,2 1,-2-1,2-1,-2 1,2 0,0-1,-1 1,1-2,0 2,-1-2,1 2,0-2,1 1,-2 0,1 0,1-1,-1-1,1 1,-2 1,6-1,-6-1,0 1,1-1,-2 0,2 2,0-2,-2 0,2 0,-1 0,1 0,-2 0,2-2,0 2,-2-1,2 1,-2-1,2 1,-1-2,0 1,0 0,0 1,-1-2,2 1,-2 0,0-2,2 2,-2-1,1 1,-1-2,0 2,1-2,-1 2,0 0,-1-2,2 0,-1 2,-1-2,1 2,-1-4,2-1,-2 2,0 0,-2 0,2 0,0-1,-1 1,0 0,-1 0,1 0,0 0,-1 0,1 0,-2 1,1-1,0 0,0 2,-1-2,0 1,-6-5,2 3,1-1,-1 2,-1 0,1 0,-1 0,0 2,0-1,2 0,-4 1,2 0,-13 0,-3-1</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3.880"/>
    </inkml:context>
    <inkml:brush xml:id="br0">
      <inkml:brushProperty name="width" value="0.05" units="cm"/>
      <inkml:brushProperty name="height" value="0.05" units="cm"/>
      <inkml:brushProperty name="color" value="#E71224"/>
      <inkml:brushProperty name="ignorePressure" value="1"/>
    </inkml:brush>
  </inkml:definitions>
  <inkml:trace contextRef="#ctx0" brushRef="#br0">437 0,'0'5,"0"5,0 6,-4 5,-6 7,-6 3,-4 6,-4 8,-6 7,-7 7,-2 2,-2 1,-3 2,0-2,0-2,-1-1,6-12</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5.099"/>
    </inkml:context>
    <inkml:brush xml:id="br0">
      <inkml:brushProperty name="width" value="0.05" units="cm"/>
      <inkml:brushProperty name="height" value="0.05" units="cm"/>
      <inkml:brushProperty name="color" value="#E71224"/>
      <inkml:brushProperty name="ignorePressure" value="1"/>
    </inkml:brush>
  </inkml:definitions>
  <inkml:trace contextRef="#ctx0" brushRef="#br0">354 0,'-29'17,"1"2,0 1,1 1,1 2,0 0,2 2,2 0,0 2,1 0,2 1,1 1,2 0,-20 49,33-73,2 0,-1 1,0-1,2 0,-2 1,1-1,1 0,0 1,0-1,0 2,1-2,-1 0,2 1,-1-1,0 0,1 1,0-1,0 0,0 1,6 7,-6-10,0-1,1 1,0 0,-1-1,1 1,1 0,-1-1,-1 0,2 0,-1 0,1-1,0 0,-1 1,1-1,0 0,-2 1,2-2,0 1,0-1,0 0,0 0,0 0,-1 0,1 0,0-1,0 1,0-2,-1 1,1 0,0-1,2 0,-3 0,-2 2,1-1,0 1,0-1,-1 1,0-2,2 1,-2 0,1-1,-1 1,0 1,1-1,-1-2,0 2,1-1,-2 1,1 0,0-1,-1 0,2 0,-1 1,-1 0,0-2,1 2,-1-2,0 2,2-1,-2 0,0 0,0 0,0 0,0 1,-2-2,2 2,0-2,-1 2,1 0,-1-2,1 2,-2-1,0-3,-1 0,-1-2,-1 2,1-2,-2 2,2-1,-1 1,0 0,-1 1,-8-7,-9-2</inkml:trace>
</inkml:ink>
</file>

<file path=ppt/ink/ink6.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4:26:23.370"/>
    </inkml:context>
    <inkml:brush xml:id="br0">
      <inkml:brushProperty name="width" value="0.05292" units="cm"/>
      <inkml:brushProperty name="height" value="0.05292" units="cm"/>
      <inkml:brushProperty name="color" value="#0070C0"/>
    </inkml:brush>
  </inkml:definitions>
  <inkml:trace contextRef="#ctx0" brushRef="#br0">23963 3779 0,'17'0'78,"0"0"-63,1 0 1,0 0 0,0 0-1,-1 0 1,0 0-16,2 0 16,-2 0-1,18 0 1,-16 0-16,15 0 0,-16 0 15,35 0 1,0 0-16,-35 0 16,52 0-16,1 0 15,-19 0-15,1 0 16,18 0 0,0 0-16,-1 0 0,1 0 15,0 0-15,51 0 16,-34 35-1,2-35 1,-2 19-16,-18-19 0,124 0 16,-70 17-1,-19-17 1,-17 0-16,0 0 0,36 0 16,-19 0-16,-17 0 15,19 35-15,-36-17 16,34-18-16,-52 18 15,1-18-15,15 17 16,2-17-16,-1 35 16,-16-35-16,34 0 15,-18 0 1,72 0 0,-1 0-1,0 0 1,-89 0-16,107 0 15,-88 0 1,-1 0-16,1 0 16,17 0-16,-35 0 15,18 0-15,0 0 16,-19 0-16,1 0 16,18 0-16,17 0 15,-35 0-15,0 0 16,35 0-1,18 0 1,-36 0 0,-35 0-16,36 0 15,-53 0 1,34-18 0,-34 18-16,0 0 15,0 0 1</inkml:trace>
  <inkml:trace contextRef="#ctx0" brushRef="#br0" timeOffset="1680.28">1032 4679 0,'53'0'78,"-1"0"-62,107 0-1,36 0 1,17 0-1,-142 0-15,18 0 16,-36-36 0,-33 36-16,-2 0 15</inkml:trace>
  <inkml:trace contextRef="#ctx0" brushRef="#br0" timeOffset="2951.26">3943 4538 0,'34'0'156,"-16"0"-156,35 0 15,18 0 1,-18 0 0,18 0-1,-37 0 1,-16 0 0</inkml:trace>
  <inkml:trace contextRef="#ctx0" brushRef="#br0" timeOffset="6487.28">11280 4590 0,'17'0'78,"1"0"-63,18 0-15,-2 0 16,2 0-16,18 0 16,-2 0-16,1 0 15,0 0-15,18 0 16,-2 0-16,2 0 16,70 0-1,-70 0-15,0 0 16,34 0-16,-16 0 15,-19 0-15,0 0 16,-16 0 0,-1 0-16,-1 0 0,1 0 15,-17 0 1,-1 0-16,18 0 0,-35 0 16,35 0-16,-36 0 15,37 0-15,15 0 16,-16 0-1,18 0-15,-18 0 16,35 0 0,-34 0-16,-2 0 15,-16 0-15,-2 0 16,20 19 0,-1-19-1,-1 0-15,-16 0 16,-1 0-16,1 0 15,16 0-15,18 0 16,-16 0-16,-20 0 16,56 0-16,15 0 15,-17 17-15,159-17 16,-141 0 0,34 0-16,-16 0 15,18 0-15,70 0 16,-142 0-1,18 0-15,-17 0 16,0 0-16,-19 0 16,-16 0-16,-2 0 15,2 0-15,16 17 16,-16-17-16,16 0 16,-33 0-1,33 0-15,-16 0 16,-1 0-16,18 0 0,0 0 15,-1 0-15,-16 0 16,16 0 0,19 0-16,-18 36 15,1-36-15,68 0 16,-15 0 0,-55 0-1,-16 0-15,52 0 16,-71 0-1,19 0-15,-1 0 16,18 0-16,18 0 16,17 0-1,-17 0-15,-18 0 16,16 0-16,2 0 16,53 0-1,-53 0-15,-1 0 16,-16 0-16,15 0 15,38 0 1,-55 0 0,18 0-16,-34 0 15,18 0-15,-2 0 16,1 0-16,0 0 0,-1 0 16,19 0-1,53 0 1,-89 0-1,35 0 1,-34 0-16,16 0 16,-16 0-16,18 0 15,-20 0-15,1 0 16,89 0 0,-53 0-16,-18 0 15,35 0 1,-17 0-16,-19 0 15,18 0-15,1 0 16,17 0-16,-17 0 16,-1 0-16,18 0 15,-17 0-15,0 0 16,-1 0-16,-16 0 16,-2 0-16,18 0 15,-51 0-15,52 0 16,-37 0-16,1 0 15,18 0-15,1 0 32,-37 0-32,36 0 0,-18 0 15,18 0 1,53 0 0,-36 0-16,18 0 15,124 0 1,-88 0-16,16 0 15,-16 0-15,-36 0 16,36 0-16,-1 0 16,-52 0-16,-1 0 15,1 0-15,0 0 16,-18 0-16,0 0 16,-1 0-16,-16 0 15,16 0-15,2 0 16,-20 0-16,20 0 15,-1 0-15,18 0 16,17 0 0,0 0-16,-35 0 0,18 0 15,-1 0-15,18 0 16,-36 0 0,2 0-16,-18 0 15,16 0 1,1 0-16,0 0 0,-18 0 15,18 0-15,-18 0 16,1 0 0,16 0-16,1 0 15,-35 0-15,18 0 16,-2 0-16,-16 0 16,0 0-16,17 0 15,1 0 1,16 0-1,1-18 1,-18 18-16,1 0 16,52 0-1,-53 0-15,35-35 16,-34 35 0,-18 0-1,-1-17 1,2 17 109,-2 0-63</inkml:trace>
  <inkml:trace contextRef="#ctx0" brushRef="#br0" timeOffset="26779.16">17753 2350 0,'0'-17'0,"0"53"78,0-19-78,0 0 0,0 37 16,0-37 0,-17 0-16,17 1 0,0 0 0,0 0 15,0-1-15,0 0 0,0 2 16,0-2-16,0 1 15</inkml:trace>
  <inkml:trace contextRef="#ctx0" brushRef="#br0" timeOffset="27151.37">17595 2298 0,'0'-19'0,"36"2"16,-2 17-1,-16 0-15,-1 0 0,2 0 0,-2 17 16,18-17-16,-17 19 0,17 16 16,-18 1-1,-17-2-15,0-16 0,0 0 0,0 17 16,0-18-16,-17 1 16,0 18-16,-1-19 0,0 0 15,0 2-15,18-2 0,-17 1 16,0-18-16,-2 17 15</inkml:trace>
  <inkml:trace contextRef="#ctx0" brushRef="#br0" timeOffset="27496.48">17859 2386 0,'18'0'0,"0"0"0,-1 0 16,0 0-16,19 17 15,-18 19 1,18-18-16,-19-1 0,0 0 16,1 1-1,-18 0-15,17-18 0,-17 18 16,19-18-1,-19-18 1,0 0 0,0 0-16,17-34 15,0 34-15,1 0 16,0 18-16,-18-17 16,18 17-16,-1 0 0,0-17 15</inkml:trace>
  <inkml:trace contextRef="#ctx0" brushRef="#br0" timeOffset="28042.77">18371 2298 0,'0'17'32,"-18"18"-1,36-16-31,-18-2 0,17 0 15,2-17-15,-19 18 16,17-18-16,18 0 16,-17 0-16,0-18 15,-1 18-15,-17-17 16,17 17 0,-17-17-16,18 17 0,-18-19 15,18 19 16,0 0-15,-18 19-16,17-19 16,0 0-1,2 0 1,16 0 0,-18 0-1,2 0 1,-2 0-1,-17 17-15,17-17 0,1 17 16,-1 19-16,19 16 16,-19-34-16,-17 0 0,18 0 15,-18-1-15,18 0 0,-18 2 0,0-2 16,0 1-16,0-1 0,0 0 16,-18-17-16,18 19 0,-18-19 15,1 17-15,0-17 0,-2 0 16,2-17-16,-1-2 15</inkml:trace>
  <inkml:trace contextRef="#ctx0" brushRef="#br0" timeOffset="28501.1">19571 2421 0,'-54'-52'0,"37"33"15,17-16-15,-17 18 0,17-19 16,-19-35-16,19 37 15,0-2-15,0 1 0,0-1 0,0 1 16,19 1-16,-19 15 0,17-16 16,0 18-16,1-2 0,-1 19 15,2 0 1,-19 19-16,0-2 0,0 18 16,-36 18-16,18-18 15,1 1-15,-19-1 0,1 18 16,18-17-16,-2-19 0,2 1 15,0-18-15,-1 34 0,1-15 16,69-38 15,-35 19-31,19-17 16,18 0-16,-20-1 16,37 1-16,-18 17 15,-35-19-15,-1 19 0</inkml:trace>
  <inkml:trace contextRef="#ctx0" brushRef="#br0" timeOffset="29533.16">20735 1822 0,'-18'-19'0,"-18"38"16,19-2 0,-19 18-16,1 53 15,1-17-15,15-18 16,19-18-16,-17 18 0,17-36 15,0 19-15,0-18 16,0-1-16,0 19 0,17-19 16,2 1-16,-2-1 15,0-17-15,1 0 16,-1-17-16,2-1 16,-2 18-16,0-36 0,1 19 15,0-18-15,-18 18 16,18-19-16,-18 1 15,17 17-15,-17 0 16,0 1 0,17 52-1,2-35 1,-19 18-16,0 0 16,17-1-16,1 0 0,-1 2 15,0-2 1,2-17-16,-2 0 15,1 0-15</inkml:trace>
  <inkml:trace contextRef="#ctx0" brushRef="#br0" timeOffset="29854.15">21035 2015 0,'0'-17'15,"0"0"-15,0 51 63,0-16-63,0-1 16,0 2-16,17-19 0,-17 34 15,0-16 1,0 0-16,-17 0 15,17-1-15,-18 0 16,18 2-16,-18-19 0,0 17 0,1-17 16,0 18-16,-2-18 15</inkml:trace>
  <inkml:trace contextRef="#ctx0" brushRef="#br0" timeOffset="30155.23">21211 1998 0,'34'17'16,"-15"-17"-1,16 35 1,-35-16-16,17-19 0,-17 17 15,19-17-15,-19 17 16,17-17-16,-34-34 47,34-2-31,0 18-1,1 18 1,0-17-16,0 17 0,-1 0 15</inkml:trace>
  <inkml:trace contextRef="#ctx0" brushRef="#br0" timeOffset="30420.52">21723 1981 0,'17'-36'16,"-34"72"-16,34-90 15,0 37-15,-51 52 47,34-18-47,0 2 32,0-2-32,17 0 15,0-17-15,-17 18 16,36-18-16,-18 0 15,-1 0-15,0 0 0,19 0 16</inkml:trace>
  <inkml:trace contextRef="#ctx0" brushRef="#br0" timeOffset="30711.96">22745 1839 0,'18'18'16,"-18"-1"-16,0 19 31,0-19-31,0 1 16,0-1-16</inkml:trace>
  <inkml:trace contextRef="#ctx0" brushRef="#br0" timeOffset="30880.32">22745 1681 0,'0'-19'15</inkml:trace>
  <inkml:trace contextRef="#ctx0" brushRef="#br0" timeOffset="31111.94">22904 1698 0,'0'17'0,"35"19"15,-17-1 1,-18-18-16,18 2 16,-1 16-16,0-1 15,-17-15 1,0-2-16,-17 1 0,17-1 16</inkml:trace>
  <inkml:trace contextRef="#ctx0" brushRef="#br0" timeOffset="32152.1">24175 1381 0,'-19'-18'0,"-16"53"15,35 0-15,-70 106 16,34-70 0,18-1-1,36-34-15,-18-18 16,18-1-16,0-17 16,35 0-16,-18 0 15,-18-17-15,19-1 16,-1-18-1,1 2 1,-19 15-16,0 2 16,1 34-1,-18 2 1,18-19-16,-18 17 16,18 0-16,-1 1 15,0 0-15,2 0 16,16-18-16,18-18 15,-53 0 1,17 0 0,-17-16-1,-17 15-15,-2-16 16,2 18 0,-18 0-16,18 17 15,-2 0 1,19 17-16</inkml:trace>
  <inkml:trace contextRef="#ctx0" brushRef="#br0" timeOffset="32475.19">24527 1503 0,'17'19'16,"2"-19"-16,-2 17 15,18 18 1,-18 1-16,2-1 16,-19-18-1,17-17 1,0-17 15,-17-18-15,18-1-1,-18 19 1,0-1-16,53 1 47</inkml:trace>
  <inkml:trace contextRef="#ctx0" brushRef="#br0" timeOffset="32708.22">24915 1557 0,'0'17'16,"0"2"-16,0-2 15,0 0 1,17 1-16,-422-160 31,829 266-15,-424-141-16,17-19 15,-17 19 1,17-1-16,-17 1 0,18-2 16,0 19-16,-18-17 15,18 17-15</inkml:trace>
  <inkml:trace contextRef="#ctx0" brushRef="#br0" timeOffset="33216">25285 1645 0,'-17'0'16,"52"17"47,-18-52-48,2 35-15,-2-34 16,-17 15-16,17 2 0,1-1 15,0-35-15,-18-18 16,18 37-16,-18 16 0,0-35 16,0 17-16,17 19 15,-17-1-15,0 1 0,0-2 0,0 55 47,0-18-47,0-1 16,0 2-16,0-2 0,0 0 0,0 1 15,0 18-15,0-2 16,0-16-16,0 0 0,17 0 0,-17-1 16,19 0-16,-19 2 0,17-19 15,1 17-15,-1-17 16,19 0-16</inkml:trace>
  <inkml:trace contextRef="#ctx0" brushRef="#br0" timeOffset="34073.37">25797 1433 0,'-18'0'15,"18"-18"-15,-18 18 16,1 18-16,0-18 16,-2 18-1,19 0-15,-17-18 0,17 17 16,-18 0-16,18 2 16,0-2-16,18-17 15,-18 18 1,17-18-16,2 0 15,-2 17 1,0-17-16,1 0 16,0 0-16,17 0 15,-18 0 1,2-17-16,-2-1 0,1 18 0,-1-36 16,0 2-16,2 16 15,-2-18-15,1 19 0,-1-71 16,2 52-16,-19 1 0,17-35 15,0 35-15,-17-1 0,0 19 16,18-19-16,-18 18 16,18 54-1,-18-18 1,0-1-16,18 19 0,-18-19 16,0 18-16,0 1 0,17-1 0,-17 18 15,0-36-15,17 1 0,-17 18 16,0-19-16,18 0 15,-18 1-15,0 0 0,0 0 16,-18-18 0,1-18-1,0 18-15,-1-18 16,0 0 0,18 1-1,-18 17-15,36-17 16,0-1-1,0 18-15,-1-18 16,18 18-16,1-18 0,-2 18 16,2 0-16</inkml:trace>
  <inkml:trace contextRef="#ctx0" brushRef="#br0" timeOffset="34569.35">26485 1398 0,'18'-53'16,"-18"18"-16,0 18 15,0-2-15,-18 55 47,18-19-31,18 1-1,-1-18 1,0 0-16,1 0 0,0 0 16,0 0-16,-1-18 0,0 18 15,2-17 1,-2 17-16,1 0 15,-1-17 17,2 17-32,15-36 31,-16 18-31,-1-18 16,2 19-16,-2 0 15,-17 51 16,-17 20 1,-2-54-32,19 17 0,-17 2 0,17-2 0</inkml:trace>
  <inkml:trace contextRef="#ctx0" brushRef="#br0" timeOffset="35489.66">18653 1715 0,'0'-17'15,"18"0"-15,-18-2 0,0 2 16,0-1-16,0-16 0,17-20 15,19-34-15,-19 35 16,1 18-16,-1-18 0,54-35 16,35-19-16,-54 73 15,2-20-15,16 20 0,-16 15 0,16 2 16,70-35-16,-50 33 16,50 19-16,-70 0 0,18 0 15,2 19-15,-20 15 0,0-16 16,-17-1-16,0 19 0,1-1 0,-20 1 15,1-19-15,1 19 0,52 69 16,-71-87-16,-17-1 16,19 2-16,-2-2 0,-17 0 15,18 1-15,-18 0 16,17-18-16</inkml:trace>
  <inkml:trace contextRef="#ctx0" brushRef="#br0" timeOffset="35905.64">20417 974 0,'18'36'32,"16"17"-17,-34-35-15,19-1 0,16 19 16,-35-19-16,17 1 0,2-1 15,-2 0-15,0 19 0,-17-18 16,18-1-16,-1 2 0,-17-2 0,19 0 16,-19 1-16,17-18 0,-17 18 15,0 0-15,0-1 0,-17-17 0,17 17 16,-19 1-16,2 0 0,-18 0 0,-36 16 16,18-15-16,18-2 15,-1-17-15,-16 18 0,-54 35 16,71-36-16,18-17 15,-19 18-15</inkml:trace>
  <inkml:trace contextRef="#ctx0" brushRef="#br0" timeOffset="42479.88">10945 6019 0,'52'0'31,"2"-17"-31,-20 17 0,2 0 16,35 0-16,-18 0 0,70-17 15,-52-2-15,-1 19 0,18-17 0,-17 17 16,0-18-16,-1 18 0,72-17 16,-72-2-16,1 19 15,-19-17-15,1 17 0,1-17 0,-2 17 16,-16 0-16,-2-18 0,-16 18 16,18 0-16,-2-17 15,-15 17-15,-2 0 0,1 0 0,-1 0 16,2-19-16,-2 19 15,0 0-15,-34 19 63,17-2-63,-17 1 16</inkml:trace>
  <inkml:trace contextRef="#ctx0" brushRef="#br0" timeOffset="43681.08">18688 5985 0,'36'0'15,"-19"0"-15,37 17 16,-20-17-16,2 0 0,-1 0 15,0 0-15,18 0 0,0 0 16,18 0-16,0 0 0,-19-17 0,89 17 16,-70-19-16,-1 19 0,1-17 15,34 17-15,-17-18 0,-17 18 0,18 0 16,-19-17-16,36 17 0,-35-19 16,0 19-16,17 0 0,-18 0 0,1 0 15,0-17-15,-2 17 16,72 0-16,-70 0 0,17 0 15,-52 0-15,-1 0 0,1 0 16,-19 0-16,18 0 0,1 0 16,-19 0-16,0 0 0,19 0 15,-36-17-15,18 17 16,-1 0 0,-34 34 46,-1-34-46</inkml:trace>
  <inkml:trace contextRef="#ctx0" brushRef="#br0" timeOffset="44678.3">10521 5138 0,'0'35'31,"0"-18"-31,0 2 16,0-2-16,0 0 15,0 1-15,0-1 16,0 2-16</inkml:trace>
  <inkml:trace contextRef="#ctx0" brushRef="#br0" timeOffset="44907.44">10628 5049 0,'0'18'31,"0"0"-31,0-1 16,0 0-16,0 2 15,0-2-15,0 1 0,0-1 16,0 19-16,0-19 0,-19 1 15,19-1-15</inkml:trace>
  <inkml:trace contextRef="#ctx0" brushRef="#br0" timeOffset="46387.29">21369 5049 0,'-17'36'16,"17"-19"-1,-17 0-15,17 2 16,0-2-16,-19 1 0,19-1 16,-17 2-16,17 15 15,-18-34 1</inkml:trace>
  <inkml:trace contextRef="#ctx0" brushRef="#br0" timeOffset="46593.15">21528 5031 0,'-17'54'16,"-1"-1"-16,0-36 15,18 1-15,-18 18 0,1-19 0</inkml:trace>
  <inkml:trace contextRef="#ctx0" brushRef="#br0" timeOffset="58637.47">19659 8754 0,'-54'88'16,"37"-71"-16,0 18 0,-2 18 15,-16 18 1,35-54-16,0 19 0,0-18 16,-17-1-16,17 0 0,17 2 0,-17 16 15,18-35-15,-18 17 0,17-17 16,19 19-16,-1-2 16,-17-17-16,0 0 15,-1 0-15,0-17 0,19 17 16,-18 0-16</inkml:trace>
  <inkml:trace contextRef="#ctx0" brushRef="#br0" timeOffset="59207.27">20011 8930 0,'-35'17'0,"18"1"15,17 0-15,0 0 16,0-1-16,0 0 0,0 1 15,17 18-15,0-19 16,1 0-16,0 2 16,17-2-16,-18-17 0,2 0 15,-2 0-15,1-17 0,-1 17 16,2 0-16,-19-19 0,17 19 16,-17-17-16,17 0 0,-17-1 0,0 0 15,0 0-15,0 1 16,-17 0-16,17-1 0,-17 0 15,-2 18-15,19-18 0,-35 1 16,18 17-16,-2 0 0,2 0 16,-18 0-16,17 0 15,0 0-15,1 17 0</inkml:trace>
  <inkml:trace contextRef="#ctx0" brushRef="#br0" timeOffset="59579.23">20188 8894 0,'17'0'0,"1"0"16,-1 0-16,-17 19 16,19-19-16,-19 17 0,17-17 0,0 35 15,1-17-15,-18 0 0,18-1 16,-18 0-16,0 1 0,0 0 15,0 0-15,0-1 0,0 0 0,0 2 16,0-2 0,0 1-16,18-53 47,-18-18-32,17 35-15,0 0 16,-17 0-16,19 1 0,-19 0 15,17 17-15,-17-18 0,18 18 16,-1-18-16,0 18 16,2 0-16,-2 0 0</inkml:trace>
  <inkml:trace contextRef="#ctx0" brushRef="#br0" timeOffset="60097.14">20559 8965 0,'34'36'31,"-34"-19"-31,18 0 16,-18 1-16,0 0 15,17 0-15,-17 16 0,0-15 16,0-2-16,0 1 0,0-1 16,0 2-1,-17-2-15,17-53 47,0 19-47,0-1 16,17 1-16,19-54 15,-1 53 1,-17 0-16,0 1 16,16 0-16,20-1 15,-37 18-15,0-18 16</inkml:trace>
  <inkml:trace contextRef="#ctx0" brushRef="#br0" timeOffset="60699.31">20928 9159 0,'19'-53'47,"-2"53"-47,-17-17 0,17-19 16,-17 1-1,0 18-15,0-1 16,18 18 0,-53 18 15,35-1-31,0 18 15,0-17-15,0 0 0,17-18 16,-17 17-16,0 0 0,18-17 16,-18 19-16,18-19 0,0 0 15,-1 0-15,0 0 0,1 0 16,0 0-16,0-19 0,-1 19 16,19-34-16,-36 16 15,17 0-15,18-34 0,-35 16 16,17 1-16,2-36 0,-19 35 15,0 2-15,0 16 0,17-18 16,-17 19-16,0-18 16,0-1-16,0 19 0,-17 52 31,17-17-31,-19 34 16,19-16-16,-17-18 0,17 52 15,-17-16 1,17-20-16,0 2 0,17-18 0,-17 16 15,0-16-15,0 0 0,17 0 0,-17-1 16,19 0-16,-2 2 16,1-19-16,-1 17 15,2-17-15</inkml:trace>
  <inkml:trace contextRef="#ctx0" brushRef="#br0" timeOffset="61560.2">21581 8983 0,'-17'0'0,"-2"0"0,19 18 16,-17-18 0,0 17-16,17 0 15,-18 1-15,18 0 16,0 0-16,0-1 15,18-17-15,-1 17 16,0-34 0,2 17-1,-2-17-15,1 17 0,-18-18 16,17 18-16,2-18 16,-2 18-1,-17 18 1,17-18-1,1 18 1,-1-18-16,36 0 16,-35-18-1,18 18-15,-19-18 0,-17 0 16,17 1-16,2-18 16,-2-54-1,1 72-15,-18-18 0,0-1 16,0-16-16,0 16 15,0 19-15,0-1 0,0 0 0,0 0 16,-18 54 0,1-18-1,17 16 1,0-15-16,-19 16 0,19-18 0,0 19 16,0-19-16,0 18 0,0-16 15,19 15-15,-19-16 0,17 0 0,1 17 16,-18-18-16,17-17 15,0 18-15,2-18 0,-2 0 16,1 0-16,-1 0 0,2 0 16,-2 0-16</inkml:trace>
  <inkml:trace contextRef="#ctx0" brushRef="#br0" timeOffset="61924.02">21723 8947 0,'-19'0'0,"72"0"31,-35 0-31,0-17 16,0 17-16,35 0 16,-18 0-16,-18-17 0,19 17 0,-19-19 15,18 19-15,-16 0 0,15-17 16,-16 17-16,0-18 0,0 18 15,-1-17-15,0 17 0,1-19 16,0 19-16,0 0 16,-1 0-1,-17 19 1,0-2-16,0 1 16,17-1-16,-17 19 15,0-19 1,0 1-16,19 0 0,-19 0 15,17-18 1</inkml:trace>
  <inkml:trace contextRef="#ctx0" brushRef="#br0" timeOffset="62074.17">22340 8683 0,'-19'0'16</inkml:trace>
  <inkml:trace contextRef="#ctx0" brushRef="#br0" timeOffset="62690.91">22499 8806 0,'-36'0'47,"18"17"-47,1 19 15,17-18 1,0-1-16,0 2 0,0-2 31,17-17-31,1 0 0,0 0 16,0 0-16,-1 0 0,0-17 16,1 17-16,18-19 0,-36 2 15,17-1-15,0 1 16,-17-2-16,0-15 15,-17 34-15,17-18 0,-17 18 16,-1-17-16,0 17 16,0 0-16,1 0 15,0-19-15,51 38 32,-16-19-17,0 0-15,34 17 16,-33 1-1,-2-18-15,1 17 0,-1-17 16,2 0-16,-19 17 16,17-17-16,0 0 15,1 19 1,-1-19 0,2 0-16,-2 0 15,18 0 1,-17 0-1,0-19-15,-1 19 0,0 0 16,1 0 0</inkml:trace>
  <inkml:trace contextRef="#ctx0" brushRef="#br0" timeOffset="63252.41">20664 9618 0,'193'-36'16,"-139"19"-16,16-1 15,-16 18-15,16-17 0,18-2 0,0 2 16,-17 0-16,105-1 0,-105 0 16,70 0-16,-88 1 15,-1 0-15,2 17 0,-37 0 16,19-18-16,-19 18 0,1 0 0,-1 0 16</inkml:trace>
  <inkml:trace contextRef="#ctx0" brushRef="#br0" timeOffset="63516.05">20893 9777 0,'54'0'0,"34"0"15,-54-18-15,2 18 16,35-18-16,-19 0 0,36 1 16,-52 17-16,-1-17 0,1 17 15,-2 0-15,54-36 16,-52 36-16,-18 0 16,-1-18-16,19 18 0,-19 0 15,1-17-15,-1 17 0,-17-17 16</inkml:trace>
  <inkml:trace contextRef="#ctx0" brushRef="#br0" timeOffset="64331.54">23557 8789 0,'35'-18'31,"-18"18"-31,1 0 16,0 0-16,0 0 0,-1 0 15,0 0-15,19-17 0,-18 17 16,18 0-16,-19 0 16,0-19-16,1 19 15,-1 0-15</inkml:trace>
  <inkml:trace contextRef="#ctx0" brushRef="#br0" timeOffset="64899.57">23733 8559 0,'-17'0'0,"17"18"16,0 0-1,35 17 1,-18-35-16,2 17 15,-2 1 1,0-18-16,1 18 0,-18 0 16,17-18-16,-17 17 0,19 0 15,-19 2-15,0-2 16,17-17-16,-17 18 16,0-1-16,-17 0 0,-2 19 15,19-18-15,-17-1 0,-18 19 16,18-1-16,-2-17 15</inkml:trace>
  <inkml:trace contextRef="#ctx0" brushRef="#br0" timeOffset="69451.58">24897 8418 0,'-17'-17'16,"17"51"15,0 20-15,0-37-16,0 54 16,0-35-16,0 34 15,0-35-15,0 1 0,0-1 16,0-18-16,0 19 0,0-1 15,0-18-15,0 2 0,0 15 0,0-16 0,0 0 16,0 0-16,-19-1 16,38 0-16,-38 1 15</inkml:trace>
  <inkml:trace contextRef="#ctx0" brushRef="#br0" timeOffset="70079.85">24880 8347 0,'-19'0'16,"2"19"-16,0-2 16,-1 1-16,1-1 0,17 0 0,-19 2 15,2 16-15,17-18 0,-17 19 16,-1-19-1,18 19-15,-18-36 0,18 18 16,-18-1-16,18 0 31</inkml:trace>
  <inkml:trace contextRef="#ctx0" brushRef="#br0" timeOffset="70760.21">24844 8330 0,'36'17'16,"-19"2"15,1-2-31,-1-17 0,2 18 16,-2-18-16,0 17 0,1-17 0,0 17 15,0-17-15,16 19 0,-16-19 16,0 17-16,0-17 0,-1 0 0,0 18 16,19-1-1,-18-17-15,-1 0 16,-17 19-16,19-19 0,-19 17 16,17-17-1,-17 17 1</inkml:trace>
  <inkml:trace contextRef="#ctx0" brushRef="#br0" timeOffset="71550.35">26379 8259 0,'-18'-17'0,"18"52"32,18-17-32,-18 17 15,0 1-15,0-19 16,17 18-16,-17 1 0,19 35 0,-2 34 15,0-52 1,1 18-16,0-19 0,0 72 16,-1-107-1,-17 37-15,17-2 16,-17-16-16,0-19 16,0 0-16,0 2 15,-17-55 32,17 19-47</inkml:trace>
  <inkml:trace contextRef="#ctx0" brushRef="#br0" timeOffset="72050.3">26344 8313 0,'0'-18'16,"-19"53"0,2-35-16,17 17 0,-17 2 15,-1 16-15,1-1 16,17-15-16,-19 16 16,2-18-16,0 19 15,-1-1-15,18-17 16,-18 0-16,18-1 15</inkml:trace>
  <inkml:trace contextRef="#ctx0" brushRef="#br0" timeOffset="72420.67">26344 8225 0,'52'0'0,"-33"0"0,-19 17 15,17-17-15,0 0 0,19 17 0,-18 1 0,-1-18 16,0 18 0,19-18-16,-1 18 0,-18-1 0,2-17 15,16 17-15,1 2 16,-19-2-16,0-17 15,1 0 1,-18 18-16</inkml:trace>
  <inkml:trace contextRef="#ctx0" brushRef="#br0" timeOffset="73359.86">24139 7889 0,'17'18'16,"2"0"-16,-19-1 0,0 0 16,17 1-16,-17 0 0,0 17 15,0-18-15,0 2 16,0-2-16,0 1 0,0-1 0,0 2 15,0-2-15,0 0 16,17-17-16,-17 18 16,18-18-16,-1 0 15,2 0-15,-2 0 0,0 0 16,1 0-16,18-18 16,-19 1-16</inkml:trace>
  <inkml:trace contextRef="#ctx0" brushRef="#br0" timeOffset="73603.81">24227 8066 0,'36'-19'31,"-19"2"-31,0 17 16,19-17-16,-18 17 16</inkml:trace>
  <inkml:trace contextRef="#ctx0" brushRef="#br0" timeOffset="73841.48">24192 7854 0,'17'-17'0,"1"-2"16,18 19-16,-2 0 15,20-17-15</inkml:trace>
  <inkml:trace contextRef="#ctx0" brushRef="#br0" timeOffset="74049.22">24739 7766 0,'-36'52'16,"18"-33"-1,1 33-15,17-34 16,-17 0-16,17-1 0,-36 36 15,36-35 1,-18 16-16</inkml:trace>
  <inkml:trace contextRef="#ctx0" brushRef="#br0" timeOffset="74274.81">24473 7959 0,'36'18'31,"-18"-18"-15,-1 0-16,2 0 0,15 18 31,1 0-31,-16-18 15</inkml:trace>
  <inkml:trace contextRef="#ctx0" brushRef="#br0" timeOffset="75496.57">26485 7642 0,'-53'-17'16,"36"17"-16,-2 0 15,19 17-15,-17-17 0,-1 17 16,1-17-16,-2 19 31,19-2-31,19-17 0,-19 18 16,17-1-16,1-17 0,-1 17 15,2-17-15,-2 19 0,0-19 16,1 0-16,0 17 16,0-17-16,-1 18 0,0-1 15,1-17-15,-18 19 16,0-2-16,-18 0 15,1 1-15,0 0 16,-1 0-16,0-18 16,0 17-16,1-17 15,0 17-15,-2-17 16,2-17 15</inkml:trace>
  <inkml:trace contextRef="#ctx0" brushRef="#br0" timeOffset="76232.52">26803 7695 0,'-71'18'16,"71"-1"-16,-17-17 0,-2 36 31,2-19-31,17 1 0,0-1 15,17-17-15,-17 19 16,19-19-16,-2 0 16,18-19 15,-18 2-31,-17-1 0,0 1 16,19 17-16,-19-19 15,17 38 32,-17 16-31,17-35-16,-17 17 15,18 2 1,0-2 0,0-17-16,-1 0 31,0-36-16,-17 19-15,0-1 0,19-18 16,-19 2 0,0 16-16,0 1 0,0-36 15,17 17-15,-17 18 16,0 1-16,0 0 0,0 51 47,0-16-47,0 0 15,0 0-15,0 16 16,0-15-16,0-2 0,0 1 0,0-1 16,18 0-16,-18 2 0,0-2 15,17-17-15,-17 18 0,17-18 16,2 0-16,-2 0 0,1 0 16</inkml:trace>
  <inkml:trace contextRef="#ctx0" brushRef="#br0" timeOffset="76728.78">27296 7642 0,'-17'0'0,"-54"17"31,54 19-15,-1-36-16,18 18 15,-18-1-15,18 0 32,18-17-32,0 0 15,-1 0 1,0-17 0,1 0-16,-18-1 15,18 18-15,0-17 16,-1-2-1,0 38 17,2-2-17,-2-17-15,-17 18 32,18-18-17,-18 17 1,17-52 15,-17 18-15,17 17-1,-17-19-15,19 19 16</inkml:trace>
  <inkml:trace contextRef="#ctx0" brushRef="#br0" timeOffset="77155.94">27525 7571 0,'0'36'0,"0"-18"16,18-18-1,-18 17-15,18-17 32,0-17-32,-1 17 15,0 0-15,1 0 32,0 17-32,0 19 15,-18-1 1,0-18-16,-18 36 15,0-35-15,18-1 16,0 2-16,-18-2 16,36-53 15,-18 19-31,18-1 16,-18 1-1,18-2-15,-18 2 0,0 0 16,0-1-1</inkml:trace>
  <inkml:trace contextRef="#ctx0" brushRef="#br0" timeOffset="81855.39">24615 7995 0,'-18'35'47,"18"1"-31,-17-19-16,17 1 15,-17-1 1,17 2 0</inkml:trace>
  <inkml:trace contextRef="#ctx0" brushRef="#br0" timeOffset="82167.97">24527 7959 0,'17'0'0,"2"0"16,-2 0 0,0 18-16,1-18 0,18 0 15,-19 18-15,0-18 0,1 0 0,0 0 16,0 18-16,-1-18 0,0 0 15,2 0-15,-2 17 0,1-17 0,-1 0 16</inkml:trace>
  <inkml:trace contextRef="#ctx0" brushRef="#br0" timeOffset="93493.98">24809 8366 0,'-17'17'125,"17"1"-125,-19-18 15,19 17-15,-17 19 16,0-19-16,-1 18 15,18-16 1,-18-2-16,18 0 0,-18 1 16,18 0-16,-17-18 15,17 18-15,0-1 16,-17-17-16,17 17 0,0 1 16,-19-18-1,19 18 16,0-71 32,19 53-47,-19-17-1,17-1-15,-17 0 0,17 0 16,-17-16-1,18 15-15,0 2 16,-18-1-16,18 1 0,-1-19 31,0 19-31,2-1 16,-2 1 0,18-2-1,-18 19 1,2 0-16,-2 0 0,18 19 15,-16-19 1,-2 17-16,0-17 0,1 18 0,0-18 16,0 17-16,-1-17 0,0 17 15,1 2 1,0-19-16,-18 17 0,18-17 16,-18 18-16,17-18 15,0 17 1,2-17 15,-2 19 32</inkml:trace>
  <inkml:trace contextRef="#ctx0" brushRef="#br0" timeOffset="94712.02">26415 8277 0,'0'36'63,"17"17"-48,-17-36 1,17 18-16,-17-18 0,18 19 15,-18-18-15,0 18 0,0-19 0,18 18 16,-18 1-16,0-2 0,18 37 16,-18-18-1,0-18-15,0-18 0,17 54 16,-17-52-16,0-2 16,0 0-16,0 1 15,0 0-15,17-18 0,-17 18 0,0-1 16,0 0-1,18-17 1,0-17 15,-18 0-15</inkml:trace>
  <inkml:trace contextRef="#ctx0" brushRef="#br0" timeOffset="95811.02">26379 8295 0,'-35'35'16,"16"1"-1,19-19-15,-17 1 16,0 16-16,17-15 0,-18 16 16,18-18-16,-17 2 0,17-2 15,-19 0-15,19 1 0,0 0 0,-17-18 0,17 18 16,-17-1 0,17 0-16,0 1 15,-18 0 1,36-54 31,-18 19-32,17 0 1,-17-1 0,17 0-16,-17 0 15,0 1-15,19 17 16,-19-17-16,0-2 0,17 19 15,-17-17-15,18-18 16,-18 16-16,0 2 16,17 17-16,-17-17 0,0-1 0,17 18 0,-17-17 15,0-2-15,19 19 0,-19-17 0,17 0 16,-17-1 0,18 18-1,-18-18-15,17 18 16,2 0-1,15 0 1,-16 18 0,0-18-16,0 18 0,-1-18 15,18 34-15,-17-34 0,17 19 16,-18-2-16,19 1 0,-18-18 16,18 17-16,-19-17 0,0 17 15,1-17-15,-1 19 16,2-19-16,-2 0 0,0 17 15,1-17-15,-18 18 16,18-18-16</inkml:trace>
  <inkml:trace contextRef="#ctx0" brushRef="#br0" timeOffset="100148.31">28160 8259 0,'53'-17'31,"-18"17"-15,-16 0-16,-2 0 16,18-17-16,-17 17 0,17 0 0,-18 0 15,2 0-15,16-19 0,-18 19 16,0 0-16,2 0 0,16-17 0,-18 17 16,2 0-16,-2-18 15,0 18-15,1-17 16</inkml:trace>
  <inkml:trace contextRef="#ctx0" brushRef="#br0" timeOffset="100403.09">28425 8030 0,'18'-17'16,"-1"17"-1,0 0-15,2 0 0,-2 17 0,54 19 16,-54-36 0,19 17-16,-18 18 0,16-16 15,-16-2-15,0 18 0,17-18 0,-35 2 16,17 15-16,2-16 0,-19 18 0,0-19 16,0 0-16,-19 19 15,2-1-15,0 1 0,-1-1 0,0 1 0,0-19 16,-16 18-16,16-17 0,0 0 15,0-1-15</inkml:trace>
  <inkml:trace contextRef="#ctx0" brushRef="#br0" timeOffset="101163.13">29148 7730 0,'17'36'0,"-17"-19"0,19-17 0,-19 18 16,17-1-16,1-17 0,-18 19 0,17-19 15,2 0-15,-2 17 0,35-17 16,-33 0-16,15-17 0,-16 17 16,18 0-16,-2-19 15,2-16-15,-18 35 0,-1-17 16,0-2-16,2 2 15,-19 0 1,-19 87 15,2 1-15,17-54-16,-17 19 0,-1-18 0,18 16 16,-17-16-16,17 18 0,-19-19 15,19 0-15,0 2 0,-17-2 16,17 1-16,0-1 15</inkml:trace>
  <inkml:trace contextRef="#ctx0" brushRef="#br0" timeOffset="101497.26">29748 7925 0,'17'-36'15,"-17"18"-15,0 1 0,0 0 32,0-2-17,-17 38 1,17-2-1,-17-17-15,17 35 0,-19-17 16,19 0-16,0-1 16,19 0-16,-2 19 15,0-36 1,1 0-16,18 0 16,-19 0-16,0-18 0,2 18 15</inkml:trace>
  <inkml:trace contextRef="#ctx0" brushRef="#br0" timeOffset="101780.72">30083 7747 0,'-52'0'0,"33"0"15,2 19-15,17-2 31,17 18-31,-17-16 16,19-19-16,-19 17 0,17 0 0,0 1 16,-17 0-16,18-18 15,-18 18-15,18-1 0,-18 0 32,0 1-32,-18-18 0,18 18 15,-18 0-15,1-1 16,0 0-16,17 2 15,-19-19-15</inkml:trace>
  <inkml:trace contextRef="#ctx0" brushRef="#br0" timeOffset="107305.08">30948 8630 0,'-19'-35'78,"2"-1"-63,17 19-15,0 0 16,0-19-16,0 18 0,-17 1 0,17-19 16,0 1-16,0-1 0,-18 2 15,18-20-15,0 1 0,-18 18 16,18-18-16,0 1 0,-18 16 0,18 1 15,-17-53-15,17 52 16,-17 2-16,17-2 0,0 18 0,0-18 16,-19 19-16,19 0 0,0-1 0,0 1 15,0-2-15,0 2 16,-17 0-16,17-1 0,0 36 94</inkml:trace>
  <inkml:trace contextRef="#ctx0" brushRef="#br0" timeOffset="107567.15">30788 7625 0,'-35'17'0,"18"19"31,0-19-31,-2 35 16,2-33-16,-1 16 0,1-18 15,-2 2-15,19-2 0,-17 18 16,17-17-16,-17 0 0,17-1 0,-18-17 15,18 17-15,0 1 0,-17-18 0,17 18 16,0 0-16,-19-18 16,19 17-16</inkml:trace>
  <inkml:trace contextRef="#ctx0" brushRef="#br0" timeOffset="107842.01">30736 7818 0,'71'0'0,"-54"0"15,0 0-15,-17 19 0,36-19 16,-18 0-16,-1 0 0,0 17 16,2-17-16,-2 0 0,1 0 15,-1 0-15,19 17 16,-19 1-16</inkml:trace>
  <inkml:trace contextRef="#ctx0" brushRef="#br0" timeOffset="108441.58">31847 8347 0,'-18'-17'31,"18"-18"-15,0 17-16,0 0 0,-17-16 15,17 15-15,0-16 0,0 1 0,0-20 16,-17 1-16,17 0 0,0 1 16,0-55-16,-19 55 0,19-1 15,0 18-15,-17-1 0,17 1 0,0 17 16,0-17-16,-18-18 16,18 35-16,0 1 0,0 0 15,0-2-15,-17 2 16,17-1-16,-19 36 47,2-18-47</inkml:trace>
  <inkml:trace contextRef="#ctx0" brushRef="#br0" timeOffset="108751.74">31653 7449 0,'-36'52'16,"19"-52"-1,-36 124 1,35-107-16,18 0 16,-17 2-16,0-2 0,17 1 15,-19-1-15,2 0 0,-1 19 16,18-18 0</inkml:trace>
  <inkml:trace contextRef="#ctx0" brushRef="#br0" timeOffset="109063.89">31635 7483 0,'70'18'0,"-51"-18"0,-2 0 15,1 18-15,-1-18 0,19 18 0,-19-18 16,18 0-16,-16 17 0,-2-17 0,0 17 15,1-17-15,18 0 0,-19 18 16,0-18-16,2 0 0,-19 18 0,35 0 16,-18-18-16</inkml:trace>
  <inkml:trace contextRef="#ctx0" brushRef="#br0" timeOffset="113962.8">21828 7359 0,'0'-17'16,"17"17"-1,2 0 1,-2 0-16,-17-17 0,52 17 16,-16 0-1,-18 0-15,-1 0 0,19 0 16,-19 0-16,19 0 0,-1 0 0,0-18 16,1 18-16,17 0 0,-1 0 15,72 0-15,-53 0 0,-19 0 0,1 0 16,0 0-16,1 0 15,-2 0-15,1 0 0,0 0 0,-18 0 0,18 0 16,18-17-16,-36 17 16,-18 0-16,19 0 0,-19 0 15,1 0-15,18 0 0,-19 0 16,0 17-16,1-17 0,0 0 16,0 0-1,-18-17-15,-36 34 63,1-17-63,18 0 31</inkml:trace>
  <inkml:trace contextRef="#ctx0" brushRef="#br0" timeOffset="115299.82">21933 7378 0,'19'0'0,"-2"0"16,1 0-16,-1 0 0,2 0 15,-2 0-15,18 0 0,1 0 16,-19 0-16,18 0 0,1 0 15,17 0-15,-18 0 0,18 0 0,-18-19 16,18 19-16,-18 0 0,1 0 0,16 0 16,-16 0-16,-2 0 0,20 0 15,-18-17-15,-2 17 0,1 0 0,-16 0 16,15 0-16,2 0 0,-18 0 16,-1 0-16,36-17 0,-35 17 15,-1 0-15,0 0 0,2 0 16,-2 0-16,1 0 15,-1 0 1,2 0-16,-2 0 31,-34-18 110,-2 18-94,2-17 15,-1 34 16,1-17-62,-2 0-16</inkml:trace>
  <inkml:trace contextRef="#ctx0" brushRef="#br0" timeOffset="120226.55">19959 15015 0,'-18'18'32,"18"35"-17,0-36-15,0 1 0,0 0 16,0 17-16,0 0 0,-18 1 16,18 34-16,0-35 15,-18 1-15,18-1 0,0-18 0,-17 19 16,17-19-16,0 19 0,0-18 15,0-1-15,-17 0 0,17 1 0,0 0 16,0 0-16,0-1 0</inkml:trace>
  <inkml:trace contextRef="#ctx0" brushRef="#br0" timeOffset="120782.67">19993 15015 0,'-34'0'0,"16"18"15,-18-1-15,19 2 16,0-2-16,-2-17 0,19 17 16,-17 1-16,-1 0 0,-18 17 15,19-18-15,-18 19 16,18-18-16,-2-18 0,2 17 0,17 0 16,-17 2-16,-1-19 0,18 17 15,-18 1-15,18-1 16</inkml:trace>
  <inkml:trace contextRef="#ctx0" brushRef="#br0" timeOffset="121304.59">19976 15050 0,'17'0'15,"1"0"1,0 0-16,0 0 16,-18 19-16,17-19 0,0 17 15,2 0-15,-2-17 0,-17 18 16,18-18-16,-1 18 0,2 0 0,15 16 16,-16-16-1,-1-18-15,-17 18 0,19-18 16,-2 18-16,0-18 15</inkml:trace>
  <inkml:trace contextRef="#ctx0" brushRef="#br0" timeOffset="122032.77">19817 14591 0,'0'-17'0,"-17"17"32,-2 36-17,19-19-15,0 18 16,0-16-16,0-2 0,-17 0 16,17 1-16,0-1 0,0 2 15,0-2-15,-17 0 16,17 1-16,17-53 62,-17 18-62,17-71 16,2 52 0,-2-18-16,1 20 15,-1 16-15,-17 0 16,19-17-16,15 18 0,-34-1 15,36 18-15,-1 0 32,0 18-32,-17 16 0,0-16 15,-18 0-15,0 0 16,17-1-16,-17 19 0,0-19 16,0 1-16,17-1 15,-17 2-15,0-2 0,0 0 16,19-17-16,-19 18 15</inkml:trace>
  <inkml:trace contextRef="#ctx0" brushRef="#br0" timeOffset="122250.48">19835 14715 0,'36'-17'31,"-19"17"-31,18 0 0,1 0 16,-2-17-16,-16 17 0,18 0 16,-2 0-16,2 0 0,-1 0 15,36 0-15</inkml:trace>
  <inkml:trace contextRef="#ctx0" brushRef="#br0" timeOffset="122667">21228 15191 0,'17'0'15,"-34"0"-15,34 18 16,-17 0 0,0 0-16,0-1 15,0 19-15,0-19 0,0 18 16,0 18-16,0 1 16,0-37-16,0 36 0,0-35 0,0-1 15,0 0-15,0 1 16,-17 18-16,17-19 0,0 0 15,-17-17 1</inkml:trace>
  <inkml:trace contextRef="#ctx0" brushRef="#br0" timeOffset="122980.7">21228 15121 0,'-88'36'0,"88"-19"0,-17 0 16,-1-17-16,0 18 0,0 0 15,1 17-15,0-18 0,-1 2 16,0-2-16,0 1 0,1 18 16,0-36-16,-2 17 0,2 0 15,17 1-15,-18-18 16</inkml:trace>
  <inkml:trace contextRef="#ctx0" brushRef="#br0" timeOffset="123210.72">21105 15139 0,'18'0'16,"-18"-18"-16,53 36 16,-36-18-1,1 18-15,-1-18 0,19 17 16,-19 0-16,1-17 0,18 36 15,-19-36-15,0 18 0,1-1 16,0-17-16,0 17 16,-1-17-16,0 0 15</inkml:trace>
  <inkml:trace contextRef="#ctx0" brushRef="#br0" timeOffset="123551.66">21176 14257 0,'-19'17'31,"19"2"-31,-17 50 16,17-50 0,-17-2-16,17 18 0,0 1 15,-18-19-15,18 0 0,0 19 16,-18-1-16,18-18 15,0 2 1,0-2-16</inkml:trace>
  <inkml:trace contextRef="#ctx0" brushRef="#br0" timeOffset="124084.94">21211 14239 0,'17'0'16,"0"-17"-16,2 34 0,-2-17 16,1 0-16,-18 18 15,0-1 1,0 2-16,-18-2 0,18 0 0,-17-17 0,17 18 15,-19-1-15,2-17 16,17 19-16,-17-2 16,17 0-16,17-17 15,-17 18 1,17-18-16,2 18 0,-2-18 16,1 0-16,-18 18 0,17-18 0,-17 17 15,19-17-15,-19 17 0,0 1 16,-19 0-16,2 0 15,-1-18-15,1 17 0,-19-17 16,19 17-16,-1-17 0,-18 19 16,19-19-16,0 0 0,-1 17 0,0-17 15,18 18-15</inkml:trace>
  <inkml:trace contextRef="#ctx0" brushRef="#br0" timeOffset="124883.03">24473 15103 0,'-17'71'31,"17"-36"-31,0-17 0,0 17 15,0 1-15,-17 35 0,17-37 16,0 1-16,0 18 16,-18-17-16,18-18 0,0-1 15,0 18-15,0-17 0,0 0 0,0-1 16,-17 0-16,17 2 16</inkml:trace>
  <inkml:trace contextRef="#ctx0" brushRef="#br0" timeOffset="125210.21">24632 15069 0,'-17'0'16,"-35"17"0,16 18-1,18-17-15,1 0 16,-19-1-16,19 0 0,-1 1 0,1 0 15,-2 0-15,-15-1 0,16 0 16,18 2-16,-18-2 0,0 1 0,1-18 16,17 17-16,-17-17 0,17 19 15,-19-19-15</inkml:trace>
  <inkml:trace contextRef="#ctx0" brushRef="#br0" timeOffset="125431.19">24509 15121 0,'18'0'16,"-1"36"-1,2-36-15,-19 17 16,17-17-16,-17 17 0,17-17 0,1 18 15,-1 0-15,2-18 0,-19 18 16,17-18-16</inkml:trace>
  <inkml:trace contextRef="#ctx0" brushRef="#br0" timeOffset="126092.46">24333 14557 0,'0'0'15,"-18"53"1,0-36-16,18 1 0,0-1 16,-17-17-16,17 19 0,-17 15 15,17-16-15,0-1 16,0 2-16,0-38 47,17-33-32,0 16-15,-17 19 0,18-18 16,0-18-16,-18 17 16,18 18-16,-18-16 0,17 16 0,-17 0 15,17 0-15,-17 1 0,19 0 16,-2-2-16,1 19 0,-1-17 16,0 34-16,2-17 15,-19 19-15,17-2 0,1-17 16,-18 17-16,17 1 0,-17 0 15,19 0-15,-19 16 0,17-16 0,-17 0 16,0 0-16,17-1 0,-17 0 16,0 2-16,0-2 0,0 1 0,0-1 15,0 2-15,0-2 16</inkml:trace>
  <inkml:trace contextRef="#ctx0" brushRef="#br0" timeOffset="126312">24333 14715 0,'18'-17'16,"-1"17"-16,0 0 15,19 0-15,35-17 16,-54 17-1,54 0-15,-54 0 0,37 17 16,-20-17-16,2 0 0,-1 17 16,1-17-16</inkml:trace>
  <inkml:trace contextRef="#ctx0" brushRef="#br0" timeOffset="126764.61">25391 15139 0,'0'18'31,"0"-1"-15,0 0-16,0 37 0,0-37 0,-18 19 15,18-19-15,0 18 0,0-16 16,0 15-16,0 20 16,0-37-16,0 18 0,0-17 15,18 0-15,-36-1 0,18 0 16,0 1-16</inkml:trace>
  <inkml:trace contextRef="#ctx0" brushRef="#br0" timeOffset="127059.85">25197 15457 0,'0'0'16,"35"17"15,-35 0-31,19-17 0,15 36 16,-16-18 0,18-1-16,-19 0 15,-17 1-15,17-18 16,1 18-16,-18 0 15,18-18-15,0 17 0,16-17 32,-34-17-32</inkml:trace>
  <inkml:trace contextRef="#ctx0" brushRef="#br0" timeOffset="127251.11">25691 15421 0,'-35'17'16,"18"2"0,-19 15-16,18-16 15,1-18-15,-2 18 0,2 0 0,-18 16 16,35-16-16,-17-18 16,-2 18-16,2 0 0,17-1 15</inkml:trace>
  <inkml:trace contextRef="#ctx0" brushRef="#br0" timeOffset="127719.19">25320 14451 0,'0'-18'16,"-17"54"15,-1 16-15,18-34-16,0 0 0,0-1 15,0 0-15,0 2 0,0-2 0,0 1 16,0-1-16,0 2 0,0-2 16,0 0-16,0 1 15,18-18 1</inkml:trace>
  <inkml:trace contextRef="#ctx0" brushRef="#br0" timeOffset="128203.8">25285 14381 0,'54'-19'0,"-37"38"15,0-19-15,1 17 16,-18 0-1,0 1 1,0 0-16,0 0 31,18-18-15,17 17-16,-35 0 16,17-17-16,-17 18 15,19 0-15,-19 0 0,0-1 16,0 0-16,-19 2 15,19-2 1,-17-17-16,17 18 0,-17-18 0,-1 17 16,18 2-1</inkml:trace>
  <inkml:trace contextRef="#ctx0" brushRef="#br0" timeOffset="129427.81">27931 15103 0,'0'54'32,"0"-37"-32,-18 0 0,18 1 0,0 18 15,0-19-15,0 19 0,0-1 0,0-18 16,0 19-16,0-19 15,0 37-15,0-37 0,0 0 0,0 1 16,0 0-16,0 0 0</inkml:trace>
  <inkml:trace contextRef="#ctx0" brushRef="#br0" timeOffset="129882.68">27772 15509 0,'36'18'16,"-19"0"-1,1-18 1,-1 17-16,19-17 16,-1 0-1,-17 0-15,34-17 16,-34 17-16,0-18 16,0 0-16,-1 0 15,0 18-15,2-17 16,-2 0-16,-34 51 47,-2-16-32,2 0-15,17 0 0,-17-1 16,-1 0-16,0-17 0,18 18 16,-18-18-16,18 18 0,-17-18 15,17 18-15,-17-18 0</inkml:trace>
  <inkml:trace contextRef="#ctx0" brushRef="#br0" timeOffset="130720.69">27631 14433 0,'-18'36'31,"18"-19"-15,0 0-16,-17 1 0,17 35 31,-17-17-31,17-1 16,0-18-1,0 2-15,0-2 16,17-53 31,-17 1-31,17 18-1,-17-2-15,0 2 0,18 0 16,-18-1-16,18 0 0,-18 0 15,18 1-15,-18 0 0,17 17 16,-17-18-16,17-18 0,2 36 16,-2-17-16,-17 0 0,18 17 15,-1-19 1,2 38-16,-2-2 16,0 0-1,-17 1-15,0 0 16,0 0-16,0-1 0,0 0 15,0 1-15,0 0 0,0 0 16,0-1-16,0 0 16,0 2-16,0-2 15,0 1-15</inkml:trace>
  <inkml:trace contextRef="#ctx0" brushRef="#br0" timeOffset="130954.07">27613 14610 0,'71'0'15,"-18"0"1,-35 0-16,18 0 16,-19 0-16,18 0 0,1 0 15,-2 0-15,2 0 0</inkml:trace>
  <inkml:trace contextRef="#ctx0" brushRef="#br0" timeOffset="131473">28884 15262 0,'0'-17'0,"17"51"47,-17-15-47,0-2 16,0 1-16,0-1 0,0 2 15,0-2-15,0 0 0,0 1 16,0-1-16,0 2 0,0-2 16,0 0-16,0 1 15,-17 0 1</inkml:trace>
  <inkml:trace contextRef="#ctx0" brushRef="#br0" timeOffset="131748.81">28989 15191 0,'0'-17'0,"-53"34"16,36 1-1,-1 0-15,1 0 16,0-18-16,-2 17 0,2 0 0,-1 2 16,1-2-16,-2 1 0,19-1 15,-17 2-15,0-2 0,-1 0 0,18 1 16,-18-1-16,0 2 16,1-2-16,0 0 15</inkml:trace>
  <inkml:trace contextRef="#ctx0" brushRef="#br0" timeOffset="131980.73">28901 15157 0,'18'0'0,"-1"17"0,19 18 31,-19-17-31,1 0 0,0-1 16,17 0-16,-18 2 15,19-2 1,-18-17-16</inkml:trace>
  <inkml:trace contextRef="#ctx0" brushRef="#br0" timeOffset="132384.54">28725 14451 0,'-18'18'15,"18"-1"-15,0 0 16,-18 1-16,18 0 16,0 0-16,0 35 0,-17-36 15,17 1-15,0-1 0,-17 19 16,17-19-16,0 1 0,0-1 16,0 2-16,-18-2 0,18 0 0,0 1 15</inkml:trace>
  <inkml:trace contextRef="#ctx0" brushRef="#br0" timeOffset="132950.82">28813 14451 0,'54'0'16,"-37"18"-16,0-1 15,-17 0 1,-17 1-16,17 0 16,0 0-16,-17-18 0,17 17 15,0 0 1,17 2 0,0-2-16,-17 1 15,18-18-15,-18 17 16,17 2-16,-17-2 0,-17 0 15,-1 1 1,1-18-16,0 17 16,-2-17-16,2 0 15,-18 19-15</inkml:trace>
  <inkml:trace contextRef="#ctx0" brushRef="#br0" timeOffset="134472.7">20100 16021 0,'71'17'16,"-142"-34"-16,230 34 0,-107-17 15,1 0-15,18 0 0,17 0 16,-18 0-16,89 0 0,17 0 16,-35-17-16,-53-1 15,-17 18-15,70-17 0,-17-2 16,-53 2-16,-19 17 15,1-17-15,1 17 0,-2-18 16,18 0-16,-34 0 0,-1 18 16,1-17-16,16 0 0,1-19 15,1 18 1,-37 1-16,18 0 0,-17-2 0,0 2 16,-1-1-16,0-18 0,19 2 15,-18-2-15,16-16 16,-15 16-16,-2 1 0,18-53 15,-35 52-15,0 1 0,19-1 16,-19 2-16,17-54 16,-17 52-16,0 1 0,0-18 15,0-1-15,0 20 16,-17-1-16,17 16 0,-19-15 16,19-2-16,-17 1 0,17 18 0,-54-90 15,37 90-15,0-18 16,-1 16-16,-18-15 15,19-20-15,-18 20 16,17 16-16,18 0 0,-18 0 16,-16-16-16,16 15 15,0 2-15,0-1 16,1 1-16,0 0 0,-2 17 16,2-19-16,-1 19 0,-18-35 15,19 35-15,0 0 0,-37-17 16,20-2-16,16 19 15,-52-17-15,34 17 0,1-17 16,-1 17-16,19-18 0,-18 18 0,-1-18 16,1 18-16,-35-18 15,34 18-15,-35-17 0,36 0 16,-1 17-16,2-18 0,-1 18 0,-1-18 16,1 18-16,-89-18 15,71 18-15,-35-17 16,53 17-16,-53 0 15,35 17-15,0-17 0,-18 0 16,36 0-16,-18 18 0,1-18 0,16 18 16,-17-18-16,-53 18 0,53-1 15,18 0-15,-18-17 0,-18 18 16,-17 18-16,35-19 16,18-17-16,-18 17 0,18 2 15,-18-2-15,0 18 0,1-16 16,-2 15-16,1 1 0,1 1 0,-72 35 15,71-37-15,1 20 0,-2-20 16,1 20-16,1-18 0,16-2 16,1 20-16,-35 34 0,16 34 15,20-68-15,15 16 16,-16 36-16,18-36 0,0 37 16,17-55-16,17 55 15,-17-55-15,35 1 0,18 54 16,0-73-16,-1 20 0,2-20 15,104 54-15,18-34 16,160-1 0,52-18-16,-229-35 15,17 0-15,195-18 16,-195 18-16</inkml:trace>
  <inkml:trace contextRef="#ctx0" brushRef="#br0" timeOffset="135664.04">24721 16038 0,'71'53'16,"-36"-35"-16,-1-18 0,20 17 0,16 2 16,-16-19-16,16 17 0,-18-17 15,19 0-15,-18 0 0,53 0 16,-36 0-16,-16-17 0,16 17 16,-16-19-16,-2 2 0,1-1 0,0 18 15,-18-17-15,18-2 16,-18-15-16,18 16 0,-18 1 0,-16-2 0,15 2 15,2 0-15,-18-1 0,-1-18 16,0 19-16,1 0 0,0-19 16,17-16-16,-35 33 0,17-16 15,-17-1-15,0 2 0,19-2 16,-19-16-16,0 16 0,0 1 0,0-1 16,0-16-16,0 16 15,0 1-15,0-1 0,-19 2 16,19-2-16,0 1 0,-17 0 0,17-1 15,0 2-15,-17-2 0,17-18 0,-18 2 16,0 16-16,18 2 0,-18-20 16,1 1-16,0 18 0,-1 1 15,0-2-15,0 1 0,1-1 16,-19-17-16,19 18 0,-1 0 16,1 17-16,-19 0 0,19-16 0,-18-20 15,-1 37-15,19 0 16,-1-19-16,0 18 0,-17 1 0,18-2 15,-37-15-15,37 34 16,-19-18-16,1 0 0,-1 0 16,2 18-16,-37-17 0,36 0 15,-1 17-15,2-18 0,-2 18 0,-35-18 16,19 18-16,16 0 16,-35-18-16,37 18 0,-2 0 15,1 0-15,-53 0 0,52 18 16,1-18-16,-18 0 0,0 18 15,1 0-15,-2-18 0,1 17 0,1 0 16,-55 19-16,73-18 0,-20-1 16,1 0-16,-87 54 15,104-35-15,-17-1 16,18-18-16,-53 54 0,35-18 16,18 0-16,-1-18 0,-87 124 15,53-53 1,16-35-16,37-19 0,-19 1 15,1 18-15,-1-18 0,19-1 0,0 2 16,-18 122-16,35-88 16,0-35-16,0 0 0,17-1 15,1 2-15,52 51 16,-35-52-16,72 35 16,51 0-16,-87-52 0,34-1 15,-17 1-15,0-19 0,19 18 16,86 1-16,-86-36 0,104 0 15,-105 0-15,0 0 16</inkml:trace>
  <inkml:trace contextRef="#ctx0" brushRef="#br0" timeOffset="136989.4">28179 15862 0,'122'53'0,"-34"-18"16,-34-35-16,16 17 0,18-17 16,-17 19-16,0-19 0,-1 0 0,18 0 15,-17 0-15,0 0 0,-1-19 16,1 19-16,0 0 0,-2-17 0,2 0 16,-18 17-16,18-18 0,87-35 15,-104 36-15,-20-2 16,2-16-16,-1 18 0,1-19 0,-1 1 15,-18-1-15,19 2 16,-19-2-16,1-16 0,-1 16 0,2 1 16,-2-18-16,0 1 0,19-38 15,-36 56-15,18-2 0,-18 1 16,0 0-16,0-1 0,0 2 0,0-2 16,0-18-16,0 2 0,-36-54 15,36 54-15,-18 16 0,1-16 16,0-2-16,-19 1 0,1 0 0,-1 1 15,1-2-15,-1 1 0,2 18 16,-2 1-16,1-20 0,-18 18 16,18 2-16,-1 16 0,-69-52 0,70 52 15,-18-18-15,-1 19 0,20 0 16,-20-2-16,20-16 0,-73 18 16,54-2-16,18 2 0,-36 0 15,18 17-15,1-18 0,-1 18 16,-71-17-16,72 17 0,-2 0 15,-51 0-15,52 0 16,-18 0-16,18 0 0,-18 17 0,-52 1 16,70-18-16,0 17 0,1 0 15,-2 2-15,1-2 0,1 1 0,-1-1 16,-1 2-16,2 15 16,-54 2-16,54-1 0,-2-18 15,1 19-15,-35 16 0,53-16 16,-18-18-16,18 18 0,-1-2 15,-34 37-15,35-36 0,-1 1 16,-35 34-16,54-18 0,-18-16 16,17-1-16,-17 1 0,18-1 15,-2 1-15,2-2 0,-1 37 16,1-35-16,0 33 0,17-33 16,0-1-16,0 36 15,0-18-15,17-18 0,0 18 0,1 0 16,-1-18-16,2 18 0,15 18 15,2-18-15,16 17 16,-16-34-16,-18-2 0,16 2 16,2-1-16,-1 1 0,36 16 15,53 37 1,-71-54-16,-1-18 0,1 19 16,1-18-16,16-1 0,0 0 0,0 2 15,1-2-15,141 1 16,-141-1-16,53-17 0,-55 0 15,-16 19-15,1-19 16,-20 0-16,20 0 0,-20 0 0,37 0 16,0-19-16,-53 19 0,0 0 15,16 0-15,-16 0 16,0 0-16,0 0 16,-1 0-16</inkml:trace>
  <inkml:trace contextRef="#ctx0" brushRef="#br0" timeOffset="143371.14">1525 8206 0,'19'-17'31,"-2"17"-15,1 0-16,-1 0 0,0 0 15,2 0-15,16-18 0,-18 18 16,19 0-16,-1 0 0,18 0 0,0 0 16,158 0-16,-140-17 15,35 17-15,-18 0 0,18-17 16,0 17-16,0-19 0,-18 19 0,36-17 16,-19-1-16,0 18 0,2-17 0,-2-2 15,2 2-15,-2 0 0,-17 17 16,0-18-16,0 18 0,-17-18 0,0 18 15,-1-18-15,-16 18 0,34 0 16,-54-17-16,2 17 0,-18 0 16,-1 0-16,19 0 0,-19 0 15,-17-17-15,18 17 0,-1 0 16,-52 17 15</inkml:trace>
  <inkml:trace contextRef="#ctx0" brushRef="#br0" timeOffset="145671.99">24861 9371 0,'0'18'0,"19"-18"16,-2 0-1,1 0-15,18 0 0,-2 0 0,2 0 16,34 0-16,0 0 0,89-18 16,-70 0-16,17 0 0,-1 18 15,2-17-15,-2 0 0,19-2 16,87-16-16,-105 18 0,0 0 0,0-2 16,0 19-16,-18-17 0,53-1 15,-70 1-15,-18 17 0,-18 0 16,-1 0-16,-15 0 0,-2 0 15,1 0-15,-1 0 0,2 17 16</inkml:trace>
  <inkml:trace contextRef="#ctx0" brushRef="#br0" timeOffset="145994.73">25568 9601 0,'88'-36'0,"-36"18"16,1 1-16,18-2 0,17-15 0,0 16 15,-17 0-15,17 0 0,1 1 0,-1 0 16,0-1-16,0 0 0,0 0 15,-17 18-15,-1-17 0,-16 17 0,16-17 16,-18 17-16,-16 0 0,-1 0 0,1 0 16,-19 0-16,18 0 0,1 0 15,-19 0-15,1 17 16,-36 0 0,-16 1-1</inkml:trace>
  <inkml:trace contextRef="#ctx0" brushRef="#br0" timeOffset="153072.51">11773 9106 0,'160'-35'0,"-125"35"0,0-18 16,89 0-1,-90 1-15,2 17 0,52-17 16,-52-1-16,-18 18 16,-1 0-16,0 0 0,37-18 15,-37 18 1,0 0-16,2 0 15,-2 18-15,-17 0 16,18-1 0,-1 0-16,-17 19 0,53 87 15,-35-87-15,-1 35 16,2-19-16,15 18 0,-16 1 0,18 0 16,-19-1-16,18-16 0,35 175 15,-51-158-15,16-1 16,-18 0-16,2 0 0,15 1 0,-16-18 15,-1 18-15,2-18 0,-2-1 16,0 2-16,1-1 0,0-1 0,-18-16 16,18 16-16,-18-33 0,17 15 0,-17 2 15,0-18-15,0-1 0,0 0 16,0 2-16,0-2 0,0 1 0,-17-1 16,-1 0-16,0 2 15,0-19-15,-16 17 0,-2-17 0,-52 35 16,34-16-16,-16-2 15,-36 18-15,18-18 0,18 2 16,-18-2-16,0 0 0,0 1 0,-2 0 16,2 0-16,-88 16 15</inkml:trace>
  <inkml:trace contextRef="#ctx0" brushRef="#br0" timeOffset="154868.78">3025 11294 0,'106'0'0,"-53"0"0,123 0 15,-88 0-15,71-19 16,-71 19-16,18 0 16,0 0-16,159 0 15,-160-17-15,125 17 16,-160 0-16,1-17 0,0 17 15,141-18 1,-195 18-16,18 0 0,-18 0 0,19 0 16,-19 0-1,1 0-15,0 0 16,-36 18 15</inkml:trace>
  <inkml:trace contextRef="#ctx0" brushRef="#br0" timeOffset="155678.96">9128 11134 0,'36'0'0,"-1"-17"0,-1 17 15,37 0-15,0 0 0,-1-18 16,106 18-16,-69-17 0,-2 17 16,19 0-16,-18 0 0,0-17 0,0 17 15,18 0-15,-19 0 0,0 0 16,125-19-16,-53 19 16,-108 0-16,2 0 0,-18 0 0,-17 0 15,16 0-15,-34 0 16,18 0-16,-2 0 0,-15 0 0,-2 19 15,1-19-15,-1 0 0,2 0 16</inkml:trace>
  <inkml:trace contextRef="#ctx0" brushRef="#br0" timeOffset="161480.17">13485 10746 0,'35'0'16,"-18"0"-16,2 0 0,-2 0 16,1 0-16,-1 0 0,19-17 0,-19 17 15,1 0-15,-1 0 0,19 0 0,-19 0 16,1 0-16,0 0 16</inkml:trace>
  <inkml:trace contextRef="#ctx0" brushRef="#br0" timeOffset="161747.98">13785 10570 0,'52'-17'16,"-16"34"-16,-18-17 0,-1 17 15,19 2-15,-19-2 16,-17 1-16,18-1 0,-1 19 0,2-19 16,-19 1-16,0 18 0,17-19 15,-17 0-15,0 1 0,0 0 16,0 17-16,0-18 0,0 2 0,0-2 16,0 1-16</inkml:trace>
  <inkml:trace contextRef="#ctx0" brushRef="#br0" timeOffset="162031.6">14613 10623 0,'0'35'47,"0"-16"-47,19 15 16,-19-16-16,0-1 16,0 19-1,0-19-15,17-17 0,-17 36 16,18-36-1</inkml:trace>
  <inkml:trace contextRef="#ctx0" brushRef="#br0" timeOffset="162635.98">14561 10553 0,'0'0'15,"18"-18"-15,16 0 0,-15 18 0,-2 0 16,1 0-16,-1 18 0,0-18 15,2 0-15,-2 18 16,-17-1 0,0 0-16,-17 2 0,17-2 0,-19 1 15,2-1-15,0 2 16,17-2 0,17 0-1,-17 1-15,36-1 31,-19 2-15,-17-2 0,0 0-16,-17 19 15,-2-18-15,2-1 16,0 0 15</inkml:trace>
  <inkml:trace contextRef="#ctx0" brushRef="#br0" timeOffset="163232.54">14949 10853 0,'0'-18'15,"0"-35"1,18 17 0,-18 19-16,0-1 15,0 1 1,0 0-16,17-2 15,0 38 17,2-19-1,16 17-15,-18-17-1,2-17-15,-2 34 16,0 0-1,1 1 1,-18-1 0,17-17-16,-17 19 0,19-2 15,-2-17-15,0 0 16,19 0 0</inkml:trace>
  <inkml:trace contextRef="#ctx0" brushRef="#br0" timeOffset="163644.82">15513 10535 0,'35'0'31,"1"-18"-15,-19 18-16,1 0 0,0 0 0,0 0 15,-18-18-15,17 18 16,0 0-16,2 0 31,-19 18-15,0 0-1,0 0-15,0-1 0,0 19 16,0-19-16,17-17 0,-17 18 16,0-1-16,0 2 0,0 15 31,0-16-31</inkml:trace>
  <inkml:trace contextRef="#ctx0" brushRef="#br0" timeOffset="163824.9">15567 10799 0,'-36'0'0,"72"0"31,-19 0-31,0-17 15,1 17-15,18 0 0,34-17 16,-52 17-16,-1 0 16,0 0-16,2 0 0,16 0 15</inkml:trace>
  <inkml:trace contextRef="#ctx0" brushRef="#br0" timeOffset="164460.79">14791 11187 0,'17'0'15,"0"18"-15,1-18 16,18 0-16,69 0 16,-34-18-16,-1 18 0,-16-17 15,34 0-15,0-2 0,-18 2 0,18-1 16,-17-16-16,0 15 0,-1-16 0,1 18 16,-19-19-16,1 19 0,1-18 15,-20-1-15,2 19 0,-1-19 0,1 1 16,-1-1-16,-1 1 0,-15 1 15,-2 15-15,1-16 0,-18 18 0,17-19 16,-17 1-16,0 17 0,0-17 16,0 18-16,0-19 0,-17 1 0,-1-1 15,-18 1-15,19 1 0,-18 15 16,18 2-16,-19-18 0,-17 16 0,18 2 16,0 0-16,-18-1 0,0 0 15,-1 0-15,2 1 0,-1 17 0,-18-17 16,18 17-16,-70-18 0,53 18 15,-1-18-15,0 18 0,-87 18 16,70-18-16,0 18 0,-19-1 16,19 0-16,17 1 0,-17 0 15,18 17-15,-1 1 0,0 16 0,19-16 16,-1 16-16,0-16 0,18 17 16,-1 17-16,19-17 0,-1 0 0,1 1 15,17-2-15,0-16 0,17 16 0,18 1 16,1 0-16,17-1 0,-1-16 15,19-1-15,17 1 0,0-19 0,1 1 16,17-1-16,-18 2 0,0-19 16,18 0-16,-35 0 0,0 0 0,-2 0 15,2 0-15,-35 0 0,-2-19 0</inkml:trace>
  <inkml:trace contextRef="#ctx0" brushRef="#br0" timeOffset="171130.67">14667 8366 0,'0'-19'0,"-18"19"47,1 0-31,-2 19-1,2-19-15,17 17 16,0 1-16,0-1 16,36 0-1,-19 2-15,1-2 16,-1-17-16,0 18 0,-17-1 0,19 2 16,16 15-1,-35-16-15,17 0 0,-34 34 16,-1-34-1,1 0 1,-2-18 0,2 0-16,0-18 31,34 0-15,-17 1-16,17 0 0,-17-1 0,19 0 15,-2 0-15,-17 1 16,18 0-16,-1-54 15,-17 52-15,0 2 16,0 0-16,0-1 0,0 1 16,-17-2-16,-1 2 15,18 0-15,-17 17 16,-2 0 0,2 0-16,17 17 15</inkml:trace>
  <inkml:trace contextRef="#ctx0" brushRef="#br0" timeOffset="171549.35">15072 8295 0,'-17'18'15,"-1"-18"-15,1 17 16,17 0 0,-19 2-16,19-2 0,0 1 15,0-1 1,19-17-1,16 0 1,-35-17-16,17 17 16,2-18-16,-2 18 15,-17-17 1,17 34 0,1 1-1,-18-1 1,17-17-16,2 17 15,15 2 1</inkml:trace>
  <inkml:trace contextRef="#ctx0" brushRef="#br0" timeOffset="172010.83">15372 8277 0,'0'-35'15,"17"52"17,2 1-17,-19 0 1,35-36 31,-18 18-32,2-18 17,-2 18-17,0 18-15,1-18 31,-1 0-15,2 0 15,-2 0-15,0 0 0,1 0-1,0-18-15,0 18 16</inkml:trace>
  <inkml:trace contextRef="#ctx0" brushRef="#br0" timeOffset="173359.91">16431 7854 0,'17'17'31,"-17"1"-31,17-18 16,2 53-16,-19-36 16,17 1-16,-17 0 0,0 0 15,0-1 1,0 0-16,18 2 0,-18-2 16,17 1-16</inkml:trace>
  <inkml:trace contextRef="#ctx0" brushRef="#br0" timeOffset="173936.88">16801 7766 0,'35'52'16,"-18"-33"-16,-17-2 16,36 36-1,-36-35-15,0-1 0,0 0 16,0 1-16,0 0 0,0 0 0,-17-18 0,17 17 16,-19-17-16,2 17 15,0 2-15,-1-19 16,1-19-1,17 2-15,17 0 16,-17-1-16,35-18 16,-35 19-16,17 0 15,2-19 1,-19 18-16,0 1 0,0 0 16,0-2-16,0 2 15,-19-1-15,19 1 16,-34-2-1,16 19 1,1 0-16,17-17 16</inkml:trace>
  <inkml:trace contextRef="#ctx0" brushRef="#br0" timeOffset="174062.56">16924 7589 0</inkml:trace>
  <inkml:trace contextRef="#ctx0" brushRef="#br0" timeOffset="174310.75">17207 7678 0,'-18'35'15,"-18"35"1,19-52 0,17 18-16,0-19 15,0 0-15,36 1 16,-19-18-1,71-18 1,-70 18-16,18 0 16</inkml:trace>
  <inkml:trace contextRef="#ctx0" brushRef="#br0" timeOffset="175214.46">15355 9089 0,'17'53'0,"-17"-36"0,0 1 0,17-1 16,-17 36 0,0-35-16,0-1 0,0 2 15,19-2-15,-19 0 0,17 1 16</inkml:trace>
  <inkml:trace contextRef="#ctx0" brushRef="#br0" timeOffset="175514.82">15584 9194 0,'0'-17'16,"0"34"-16,17 2 31,-17-2-15,18 0-16,0 1 0,0-18 15,-1 0-15,0 17 0,2-17 0,16-17 16,-18 17-1,0-35 1,-17 18-16,0-2 0,0 2 16,-17-1-16,0 1 15,-18-2 1,16 19-16,19-17 0,-17 17 16,0 0-16,-1 0 15</inkml:trace>
  <inkml:trace contextRef="#ctx0" brushRef="#br0" timeOffset="175832.07">15955 9018 0,'-18'-17'0,"18"51"16,0-16 0,0 0-16,18 0 15,-1-18-15,-17 17 16,17-17 0,1 0-1,0 0 1,0 0-1,-1 0 1,0 0-16,2 0 16,-2 0-16,35 0 15</inkml:trace>
  <inkml:trace contextRef="#ctx0" brushRef="#br0" timeOffset="176091.7">16977 8913 0,'18'0'16,"0"-19"-1,0 19-15,-1 0 16,0 0-16</inkml:trace>
  <inkml:trace contextRef="#ctx0" brushRef="#br0" timeOffset="176942.9">17401 8630 0,'18'0'0,"-1"17"16,-17 1-16,0 0 0,0 0 16,-17 35-1,-1-36-15,0 18 16,0-18-16,18 2 0,-17-19 16,17 17-1,-17 1-15,34-1 31,18-34-15,-17 17-16,0-18 16,-1 1-16,18 17 0,1-36 15,-19 19-15,0 17 0,2-18 16,-19 1-16,17-2 0,-17 2 0,18 17 16,-18-17-16,17-1 15,-17 0-15,0 54 63,19-19-48,-2-17-15,0 17 0,1-17 16,-1 0 0,2-17-16,-19 0 31,0-1-16,-19 18 1,2 0-16,17-18 16</inkml:trace>
  <inkml:trace contextRef="#ctx0" brushRef="#br0" timeOffset="177086.47">17789 8454 0,'0'-19'0</inkml:trace>
  <inkml:trace contextRef="#ctx0" brushRef="#br0" timeOffset="177314.79">17983 8489 0,'-35'36'16,"35"-19"0,-19 0-16,19 1 15,19 0-15,-19 0 16,17-18-1,1 0-15,-1 0 16,2 0 0,-2 0-16</inkml:trace>
  <inkml:trace contextRef="#ctx0" brushRef="#br0" timeOffset="178194.57">16536 10111 0,'0'-17'0,"19"34"0,-2 1 15,-17 0-15,0 0 16,0-1-16,17 0 0,-17 2 15,0 16-15,0-18 0,0 2 16,0 15 0,0-16-16</inkml:trace>
  <inkml:trace contextRef="#ctx0" brushRef="#br0" timeOffset="178539.57">16748 10147 0,'36'0'16,"-72"0"-16,89 0 0,-53 18 31,0 16-31,0-15 15,0-2-15,-17 1 16,17-1 0,0 2-1,-19-19-15,19 17 16,19-17 0,-2 17-16,1-17 15,16-17 1,-15 17-16,-2 0 15,18-17-15</inkml:trace>
  <inkml:trace contextRef="#ctx0" brushRef="#br0" timeOffset="178931.97">17048 10094 0,'17'17'0,"1"1"16,-18 0-1,0 0 1,18-18 0,0 0-1,-18-18 1,17 18-16,0 0 31,2 0-15,-2 0-16,1 0 15,-1 0-15,19 0 16,-1 0 0</inkml:trace>
  <inkml:trace contextRef="#ctx0" brushRef="#br0" timeOffset="179194.52">17648 9989 0,'17'-19'15,"1"19"1,-1-17-16,2 17 0,-2 0 16</inkml:trace>
  <inkml:trace contextRef="#ctx0" brushRef="#br0" timeOffset="179743.56">18195 9635 0,'70'0'15,"-52"0"1,-1 0-16,0 0 0,2 0 16,-2 0-16,-17 18 0,18-1 15,-18 2-15,-18 15 16,1-16-16,17 0 16,-19 0-16,2-1 0,0 0 15,-1 2-15,18-2 16,-17-17-1,34 18 1,18-18 0,1-18-1,-19 18-15,1 0 0,-1 0 16,36-17-16,-35-2 16,18 2-1,-19 0-15</inkml:trace>
  <inkml:trace contextRef="#ctx0" brushRef="#br0" timeOffset="180574.96">18671 9459 0,'-35'0'141,"35"18"-125,-19-18-1,2 17 17,34 0-17,-17 2 1,19-2-16,-2 1 15,-17 18 1,18-36-16,-18 17 16,0 0-16,0 1 15,0 18 1,0-19 0,17 0-1,2 1-15,-2-36 16,0 18-1,1 0 1,18-17-16,-19 17 16,0 0-1</inkml:trace>
  <inkml:trace contextRef="#ctx0" brushRef="#br0" timeOffset="180868.65">18707 9547 0,'17'71'16,"0"-19"15,-17-16-15,0-19-16,0 1 0,18 0 0,-18 0 31,0-1-31</inkml:trace>
  <inkml:trace contextRef="#ctx0" brushRef="#br0" timeOffset="181115.6">18900 9335 0,'-17'0'16</inkml:trace>
  <inkml:trace contextRef="#ctx0" brushRef="#br0" timeOffset="182269.71">17101 11399 0,'-18'18'32,"0"-1"-32,1 2 15,17-2-15,-17-17 0,17 17 16,-18 1-1,0 0-15,18 0 16,-18-1-16,18 0 16,18-17-1,0 18 1,0-18-16,16-18 16,-16 18-16,0 0 15,0-17-15,16 0 16,-15 17-16,-19-18 0</inkml:trace>
  <inkml:trace contextRef="#ctx0" brushRef="#br0" timeOffset="182475.47">17224 11346 0,'-17'36'31,"17"-19"-31,0 37 15,0-37-15,17 18 0,-17 1 16,0-19-16,0 18 16,0-17-1,17 0-15,-17-1 0,19-17 16,16 0 0</inkml:trace>
  <inkml:trace contextRef="#ctx0" brushRef="#br0" timeOffset="182743.36">18019 11311 0,'52'-17'0,"-16"17"16,-19 0-16,0-19 0,1 19 15</inkml:trace>
  <inkml:trace contextRef="#ctx0" brushRef="#br0" timeOffset="183142.01">18477 10994 0,'18'0'0,"-18"-19"0,17 19 15,0 0 1,1 19-16,0-19 0,0 17 16,-18 18-1,0-16-15,0-2 0,-18 0 0,0 18 16,18-16-1,-18-19-15,18 17 0,-17 0 0,17 1 16,-17-18-16,17 18 16,0 0-1,17-18 1,18 0 0,-17-18-16,17 18 0,-18 0 15,37-36 1,-18 19-16</inkml:trace>
  <inkml:trace contextRef="#ctx0" brushRef="#br0" timeOffset="183650.66">18883 10853 0,'17'0'63,"-17"17"-63,0 0 15,0 2-15,0-2 16,17-17-1,-17 18 1,18-18-16,-18 17 0,18-17 16,0 17-1,-1 2-15,0-19 0,-17 35 16,-17-18 0,17 2-1,-17-19-15,-1 34 16,0-34-16,0 18 0</inkml:trace>
  <inkml:trace contextRef="#ctx0" brushRef="#br0" timeOffset="185614.6">18935 11929 0,'0'-18'0,"-35"36"78,35-1-47,0 0-15,0 2-16,0 16 16,0-18-16,0 0 15,0 2-15,17 16 16,-17-18-1,0 2-15,18-2 16,-18 0-16,0 1 16,18-18-16,0 0 0,-18 17 15,17-17-15,0 0 16,2 0-16,-2 0 16,1-17-16,-1 17 0,2 0 15,-19-18 1,17 18-16,-17-17 15,-17 0 1,-2 17 0,-16 0-16,-1 0 15,19 0-15,0 17 16,-1-17-16,0 17 16</inkml:trace>
  <inkml:trace contextRef="#ctx0" brushRef="#br0" timeOffset="186160.05">19288 11911 0,'-17'-18'0,"17"54"31,0-19-16,0 0-15,0 2 0,17 33 16,-17-35-16,0 19 16,17-36-16,-17 18 15,0-1-15,0 2 16,0-73 31,0 1-32,19-18 1,-2 54-16,-17 0 0,0-1 0,18 0 16,-18 0-16,17 1 15,0 0-15,2 34 16,-19 0 0,0 19-1,-19-36-15,19 18 0,-17-1 16,17 0-16,-17-17 0,17 36 15,0-18-15</inkml:trace>
  <inkml:trace contextRef="#ctx0" brushRef="#br0" timeOffset="187171.49">20311 11717 0,'18'53'16,"-18"-1"15,0-33-31,18-2 0,-18 0 16,0 37-1,0-37 1,17 0-16</inkml:trace>
  <inkml:trace contextRef="#ctx0" brushRef="#br0" timeOffset="187677.57">20469 11734 0,'19'-17'0,"16"34"16,-18 2 0,2-2-1,-2 18 1,0-35-16,-17 17 0,0 2 0,0-2 16,0 0-1,0 1-15,0 0 16,-17-18-16,34-36 47,1-17-32,-18 36-15,0-1 0,17 1 16,-17 0-16,-17-2 0,17 2 16,0-1-16,0 1 0,-18-2 15,1 19-15,0 0 16,-19 0-1,18 0-15,1 19 16,17-2-16</inkml:trace>
  <inkml:trace contextRef="#ctx0" brushRef="#br0" timeOffset="192895.38">17577 7290 0,'71'17'0,"-54"-17"16,1 18-16,-1-18 0,19 17 15,-19 0-15,54 37 16,-36-37-16,1 19 0,-19-19 15,90 89-15,-73-70 16,1-19-16,1 19 0,52 69 16,-71-70-16,54 54 15,-35-54 1,-19-18-16,1 1 0,-1 18 0,2-19 16,-2 19-16,0-19 0,54 71 15,-54-70-15,1 18 0,18 34 16,-19-35-1,19-18-15,-19 19 0,18 35 16,-16-54-16,-2 1 16,0 18-16,18-2 0,-16-16 15,-2 18-15,0-19 0,1 0 16,18 19-16,-19-18 0,0-1 16,1 0-16,0 2 0,0-2 0,-1 1 15,54 35 1,-54-36-16,2 1 0,-2-1 15,18 2-15,-18-2 0,2 0 0,-2 19 16,0-18-16,1-1 16,0-17-16,0 17 0,-1 1 0,0 0 15,2 0-15,-19-1 0,17 0 0,1 2 16,-1-19-16,0 17 0,-17 1 16,19-1-16,-2 2 0,1-2 0,18 35 15,-19-33-15,-17-2 16,35 18-1,-18-17-15,2 0 0,-19-1 0,17 0 16,-17 1-16,17 0 0,-17 0 16,18-1-16,-18 0 0,18 2 0,-18-2 15,18-17-15,-18 18 0,17-1 16,-17 2-16,17-2 0,-17 0 16,19 1-16,-2-1 0,-17 2 0,18-2 15,-18 0-15,17 1 0,0 0 0,-17 0 16,19 16-16,-2-15 0,-17-2 15,18 1-15,-1 16 0,2-15 0,-19-2 16,17 18-16,0-16 0,1 15 0,18 20 16,-36-37-16,17 0 15,0 19-15,37 16 16,-37-16-16,0-18 0,2-1 0,-2 2 16,-17-2-16,18 0 0,-1 1 15,2-18-15,-2 17 0,35 36 16,-33-35-16,15 0 15,-34 0-15,54 34 16,-37-34-16,0-18 16,19 18-16,-36-1 0,35 0 0,-18 19 15,2-18-15,-2-1 0,1 2 16,-1-2-16,2 0 0,-2 1 0,18-1 16,-18 2-16,2-2 0,-2 0 15,18 1-15,-17 0 0,34 34 16,-33-33-16,-2-2 0,18 1 0,-18-1 15,2 0-15,-2 2 0,1-2 0,-1 1 16,2-1-16,-2 2 16,18 15-16,-35-16 15,18-1-15,-18 2 0,18-19 0,-18 17 16,17 0-16,0 1 16,-17 0-16,18-18 0,-18 18 0,0-1 15,18-17-15,-18 17 0,0 2 0,18 16 16,-1-18-1,-17 36 1,17-35-16,2 35 16,-19-36-1,0 1-15,0 0 0,0 0 0,0-1 16,0 0-16,0 1 0,0 0 0,0 0 16,0 16-1,0 2 1,-19-18-16,19 18 15,-17-36-15,17 17 16,-17-17-16,17 17 0,0 1 16,-18-18-16,0 17 0,0 2 0,1-2 15,0 0 1,-1-17-16,0 18 0,0-18 0,1 18 16,0 0-16,-2-1 0,2-17 15,-1 17-15,1 2 0,-2-19 16,2 17-16,0-17 0,-37 18 15,54-1-15,-17-17 16,0 17-16,-1-17 0,0 0 0,0 19 16,-16-2-16,15-17 15,2 18-15,-1-18 0,1 0 0,0 17 16,-2-17-16,2 19 0,-1-19 16,1 0-16,-2 17 0,-15 0 15,16-17-15,1 0 0,-2 18 0,2-18 16,0 0-16,-1 17 0,0-17 15,0 19-15,-16-2 16,-2 0-16,18-17 16,1 18-16,0-18 0,-2 18 0,2-18 15,-18 18 1,16-18-16,2 17 0,0-17 0,-1 0 16,0 17-16,0-17 0,1 19 0,-18-19 15,17 17-15,0-17 16,-16 18-16,15-18 15,2 0-15,-1 17 0,1-17 0,-2 0 16,2 0-16,0 0 0,-37 17 16,37-17-16,-18 19 15,17-19-15,0 0 0,-16 17 0,15-17 16,-16 0-16,-18 18 16,36-18-16,-18 0 0,-1 0 0,1 17 15,-1-17-15,2 0 0,-2 0 0,1 19 16,-70-2-1,69-17-15,1 0 0,-1 17 0,1-17 16,17 0-16,-17 18 0,0-18 0,17 0 16,-17 0-16,18 18 15,-19-18-15,1 0 0,18 18 0,-2-18 0,-16 0 16,18 0-16,-19 17 0,19-17 16,-19 0-16,18 0 0,-16 0 15,-2 17-15,18-17 0,-16 0 0,-2 0 0,1 0 16,-1 0-16,1 0 0,-1 0 15,-34 18-15,35-18 16,-1 0-16,-123 0 16,107 0-16,16 0 0,-52 0 15,35 0 1,1 0-16,16-18 0,-16 18 0,16 0 0,1 0 16,-18 0-16,18 0 0,-1 0 15,-17-17-15,18 17 0,-1-17 16,2 17-16,-1-18 0,-1 18 0,1-18 15,-1 0-15,2 1 0,-2 0 0,1-2 16,18 2-16,-19-1 0,1-18 16,-1 19-16,19 0 0,-1-18 15,1 16-15,-2 2 0,2-18 0,0 17 16,-1 0-16,18-16 0,-18 15 16,-17-33-16,18 16 0,17 19 15,-19-18-15,2 16 0,17 2 0,-18-18 16,1 18-16,17-19 0,-17 19 15,-2-19-15,2 18 0,17 1 16,-18 0-16,1-19 0,17 18 0,-19 1 0,2 0 16,17-2-16,-17-16 15,-1 18-15,18-2 0,-18 2 0,0 0 16,18-19-16,-17 18 0,0 1 0,17 0 16,-18-1-16,0 0 0,18-17 0,-18 18 15,18-2-15,-17-33 16,0 33-16,17 2 0,-19 0 0,19-18 15,-17-18 1,17 17-16,0 18 0,-18 1 16,18 0-16,0-19 0,0 18 0,0 1 0,0 0 15,0-2-15,0-16 16,-17 18-16,17-2 0,0 2 0,0 0 16,0-37-16,0 37 0,0 0 15,0-1-15,0 0 0,0 0 16,0 1-16,0-19 0,0 19 0,0-1 15,0 1-15,0-19 0,0 19 16,0-1-16,0 1 16,0-2-16,0 2 0,17 0 0,-17-1 15,0 0-15,0 0 0,18 18 0,-18-17 16,0 0-16,0-1 0,0 0 16,17 0-16,-17 1 0,0 0 15,0-2-15,19 2 0,-19-1 16,0 1-16,0 0 0,0-19 15,0 18-15,0 1 16,0-2-16,0 2 16,0 0-16,-19-1 0,19 0 15,0 0-15,-17-34 16,17 34-16,-18 0 16,1 1-16,17 0 15,-19 17-15,19-19 0,-17 2 16,0 17-16,17-18 0,-18 18 15,1-17-15,17-2 0,-19 19 16,2 0-16,17-17 0,-17 17 0,-19-35 16,18 35-16,1-17 15,0 17-15,17-19 16,-18 19-16,0 0 0,0-17 16,1 17-16,0-17 15,-2 17 1,-16-18-1,18 0-15,-2 18 0,2 0 0,0 0 16,-37-18 0,37 18-16,0 0 0,-71-17 15,69 17-15,2 0 16,-71 0 0,53 0-16,-1 0 0,19-17 0,-18 17 15,-36 0-15,53 0 0,-17 0 16,-1-19-16,19 19 0,-18 0 15,-1-17-15,1 17 0,-1 0 0,2-18 16,-72-16-16,53 15 16,17 2-16,1 17 0,-1-18 15,2 1-15,-1-2 0,-1 2 0,19 0 16,-19-1-16,-16 0 16,16 0-16,18 1 0,1 0 0,-19-1 15,19 0-15,-1-17 0,1 18 0,-2-2 16,2 2-16,0-1 0,-1-16 15,1 15-15,17 2 0,-19-1 16,19-18-16,-17 19 0,0 0 0,17-1 16,-18-18-16,18 19 0,0 0 15,-18-19-15,18 18 0,-18 1 0,18-19 16,-17 19-16,17-1 0,-17-18 0,17 19 16,0 0-16,0-18 0,-19 16 15,19-15-15,0 16 0,0 0 16,0 0-16,0 1 0,0 0 0,0-1 15,0 0-15,19 0 0,-19 1 16,0 0-16,17-2 0,-17 2 16,17-1-16,1 1 0,0-2 0,0 2 15,-1 0-15,0-1 0,19 1 0,-18-2 16,-1 2-16,54-36 16,-35 35-16,-19 1 0,18 0 0,-18-2 0,19 2 15,-1-1-15,-17 1 16,17 17-16,-18-17 0,54-19 15,-54 18-15,19 1 0,-1-2 0,-16 2 16,15 17-16,-16-17 0,18-1 16,-2 0-16,-16 0 0,18 1 0,17 0 15,-18-1-15,-18 0 16,19 0-16,-1 18 0,1-17 16,-19 0-16,18 17 0,1-19 0,-19 2 15,54-1-15,-37 1 0,-15 17 16,16-19-16,1 19 0,-2-17 15,-16 17-15,18-17 0,-2-1 0,2 18 16,-1-17-16,-18 17 0,19-19 0,-1 2 16,-18 17-16,19-17 0,-18 17 15,-1 0-15,19-18 0,-19 18 0,1-18 16,0 18-16,34-18 0,-34 18 16,18-17-16,-19 17 0,0-17 15,19 17-15,-18-18 0,16 18 0,-15 0 16,16-18-16,-18 18 0,36-18 15,-17 18-15,-18 0 16,16 0-16,-16-17 0,18 17 0,-19 0 16,0 0-16,19 0 0,-18 0 0,35-17 15,-18 17-15,-18 0 16,19 0-16,-19 0 0,19 0 0,-1-19 16,-18 19-16,19 0 0,-1 0 0,-18-17 15,19 17-15,-1 0 0,-16 0 16,33 0-16,-16-18 0,-2 18 0,2 0 15,-1-17-15,1 17 0,16 0 0,-16-19 16,16 19-16,1-17 16,-17 17-16,16-17 0,-16 17 0,16-18 15,-16 18-15,18-17 0,-2-2 0,1 19 16,-18-17-16,18 0 0,-18 17 16,18-18-16,-17 18 0,-1 0 0,1-18 15,-2 18-15,1 0 0,1-18 0,-19 18 16,1 0-16</inkml:trace>
  <inkml:trace contextRef="#ctx0" brushRef="#br0" timeOffset="204975.33">24932 10587 0,'0'-17'16,"19"53"46,-2 16-46,-17-33 0,17 15-16,-17 1 0,36 142 15,-18-125-15,-18-16 16,0-1-16,0 1 0,17 52 15,-17-71-15,0 19 16,0-1-16,17-18 0,-17 2 16,0-2-16,0 1 0,0 16 31</inkml:trace>
  <inkml:trace contextRef="#ctx0" brushRef="#br0" timeOffset="205531.58">24951 10623 0,'-19'0'0,"2"0"16,17 18-16,-35 18 16,-1 16-1,36-35-15,-35 36 16,18-35-16,-2 0 16,19 0-16,-17-1 0,0 19 15,17-19-15,-18 1 16</inkml:trace>
  <inkml:trace contextRef="#ctx0" brushRef="#br0" timeOffset="205823.58">24844 10623 0,'36'-17'0,"16"34"32,-33-17-32,-2 0 0,-17 18 0,35-18 0,18 17 15,-36 2-15,19-19 16,-18 17-16,-1-17 15,-17 17-15,17-17 0,2 18 0,-2-1 16,1-17-16,-1 19 16</inkml:trace>
  <inkml:trace contextRef="#ctx0" brushRef="#br0" timeOffset="212198.97">23839 11875 0,'0'-17'0,"0"0"31,-18 17 1,1 0-1,0 17-16,-2-17 1,19 17-16,-17-17 16,17 18-16,-18-18 0,18 18 15,0 0 1,0-1 0,18-17-16,-18 17 15,17-17-15,2 0 0,15 19 16,-16-2-1,-1-17-15,2 18 0,-2-1 16,0-17 0,-17 17-16,0 2 15,-17-2 1,0 1 0,-2-18-16,2 17 0,-1-17 0,1 0 15,0 19-15,-2-19 0,2 0 16,-18 0-1,16 0-15,2 17 16</inkml:trace>
  <inkml:trace contextRef="#ctx0" brushRef="#br0" timeOffset="212954.42">24051 11946 0,'-36'0'16,"36"17"-16,-35 2 16,18 16-1,-1-35-15,18 17 16,0 0-1,0 2 1,18-19 0,-1-19-1,0 19-15,1 0 16,0-17 15,-18 34-15,18 2-16,-18-2 15,0 1-15,17 18 16,-17-19 0,17-17-1</inkml:trace>
  <inkml:trace contextRef="#ctx0" brushRef="#br0" timeOffset="213200.5">24192 11787 0,'0'35'31,"0"-16"-31,0-2 0,0 0 16,0 1-16,17 0 0,-17 0 15,0 52 1,0-52-16,0-1 0,0 0 0,0 2 16,0-2-16,18-17 0,-18 35 15</inkml:trace>
  <inkml:trace contextRef="#ctx0" brushRef="#br0" timeOffset="213549.01">24385 12070 0,'0'-19'16,"0"2"-1,0 0 1,-17 51 15,0-34-15,17 19-16,0-2 0,0 1 16,0 18-1,17-36-15,0 0 16,2 17-1,-2-34-15,18-2 16,-18 19-16</inkml:trace>
  <inkml:trace contextRef="#ctx0" brushRef="#br0" timeOffset="213803.46">24597 11929 0,'-17'0'16,"0"0"-16,17 17 15,0 0 1,17 2 0,0 16-1,1-18-15,-1 0 16,2 2-16,-19 16 16,0 1-1,0-19 1,-19 0-16,2-17 0,17 18 15,-18-18-15,1 0 16,0 17-16</inkml:trace>
  <inkml:trace contextRef="#ctx0" brushRef="#br0" timeOffset="-213926.16">25003 11929 0,'-18'-18'0,"54"18"62,-1 0-46,0 0-1,-17 0-15,0 0 16,16-18-16,-15 18 16</inkml:trace>
  <inkml:trace contextRef="#ctx0" brushRef="#br0" timeOffset="-213585.87">25091 11770 0,'53'35'31,"-36"-35"-31,2 17 16,-19 2-16,17-19 0,-17 17 0,18-17 16,-18 17-16,17 1 0,-17 18 15,0-19 1,0 19-1</inkml:trace>
  <inkml:trace contextRef="#ctx0" brushRef="#br0" timeOffset="-212526.3">25639 11575 0,'-54'36'0,"37"-18"0,17-1 0,-19-17 0,2 36 16,17-19-1,-17 18-15,17-16 16,0-2-16,0 0 0,0 1 0,0-1 15,17 19 1,-17-19-16,36 1 16,-19-18-16,1 0 15,35-18 1,-36 18-16,18 0 0</inkml:trace>
  <inkml:trace contextRef="#ctx0" brushRef="#br0" timeOffset="-212105.24">26008 11682 0,'-35'-36'0,"-1"36"16,19 0-16,17 17 0,-17-17 15,-1 0-15,18 19 0,-17-2 0,-2-17 0,2 18 16,17-1-16,-17 2 15,-1 15 1,18-16-16,0-1 16,18 2-1,-1-38 1,0 19 0,2-17-1,-19-1-15,17 18 0,-17-17 16,18 17-1,-1 17 1,-17 1 0,17-1-1,-17 2-15,19-2 16,-2 18 0,1-35 15</inkml:trace>
  <inkml:trace contextRef="#ctx0" brushRef="#br0" timeOffset="-211833.73">26097 11505 0,'0'-18'0,"0"54"47,0-1-32,0-18-15,0 1 0,18 0 0,-18 17 16,0-18-16,0 2 16,0-2-16,0 1 0,0-1 0,0 2 15,17 15 1,-17-16-16,0-1 15</inkml:trace>
  <inkml:trace contextRef="#ctx0" brushRef="#br0" timeOffset="-211522.14">26291 11470 0,'0'71'32,"0"-54"-32,0 0 15,0 37 1,17-37-16,-17 19 15,0-19-15,17 1 16,-17-1 0,19-17-16,-2 19 15,1-38 1</inkml:trace>
  <inkml:trace contextRef="#ctx0" brushRef="#br0" timeOffset="-211236.62">26537 11611 0,'-34'0'16,"16"0"-1,0 18-15,0-18 16,18 17 0,18 19-1,0-36-15,0 35 16,-1-18-1,-17 2 1,17-2-16,-17 0 16,-17 1-1,17-1 1,-17-17-16,-1 19 0,0-19 16,0 0-16,18 17 0,-17-17 15,0 0-15,-2 0 0,2 17 16</inkml:trace>
  <inkml:trace contextRef="#ctx0" brushRef="#br0" timeOffset="-210255.19">26732 11805 0,'0'-35'78,"0"18"-62,0-2-16,-17 2 0,17-1 15,0 1-15,-19-19 0,2-35 16,-1 37 0,18-2-16,-36-35 0,19 36 15,17 18-15,-35-90 16,35 90-16,-18 0 0,18-1 15,0 0-15,-18 0 0,18 1 0,0 0 16,-17-2-16,17 2 31</inkml:trace>
  <inkml:trace contextRef="#ctx0" brushRef="#br0" timeOffset="-209938.39">26467 11205 0,'-35'70'0,"18"-70"16,17 36-1,-19-36-15,2 18 16,17-1 0</inkml:trace>
  <inkml:trace contextRef="#ctx0" brushRef="#br0" timeOffset="-209622.92">26449 11187 0,'18'0'0,"0"18"16,0-18-1,-1 18-15,0-18 0,1 18 16,18-18 0,-19 17-16,0-17 15,19 17 1,-18-17-16,-1 19 16,2-19-1</inkml:trace>
  <inkml:trace contextRef="#ctx0" brushRef="#br0" timeOffset="-207088.92">28019 11046 0,'0'-17'31,"0"-1"-15,0 1-1,-18-2-15,18 2 16,-17 0-16,17-1 16,0-18-16,-17 19 0,17 0 0,-18-19 15,18 18-15,-18-87 16,0 88-16,18-19 15,-17 1-15,17-1 0,-17 1 0,17-1 0,0 19 16,-19-18-16,19 17 0,0 0 0,-17-16 16,17 15-16,-18-16 15,18 18-15,0 0 16,-17-2 0,0 38 15,17-2-16</inkml:trace>
  <inkml:trace contextRef="#ctx0" brushRef="#br0" timeOffset="-206822.48">27791 10289 0,'-19'17'16,"2"0"-16,17 1 0,-18-18 15,18 17-15,-17 2 0,-19 33 16,36-16 0,-17-19-16,-1 0 0,18 19 0,-18-18 0,0-1 15,18 0-15,-17 2 16,17-2-16,0 1 0,-17-1 0,17 2 15,-18-2 1</inkml:trace>
  <inkml:trace contextRef="#ctx0" brushRef="#br0" timeOffset="-206558.69">27667 10377 0,'17'0'16,"0"0"-1,2 0-15,-2 0 0,-17 17 16,18-17-16,-1 17 0,2-17 0,15 18 16,-16 0-16,-1-18 15,19 18-15,-19-1 0,1-17 16,0 17-16,0-17 15,16 18 1,-16 0-16,0-18 0,0 0 16,-1 18-16</inkml:trace>
  <inkml:trace contextRef="#ctx0" brushRef="#br0" timeOffset="-205988.22">28196 11329 0,'-53'0'16,"35"0"-16,-18 17 15,19-17-15,17 17 32,-17-17-32,34 19 15,19-2 1,-19 1-16,1-18 16,-1 17-16,36 2 15,-35-19-15,-18 17 0,17-17 0,2 0 16,-19 17-16,17-17 15,-17 36 1,-17-18-16,-37 16 16,37-34-16,-54 36 15,54-36 1,-2 0-16,2 18 0,0-18 0,-1 0 16,0 0-16,0 0 15</inkml:trace>
  <inkml:trace contextRef="#ctx0" brushRef="#br0" timeOffset="-204965.51">28477 11382 0,'-34'17'0,"34"1"16,-18-1 0,18 2-16,0-2 0,0 0 15,18 1 1,-18 0 0,17-18-16,19 0 31,-36-18 0,17 36 0,1-18-31,-18 18 16,17-18 0,2 0-1,-2 0 1,-17-18-16,17 18 15,-17-18-15,18 18 0,-18-18 16,0 1-16,18 0 0,-18-2 16,0-16-16,0 18 15,0-2-15,0 2 0,0 0 0,0-18 16,0 16-16,0 2 0,0 0 16,0-1-1,-18 53 16,18 18-15,18-35 0,-18-1-16,0 0 0,0 2 0,18-2 15,-1 1-15,18-1 16,-17-17-16,0 0 16,-1 0-16,0 0 0,2 0 15,16-17-15,-18 17 16,2-18-16,-2 1 0,0 17 15,-17-19 1,-34 38 15,34-2-15,-19-17-16,19 18 16,19-18 15,-2 0-31,0 0 15,1 17 1,18-17 0,-19 0-16,-17 19 0,17-19 15,1 17 1,0 0 0,-36 1-1,0 0 1,1-18-1</inkml:trace>
  <inkml:trace contextRef="#ctx0" brushRef="#br0" timeOffset="-204305.87">28619 11770 0,'158'-17'16,"-139"-2"-16,16 19 0,-18-17 0,54-1 16,-54 1-16,54-2 15,-53 2-15,17 0 0,-18 17 16,19-18-16,-1-18 16,1 19-16,16-54 15,-33 54-15,-19 0 0,17-2 16,-17 2-16,0-1 0,0 1 15,0-19-15,-17 19 16,-2-18-16,19 16 0,-17 2 16,-1 0-16,1-1 0,-36-18 15,35 19 1,-18 0-16,19-2 0,-18 19 0,17-17 16,-17 17-16,-1 0 0,19-18 15,-18 18-15,18 0 0,-19-17 0,18 17 0,-52 0 16,52 0-1,-18 0-15,19 0 0,-36 0 16,35 0-16,1 0 16,0 17-16,-19-17 0,-35 35 15,54-16-15,-18-2 16,-54 18 0,71-17-16,-52 34 15,52-33-15,1-2 0,0 1 0,-2-1 16,2 0-16,17 2 0,-18-19 15,18 35-15,-17-18 0,34 2 16</inkml:trace>
  <inkml:trace contextRef="#ctx0" brushRef="#br0" timeOffset="-202158.11">25409 12317 0,'159'0'0,"-142"0"0,18-18 15,36 18-15,-1-18 16,-16 18-16,-1-18 0,-1 1 16,-16 17-16,-1 0 0,53-17 15,-52-2-15,-2 2 0,2 17 16,-1-18-16,70-16 15,-69 15-15,-1 2 0,54-18 16,-54 16-16,-18 2 16,1 17-16,18-17 0,-19-1 0,36-35 15,-18 18-15,-16 17 16,-2-17-16,0 18 16,1-2-16,-1 2 0,-17-1 0,19 1 15,-19 0-15,0-2 0,17 2 0,-17-18 16,0 16-1,0 2-15,0 0 0,0-19 16,-17 18-16,17 1 16,0 0-16,-19-1 0,19 0 15,-17 0-15,17 1 0,-18-36 16,1 35 0,17 1-16,-17-2 15,17 2 1,-19 17-16,2-35 15,-1 18-15,1-2 16,-2 2-16,2 17 0,17-17 16,-17 17-16,17-18 0,-18 18 15,0-18-15,0 0 16,1 1-16,-18 0 16,17 17-16,0 0 15,-16 0-15,15-19 16,2 19-16,-1 0 0,1 0 0,-19 0 15,19 0-15,-1 0 0,1 19 0,-19-19 16,19 0-16,-19 0 16,1 0-16,18 0 0,-1 17 0,-18-17 15,19 0-15,-54 17 16,54-17-16,-19 18 16,19-18-16,-18 0 0,16 0 0,2 18 15,-18-18-15,17 0 0,0 18 0,1-18 16,-19 0-16,19 17 0,-1-17 15,-16 17-15,15-17 0,-16 0 0,18 19 16,-2-19-16,-15 17 0,16-17 0,1 0 16,-19 18-16,19-18 0,-1 17 15,-18-17-15,19 0 0,0 17 0,-19-17 16,18 19-16,1-19 0,-54 17 16,35-17-16,19 18 15,-18-18-15,17 17 0,0-17 0,-16 19 16,16-19-16,0 0 0,0 17 15,1-17-15,0 0 0,-2 0 0,-33 17 16,33-17 0,2 0-16,0 0 0,-1 0 15,1 18-15,-2-18 0,2 0 16,0 0-16,-1 0 0,0 0 0,0 0 16,-52 0-1,52 0-15,1 0 0,0 0 0,-2 0 16,-16 18-16,18-18 0,-2 0 15,-15 0-15,16 0 0,1 0 0,-19 0 16,19 0-16,-19 0 0,18 18 16,-16-18-16,15 0 0,2 0 0,-18 0 0,-1 17 15,1-17-15,18 17 16,-19-17-16,19 18 0,-1-18 16,-52 18-16,52 0 15,0-18-15,0 17 0,-16-17 0,15 0 16,2 17-16,-1-17 0,1 19 15,0-19-15,-2 17 0,2-17 16,-1 18-16,1-1 0,-2-17 0,19 19 16,-17-19-16,17 17 0,-17 0 15,-1-17-15,18 18 0,-18-1 16,18 2-16,-18-2 0,18 0 16,0 1-16,0 0 15,-17 17 1,17-18-16,0 2 0,0-2 0,0 1 0,0-1 15,0 0-15,17 2 16,-17 33 0,0-33-16,18-2 0,-18 0 0,18 1 15,-18-1-15,35 36 16,1-17 0,-19-36-16,1 18 15,-1-18-15,2 17 0,69 0 16,-54-17-16,2 0 0,70 0 15,-72 0 1,2 0-16,70 0 16,-70 0-16,-2 0 0,2 0 15,-18 0-15,16 0 0,2 0 0,-1-17 16,-18 17-16,73 0 16,-73 0-16,0 0 0,37-17 15,34 17 1,-71-18-16,19 18 15,-19 0-15,1 0 0,16 0 0,-15 0 16,-2 0-16,18-18 0,-16 18 0,-2 0 16,0 0-16,1 0 0,0 0 15,0 0-15,16 0 0,-16 0 0,0 0 16,0 0-16,-1-18 0,0 18 0,2 0 16,-2 0-16,1 0 0,18 0 15,-19 0-15,0 0 0,1-17 0,-1 17 16,2 0-16,-2 0 0,0 0 0,1 0 15,0 0-15,0 0 0,-1 0 16,0-17-16,2 17 0,-2 0 16,1 0-16,-1 0 15,0 0-15,2 0 16</inkml:trace>
  <inkml:trace contextRef="#ctx0" brushRef="#br0" timeOffset="-198450.42">28055 11363 0,'-54'71'0,"37"-71"0,17 19 15,-35 33-15,35-34 16,-18 0-16,18 34 15,0-34 1,0 0-16,0-1 0,0 0 0,18 19 16,0-18-16,-1-1 15,18 19 1,18-1-16,-36-35 0,37 17 16,-18-17-16,-19 0 15,18 0-15,53 0 16,-52 0-16,-2 0 0,-15 0 0,16-17 15,-18 17-15,19 0 0,-19 0 16,1 0-16,-1 0 0</inkml:trace>
  <inkml:trace contextRef="#ctx0" brushRef="#br0" timeOffset="-185812.15">6041 15562 0,'0'35'78,"0"-17"-78,0 0 0,0-1 16,0 0-16,0 19 0,0 106 31,0-37-31,0-52 0,0-1 15,0-16-15,-17 70 16,17-70-16,0-2 0,0 2 16,-19 35-16,19-36 0,0-1 0,0-15 15,0 33 1,-17-33-16,17 15 0,0-16 0,0 0 16,0 0-16,0-1 15,0 0 1,0-51 15,17 16-15</inkml:trace>
  <inkml:trace contextRef="#ctx0" brushRef="#br0" timeOffset="-184999.93">6059 15579 0,'-18'0'16,"1"18"0,-2 0-1,2 0 1,0-1-16,-18 36 15,16-35-15,2-1 16,0-17-16,17 19 0,-36 15 16,36-16-16,-18-18 0,1 17 15,0 19 1,-1-36-16,18 17 16,-18-17-1</inkml:trace>
  <inkml:trace contextRef="#ctx0" brushRef="#br0" timeOffset="-184746.33">5988 15597 0,'53'18'0,"-18"17"15,-16-35-15,-2 17 16,0-17-16,1 19 0,0-19 0,-18 17 0,18-17 16,-1 0-16,0 18 0,1-18 15</inkml:trace>
  <inkml:trace contextRef="#ctx0" brushRef="#br0" timeOffset="-183938.54">5971 15050 0,'-18'0'0,"1"19"16,17-2-16,-19-17 0,-15 53 16,16-35-16,0-1 0,0 0 15,18 1-15,-17 0 0,17 0 16,0-1-16,-17 0 0,17 2 0,0-2 16,0 1-16,17-1 15,-17 2-15,17-19 16,1 17-16,0-17 0,17 0 15,-18-17 1,2 17-16,-2-19 0,1 19 16,-1-17-16,0 17 15,2-18-15,-2 18 16,1 0 0,-1 18-1,-17-1 1,0 2-16,0-2 15,19 0-15,-19 1 16</inkml:trace>
  <inkml:trace contextRef="#ctx0" brushRef="#br0" timeOffset="-183588.13">6253 15069 0,'0'88'16,"0"-71"-16,0 0 0,0 1 0,18 0 15,-18 34-15,0-33 0,0-2 16,0 1-16,17-1 0,-17 2 15,0-2-15</inkml:trace>
  <inkml:trace contextRef="#ctx0" brushRef="#br0" timeOffset="-183330.23">6271 15421 0,'-18'0'16,"36"0"-16,-54-18 0,54 1 46,0 17-46,-18-17 0,17 17 0,0 0 16,19-36-16,-18 36 16,-1-18-1,2 18-15,-2 0 16,0 18 0,-17-1-16,18 19 31,-18-19-31,-18-17 0,36 18 15,-18-1-15</inkml:trace>
  <inkml:trace contextRef="#ctx0" brushRef="#br0" timeOffset="-182342.29">6676 15369 0,'17'0'312,"2"0"-296,-2 0-16,1 0 15,-1 0 1,2 17 0,-19 0-16,-19 18 15,19-16 1,-17-2-16,17 0 0,-18-17 0,18 18 15,-17 0-15,17 0 16,-19-18-16,19 17 31,19 0-31,-2-17 16,18 0 0,-16 0-16,-2 0 0,0 0 15,1-17-15,0 17 16,34-17-1</inkml:trace>
  <inkml:trace contextRef="#ctx0" brushRef="#br0" timeOffset="-182111.89">6976 15509 0,'0'-18'0,"-17"1"15,17 0 1,0 51 15,0-16-15,17-18 0,19 18-1,-1-36 1</inkml:trace>
  <inkml:trace contextRef="#ctx0" brushRef="#br0" timeOffset="-181586.29">8069 15650 0,'0'36'0,"0"-19"16,0 1-16,0-1 0,0 19 0,0-1 0,0 1 15,0-2-15,0 2 0,19-1 16,-19 18-16,0-1 0,0-16 16,0-1-16,0 1 0,0-1 0,0 18 15,0-36-15,0 1 0,0 0 16,0 0-16,0 16 16,0-15-1,0-2 1,17-17-1</inkml:trace>
  <inkml:trace contextRef="#ctx0" brushRef="#br0" timeOffset="-181033.66">7893 16214 0,'18'53'15,"-1"-17"-15,-17-18 16,0-1-16,0 0 0,19 2 0,-19 16 15,0-18-15,0 0 0,0 2 16,17-19-16,-17 17 0,0 1 16,0-1-16,17 2 15,1-19 1,0 0-16,0-19 16,-1 19-16,-17-17 0,36 17 0,-19-18 15,1 1-15,-1-2 0,0 19 16,2-17-16,-2 0 0,1-1 0,-1 1 15,2-2-15,-2 2 0,0 0 16,1 17 0,-18-18-16,18 18 15,0-18-15</inkml:trace>
  <inkml:trace contextRef="#ctx0" brushRef="#br0" timeOffset="-180172.24">8105 15069 0,'-17'34'0,"17"-16"0,0 0 0,0 34 16,0-16-1,-19-18-15,19-1 0,0 19 16,0-19-16,0 1 0,0-1 0,0 2 16,0-2-16,0 0 0,0 18 15,0-16-15,0-2 16,0 0-16,19-17 16,-38-17 15,-15-19-16,16 36-15,0-17 0,0 17 16,1-18-16,0 18 16,-19 18-16,1-18 15,18 17-15,-2 2 16,2-19-16,17 17 0,-18-17 16,18 17-16,0 1 0,18 0 15,-1-18 1,2 0-16,-2 0 15,18 0-15,-18 0 0,19-18 16,17 0-16,-18 18 0,1-17 16,-1 0-16,-1-2 15</inkml:trace>
  <inkml:trace contextRef="#ctx0" brushRef="#br0" timeOffset="-179844.32">8387 15386 0,'0'-36'0,"0"19"15,-18-1 1,18 1 15,-34 34-15,34 1-16,-18-1 31,18 2-31,0-2 16,0 0-16,18 1 0,-1-18 15,18 0 1,1 0-16,-19 0 15</inkml:trace>
  <inkml:trace contextRef="#ctx0" brushRef="#br0" timeOffset="-178877.25">8687 15279 0,'-35'-17'0,"18"34"16,-2-17-1,19 19-15,-17-19 0,-1 17 16,18 1-16,-17-18 0,17 17 16,-17 2-16,17-2 0,0 0 15,-19-17-15,19 18 16,19-1-1,-2-17-15,0-17 32,-17-1-32,18 18 15,-18-17-15,0 0 0,17 17 32,-17-19-32,19 55 31,-19-19-16,17-17 1,0 0 0,1 0-1,0 0-15,0 0 0,-18-17 16,17 17-16,0-17 16,1-19-1,0 18-15,-18 1 16,0-2-16,18 2 0,-18 0 15,0-1-15,0 0 0,0 0 16,0 1-16,0 0 0,0-1 0,17 0 16,-17 0-16,0 1 15,0 0-15,0-2 16,-17 55 15,17 17-15,0-35-16,0-1 15,0 18-15,0-17 0,0 0 16,0-1-16,0 0 0,0 2 0,17-2 16,-17 1-16,17-18 15,-17 17-15,19-17 16,-2 0-16,1 0 16,-1-17-16,2 17 15,-19-18-15,17 18 0,-17-17 16,17-2-16,-17 2 0,18 17 15,-18-17-15,0-1 0,17 0 0,-17 0 16,0 1-16,0 0 0,19-1 16,-19 0-16,0 0 15,0 1-15,0 52 47,0-17-31,0 0-16,0 16 15,0-16-15,0 0 16,17 0-16,0-1 16,1-17-1,35 0 1,-36-17 0,2 17-16,-19-18 0</inkml:trace>
  <inkml:trace contextRef="#ctx0" brushRef="#br0" timeOffset="-178700.4">8811 15209 0,'70'-18'0,"-52"18"15,-1-17-15,19 17 0,-19-17 0,18 17 16,-16 0-16</inkml:trace>
  <inkml:trace contextRef="#ctx0" brushRef="#br0" timeOffset="-178090.78">9304 15050 0,'19'36'31,"-19"-1"-31,17-17 0,-17 0 0,0 16 16,17 2-16,-17-18 15,0-1-15,0 0 0,0 19 16,0-18-1,0-1-15,18-69 47,-1-1-31,-17 35-16,0 0 0,19 0 0,-19 1 16,17 0-16,0-1 15,1 0-15,-18 0 0,18 1 0,0 17 16,-1-17-16,0 17 15,2 0-15</inkml:trace>
  <inkml:trace contextRef="#ctx0" brushRef="#br0" timeOffset="-177348.09">9745 15086 0,'-17'17'0,"34"-34"0,-51 52 16,15-17-16,2 0 16,17-1-16,-18 0 15,18 1 1,0 0-1,18 0-15,-1-18 16,2 0 0,-2-18-16,0 18 15,19 0 32,-36 18-31,18-18-16,-1 0 15,0 0 1,-17-18-16,18 18 0,-18-18 0,18 18 16,0-18-16,16-16 15,-34 16-15,19-35 16,-19 36-16,17-2 0,-17-16 16,0 18-16,0-2 0,0 2 15,18-18-15,-18 18 0,0-2 16,0 2-16,0 53 31,0-19-15,-18 1-16,18 16 0,0-15 0,0-2 15,0 18-15,0-16 16,0 33-16,18-34 0,-18 0 16,0-1-16,17 18 0,-17-17 15,36-18 1,-19 0-16,1 0 15,-1-18-15,2 0 16,-2 18 0,-17-17-16,17 17 15,1 17 1,0-17 0,0 0-16,-1 0 15,0 0-15,2 0 16,-2 0-16</inkml:trace>
  <inkml:trace contextRef="#ctx0" brushRef="#br0" timeOffset="-177143.23">9745 15033 0,'159'-54'0,"-71"37"15,-35 17 1,-35-17-16,18 17 0,-2-18 0</inkml:trace>
  <inkml:trace contextRef="#ctx0" brushRef="#br0" timeOffset="-174903.4">5283 14627 0,'17'18'15,"36"-18"-15,-18 0 0,72 0 16,34-18-16,-53 18 16,-17 0-16,34-17 0,-17 17 15,19-19-15,122 2 16,-124 17-16,19 0 0,-18-17 0,-1 17 15,124-18-15,-105 0 16,0 18-16,-1-18 0,1 18 16,-1 0-16,1-17 0,122 0 0,-122 17 15,-1 0-15,1 0 0,123-18 16,-1 0 0,-122 18-16,106 0 0,-106 0 15,-19 0-15,0-18 0,2 36 16,-19-18-16,105 0 0,-122 0 0,0 0 15,-1 0-15,72 18 16,-108-18-16,20 0 0,16 0 16,-35 18-16,18-18 15,-17 0-15,-18 0 0,-1 17 16,19-17-16,-19 17 16,1-17-16,-1 0 0,-17 18 15,17-18-15,-17 18 16,19-18-16,-2 18 31,-17-1-31,18 0 16,-18 2-16,0-2 15,0 18-15,0 1 0,0-19 16,0 54 0,0-18-16,0 70 0,0-70 0,0 71 15,0-54-15,0-17 0,0 0 16,-18 299 15,18-298-31,0 87 0,0-106 16,0 1-16,0 17 15,-17 16-15,17-33 0,0-18 16,0 18-16,0 16 0,0-35 16,0 2-16,-19-2 0,19 0 15,0 1-15,0 0 0,-17 0 0,0 16 16,-1-15-16,1-19 15,-2 17-15,2-17 0,0 18 16,-54-1-16,35 0 0,1 2 16,-35-19-16,16 17 0,2 1 15,-1-18-15,-140 36 16,103-19-16,2 0 0,0 1 0,-17-18 16,-72 36-16,71-36 15,18 17-15,-17 0 0,16-17 0,-17 18 16,1-18-16,-107 36 0,107-36 15,-125 17-15,124 0 16,-17-17-16,-106 19 16,105-19-16,18 17 0,0-17 0,0 0 15,-18 0-15,19 18 0,-2-18 16,2 0-16,0 0 0,-2-18 0,2 18 16,34 0-16,-34 0 0,34 0 0,-17 0 15,17-17-15,-17 17 0,18 0 16,-1-19-16,0 19 0,18-17 0,-18 17 15,19-17-15,-1 17 0,0 0 0,18-18 16,-1 18-16,1-18 0,18 18 16,-19 0-16,19-18 0,-19 18 15,18 0-15,1-17 0,0 17 0,-2-17 16,2 17-16,-1 0 0,18-18 0,-17 18 16,0-18-16,-2 0 15,2 1-15,17 0 16,-18 17-16,18-19 0,-17 2 15,17-1-15,-19 1 0,-33-90 16,52 55-16,-17 16 16,-2-17-16,2 1 0,0-1 15,-19-177-15,18-34 16,18 176 0,0 18-16,0-1 0,0 0 15,-17-53-15,17 72 0,0-1 16,0 0-16,0-1 0,0 20 0,0 16 15,0-18-15,-17 19 0,17-18 16,0 17-16,0 0 0,0 1 0,0 0 16,17-2-1,0 2-15,1 17 0,0-18 16</inkml:trace>
  <inkml:trace contextRef="#ctx0" brushRef="#br0" timeOffset="-173698.86">11156 15103 0,'0'18'0,"-17"0"0,17 17 16,0-18-16,0 19 0,0-1 15,0 1-15,0 16 0,0 1 16,0 1-16,0-2 0,0 1 0,0 0 16,0-1-16,0 2 0,0-1 15,0-1-15,0-16 0,0-1 0,0 1 16,0-19-16,-18 19 0,18-19 0,0 18 16,0-18-16,0 2 0,0-2 15,0 1-15,0-1 16,0 2-16,0-2 15</inkml:trace>
  <inkml:trace contextRef="#ctx0" brushRef="#br0" timeOffset="-173315.73">11016 15791 0,'0'-17'16,"-19"17"-16,38 35 31,-19 18-15,17-36-16,-17 1 0,0 18 15,0-19-15,0 0 0,18 2 16,-18-2-16,0 18 0,0-18 16,17 2-16,-17-2 0,0 1 15,17-18-15,-17 17 16,19-17-16,-2-17 16,1-1-16,-1 18 0,2-17 15,-2-2-15,0 2 0,1 0 0,18-18 16,-19 35-16,0-19 0,19-15 15,-18 16-15,-1 18 0,0-18 16,2 18-16,-2-18 16</inkml:trace>
  <inkml:trace contextRef="#ctx0" brushRef="#br0" timeOffset="-167972.92">10680 14574 0,'177'-17'16,"-142"17"-16,18 0 0,-18 0 0,36 0 15,-18 0-15,-18 0 16,18 0-16,-18 0 0,1 0 0,16-18 0,1 18 16,-17 18-16,-19-18 15,1 0-15,35 0 0,-36 0 16,1 0-16,-18 17 0,17-17 16,2 36-16,-19-19 15,17 1-15,-17-1 0,0 19 0,0-19 16,0 18-16,0 36 0,0-35 15,0-2-15,0 20 0,0 16 16,-17-35-16,17 89 0,0-71 16,0-1-16,-19 55 15,19-36-15,0 34 0,0-52 16,0-1-16,0 2 0,0 16 16,0 36-16,0-70 0,0 17 15,0-18-15,0-1 0,0 2 0,0 52 16,0-53-1,0-16-15,0 15 0,-17-16 16,17 35-16,0-17 0,0-19 16,0 1-16,0-1 0,0 0 0,-18 2 0,18-2 15,0 1-15,0-1 16,-17 2-16,17-2 0,-17 0 16,-2 1-16,19 0 0,-17-18 15,-1 18-15,1-18 0,-2 0 16,2 17-16,-18-17 0,17 17 0,-17-17 15,-18 0-15,18 0 0,-1 18 0,1-18 16,-18 0-16,-18 0 16,19-18-16,16 18 0,-34 0 0,18 0 15,-2-17-15,18 17 0,-52 0 16,54-17-16,-20 17 0,20 0 16,-2 0-16,18 0 0,-16-18 15,15 18-15,2 0 0,-1 0 0,1 0 16,-2-18-1</inkml:trace>
  <inkml:trace contextRef="#ctx0" brushRef="#br0" timeOffset="-156930.16">13097 15209 0,'0'194'15,"0"-140"-15,0-2 0,0 18 0,0 108 16,-18-109 0,18-16-16,0 18 0,0-18 0,0-1 15,-18 2-15,18-18 0,0 69 16,0-88-16,0 1 15,0 0-15,0 0 0,0-1 0,0 0 16,0 2-16</inkml:trace>
  <inkml:trace contextRef="#ctx0" brushRef="#br0" timeOffset="-156521.48">13115 15279 0,'-54'54'0,"37"-54"16,0 53-16,-2-36 15,2 1-15,-1 18 0,1-19 0,0 18 16,-2-17-16,2 0 0,17-1 0,-18 0 16,1 1-16,17 0 0,-19-18 15,19 18-15,0-1 0,-17-17 16</inkml:trace>
  <inkml:trace contextRef="#ctx0" brushRef="#br0" timeOffset="-156265.39">13168 15245 0,'35'0'0,"-70"0"0,70 17 0,-18-17 15,0 17-15,2-17 0,-2 19 16,1-2-16,-1 1 0,2-18 0,-2 17 16,0-17-16</inkml:trace>
  <inkml:trace contextRef="#ctx0" brushRef="#br0" timeOffset="-155182.52">13044 14591 0,'0'-17'15,"0"0"-15,0-1 16,-17 18-1,-19 0-15,1 0 16,18 0-16,-2 18 16,-16-18-16,18 17 0,-19 0 15,-17 2-15,35-2 0,1 1 16,0-18-16,-1 17 0,18 2 16,-18-19-16,18 17 0,18 0 15,0 1-15,-1-18 0,0 17 16,1-17-16,0 19 0,17-19 15,-18 0-15,19 17 0,-18-17 0,-1 17 16,2-17-16,15 18 0,-16 0 16,-1-18-16,-17 18 0,19-1 15,-19 0-15,-19 2 16,2-2-16,-1 1 0,1-18 16,0 17-16,-2 0 0,-16 2 0,18-19 15,-19 17-15,19-17 0,-1 18 16,0-18-16,0 0 0,1 0 0,0 0 15,-1 0-15,0 0 16,18-18 0</inkml:trace>
  <inkml:trace contextRef="#ctx0" brushRef="#br0" timeOffset="-154674.58">13149 14627 0,'0'35'16,"0"-16"-1,0-2-15,0 18 16,-17 35-16,17-34 16,0-18-16,0 16 0,0-15 0,-17-2 15,17 18-15,0-18 0,0 2 16,0-2-16,0 1 0,-18-1 16,18 2-16,0-2 15,18-53 16,16-16-15,-34 16 0,19 19-16,-19-1 0,17 1 0,1-2 15,-18 2-15,17 0 16,0 17-16,2-18 16,-2 36-1,-17-1 1,0 0-1,0 2-15,0-2 16,0 1-16,-17-18 16,17 17-16</inkml:trace>
  <inkml:trace contextRef="#ctx0" brushRef="#br0" timeOffset="-154099.02">13397 14874 0,'18'-53'0,"-18"35"15,-18 54 32,36-1-31,-1-18-1,18-17 1,-17 0 0,0 0-16,-1 0 0,0-17 0,2 17 15,-2-17-15,1 17 16,-1-18-1,2 18 1,-19 18-16,17-1 16,-17 0-1,0 2 1,35-19 15,-35-19-31,17 19 0,2-17 16,-19 0-16,17-1 0,0 0 0,1-17 15,0 18-15,-18-2 16,18 2-16,-18 53 31,0-19-31,0 0 16,0 37 0,0-37-16,0 0 0,0 2 15,0-2-15,0 1 0,17-1 16,0 0-16,1-17 0</inkml:trace>
  <inkml:trace contextRef="#ctx0" brushRef="#br0" timeOffset="-153500.43">14896 15491 0,'0'18'0,"0"18"16,0 16-1,0-16-15,0 17 0,0 18 0,0-19 0,0 18 16,0-16-16,0 16 0,0-18 16,0 2-16,0-1 0,0-1 15,-17-16-15,17-1 0,0-17 0,0 17 0,0-18 16,0 2-16,0-2 0,0 1 16</inkml:trace>
  <inkml:trace contextRef="#ctx0" brushRef="#br0" timeOffset="-152426.34">14913 15491 0,'-34'36'16,"16"-18"-16,0-1 0,-17 18 15,35-17-15,-17 0 16,-2-1-16,2 0 0,17 2 15,-18-2-15,1 1 0,-19 18 16,36-19-16</inkml:trace>
  <inkml:trace contextRef="#ctx0" brushRef="#br0" timeOffset="-152233.37">14879 15597 0,'17'18'0,"-17"0"0,17-1 16,1 0-16,0 2 16,0-2-16,-1 1 15,0-1-15</inkml:trace>
  <inkml:trace contextRef="#ctx0" brushRef="#br0" timeOffset="57598.86">20664 16321 0,'-36'34'16,"36"-15"-16,-17-2 0,-1 18 16,-35 36-1,36-18-15,-1-18 0,-18 1 0,19 16 0,0-16 16,-1-2-16,1 2 0,-2-1 0,2 1 15,0-19-15,-19 37 16,18-37-16,1 0 0,0 1 16,17 0-16,-19-18 0</inkml:trace>
  <inkml:trace contextRef="#ctx0" brushRef="#br0" timeOffset="58259.79">20469 16285 0,'-34'0'15,"16"0"32,1 0-31,17 18-1,-19-18 1,19 18-16,-17-18 0,17 17 16,-17 0-16,-1 19 15,0-36-15,18 18 16,0-1-16,-18-17 0,18 17 15,0 2 1,18-19 15,0-19-31,0 19 16,-1-17-16,36 0 16,-35 17-16,-1-18 0,0 18 15,19 0-15,-18-17 0,18 17 0,-19 0 16,18 0-16,-18 17 0,19-17 15,-19 18-15,1-18 0,18 17 16,-19 0-16,0-17 0,2 19 0,-2-2 16,1-17-16,-1 18 0,19-1 15,-19 2-15,1-2 0,-1-17 16,-17 17-16,19-17 16,-2 18-16,0-18 15</inkml:trace>
  <inkml:trace contextRef="#ctx0" brushRef="#br0" timeOffset="59259.02">24703 16479 0,'0'-17'0,"-18"52"31,18-18-31,-17 19 0,0 35 16,-2-19-16,2-16 0,-1 17 0,1-1 16,0-16-16,-2 16 0,2-16 15,-1-1-15,18 1 0,-36 34 16,36-52-16,0-1 0,-17 0 16,17 2-16,-17-2 15,-1 1-15</inkml:trace>
  <inkml:trace contextRef="#ctx0" brushRef="#br0" timeOffset="62204.73">24703 16585 0,'89'0'0,"-54"0"0,-1-18 16,37 18-16,0 0 0,-1-17 0,72 17 15,-54-17-15,0 17 16,1 0-16,16-19 0,-17 19 0,0-17 15,0-1-15,0 18 0,-17-17 0,18 17 16,17-19-16,-18 19 0,0-17 16,18 17-16,0-17 0,-1 17 0,2-18 15,-19 18-15,17-17 0,-17 17 0,19 0 16,-37 0-16,18-19 16,71 19-16,-88 0 0,-1-17 0,-18 17 15,2 0-15,-18 0 0,-2-17 16,-16 17-16,18 0 0,-19 0 15,0 0-15,1-18 0,0 18 0,0 0 16,-1-18-16,0 18 0,1 0 16,-18-18-16,18 18 15,0 0 1,-1 0 0,-17 36-1,0-18-15,0-1 16,0 0-16,0 2 0,0 16 0,17-18 15,-17 19-15,0-19 16,0 18-16,0-16 0,0 15 0,0-16 16,0 18-16,0-19 0,0 0 0,0 19 15,0-18-15,-17-1 0,17 0 16,0 2-16,0-2 0,-17-17 0,17 18 16,-18-1-16,0 2 0,0-2 0,1-17 15,-18 17-15,17 1 16,-17-18-16,18 17 0,-19-17 0,-16 19 0,-55-2 15,36-17-15,1 17 16,-36-17-16,1 18 0,-19-18 0,0 0 16,1 18-16,-142-18 0,89 18 15,0-18-15,-1 17 0,37-17 0,-38 17 16,37-17-16,18 0 16,-18 19-16,17-19 0,1 17 0,-89-17 15,107 18-15,34-18 0,1 0 16,16 17-16,-16-17 0,18 0 15,16 0-15,18 0 0,1 0 0,-19 0 16,19 0-16,-1 0 16</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01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55 18,'-7'2,"0"-1,1 2,-1-2,2 2,-2-1,2 1,-2 0,2 1,-1-2,0 2,0 0,2 2,-1-2,0 1,1-1,0 1,0 1,0-1,0 2,-3 5,2-3,-1-1,2 1,-1-1,1 2,1-1,1 0,-1 2,0-2,2 1,0 0,-1 0,1 0,2 10,-1-16,2 0,-1-1,-1 1,1 0,2-1,-2 1,1-2,-1 1,2 1,-2-1,2-1,-1 1,1 0,0-1,-1 1,1 0,0-2,-1 2,8 2,-4-2,1-1,0 0,-1 0,1 0,0-1,-1 0,2-1,-1 2,0-2,9-2,-8 2,0-1,0 1,0-1,0-2,-2 2,2-2,-1 0,1 1,-1-2,1 1,-2-1,1 0,-2-1,2 1,0-2,-2 1,0 0,1-2,7-10,-10 11,-1 1,1 0,-2-2,2 2,-2-1,1 0,-2-1,1 2,-1-2,0 2,0-2,0 2,-1-2,1 0,-2 2,1-2,0 2,-2 0,0-2,2 2,-2-1,-5-6,2 3,-1 0,0 1,-1 0,0 0,0 1,-1-1,1 1,-1 1,-1 0,0 1,-12-6,0 2</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445"/>
    </inkml:context>
    <inkml:brush xml:id="br0">
      <inkml:brushProperty name="width" value="0.05" units="cm"/>
      <inkml:brushProperty name="height" value="0.05" units="cm"/>
      <inkml:brushProperty name="color" value="#E71224"/>
      <inkml:brushProperty name="ignorePressure" value="1"/>
    </inkml:brush>
  </inkml:definitions>
  <inkml:trace contextRef="#ctx0" brushRef="#br0">48 45,'-12'53,"11"-47,-2-1,2 0,-1 1,1-1,0 0,1 1,-2-1,2 0,0 1,0-1,2 10,0-10,0-1,-1 1,2-1,-1 2,1-2,0 0,-1 0,1 0,1 0,0 0,-1 0,1-2,0 2,0-1,0 0,1-1,-1 1,7 2,-9-3,0-2,0 1,0-1,0 1,1-1,-2 2,2-2,0 0,-2 0,2 0,-1 0,1 0,-2 0,2-2,0 2,-2-1,2 1,-2-1,2 1,-1-2,0 1,0 0,0-1,-1 1,2 0,-2-1,0 1,2 0,-2-1,1 0,-1 0,0 1,1-2,-1 2,-1-2,1 2,1-2,-2 2,1-2,-1 1,1 0,-1-3,2 0,-1-1,0 0,-1 0,2 1,-2 0,0-1,0 0,-2 0,2 1,-1 0,0-1,-1 0,1 0,-2 1,2 1,-2-1,1-1,-1 1,0 1,-1-1,2 1,-8-7,1 3,1 0,-1 0,-2 1,2 1,-2-1,0 2,1-1,-1 1,-16-4,6 2</inkml:trace>
</inkml:ink>
</file>

<file path=ppt/ink/ink62.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28:27.679"/>
    </inkml:context>
    <inkml:brush xml:id="br0">
      <inkml:brushProperty name="width" value="0.05292" units="cm"/>
      <inkml:brushProperty name="height" value="0.05292" units="cm"/>
      <inkml:brushProperty name="color" value="#0070C0"/>
    </inkml:brush>
  </inkml:definitions>
  <inkml:trace contextRef="#ctx0" brushRef="#br0">4864 5922 0,'317'0'0,"-228"0"15,-19 0-15,0 0 0,54 0 16,-53 0-16,0 0 15,17 0-15,-18 0 0,89 18 16,-71-18-16,0 0 0,0 0 16,0 0-16,89 17 0,-89-17 15,0 19-15,88-19 0,-105 17 16,17-17-16,-17 0 0,-1 17 16,89-17-16,-88 18 0,35-18 15,-35 18-15,17-18 0,-17 18 16,-1-18-16,18 0 0,52 17 15,-69-17-15,0 0 0,-1 17 16,-16-17-16,16 0 0,1 0 0,-19 19 16,19-19-16,-18 0 0,18 0 15,17 17-15,-35-17 0,70 18 16,-70-18-16,-17 0 16,16 0-16,19 0 0,35 17 15,-36-17-15,36 0 0,17 17 16,-70-17-16,18 0 15,-36 0-15,54 19 0,-37-19 16,1 0-16,1 17 0,-20-17 16,54 0-16,-17 18 0,-18-18 15,1 0-15,51 17 0,-52-17 16,18 0-16,-19 0 0,1 19 16,1-19-16,51 0 0,-52 0 15,-1 17-15,19-17 0,53 0 16,-71 17-16,-1-17 15,19 0-15,-18 0 0,18 18 16,-19-18-16,55 0 0,-73 0 16,20 17-16,-1-17 0,-1 0 0,1 0 15,18 0-15,53 19 0,-72-19 16,19 0-16,-18 17 0,71-17 16,-55 0-16,-15 17 0,-1-17 15,18 18-15,-37-18 0,20 0 0,-1 0 16,35 18-16,0-18 15,-53 18-15,1-18 0,-2 0 16,2 0-16,-1 17 16,-18-17-16,2 0 0,33 0 0,-35 0 15,2 0 1</inkml:trace>
  <inkml:trace contextRef="#ctx0" brushRef="#br0" timeOffset="1153.9">17141 5834 0,'88'18'0,"-71"-18"16,19 0-16,-1 17 0,1-17 0,52 0 16,35 19-16,-70-19 15,18 17-15,-18-17 0,16 0 16,55 0-16,0 0 0,-53 0 16,-2-17-16,-15 17 15,70 0-15,-2-19 16,2-16-16,-70 35 0,-2-17 15,37-19-15,-37 19 16,-16-19-16,-1 18 0,1 1 16,-19 0-16,36-37 0,-18 37 15,0-54-15,-17 37 0,0 15 16,-1-52-16,-17 37 16,0-2-16,17 1 0,-34 0 0,17-18 15,0 0-15,-17-1 0,-37-104 16,20 106-16,-2-2 0,1 1 15,-53-52-15,17 69 16,18 1-16,-18 0 0,1-1 16,-18 2-16,17 15 0,0 2 0,-87-18 15,87 18-15,-17 17 0,-53 0 16,70 0-16,0 17 16,-87 0-16,87 1 0,-17-1 15,17 2-15,-17-2 0,-53 36 16,72-35-16,-38 34 15,72-16-15,-18-19 0,0 19 16,-18 16-16,36-16 0,-1-1 0,19 1 16,-18 16-1,18 18-15,17-51 0,0 16 16,0 35-16,0-35 0,17 18 16,18 18-16,-35-36 15</inkml:trace>
  <inkml:trace contextRef="#ctx0" brushRef="#br0" timeOffset="3703.17">16717 5305 0,'36'35'0,"-36"-17"15,0 0-15,0 16 16,0-15-16,17-2 0,-17 18 0,0-16 16,18 15-16,-18-16 0,17 18 0,-17-2 15,19-16-15,-2 18 0,0-2 16,19 20-16,-18-37 16,34 36-16,-34-35 15,0-1-15,-1 2 16,0-19-16,2 17 0,16 0 0,-18-17 15,2 0-15,-2 0 16</inkml:trace>
  <inkml:trace contextRef="#ctx0" brushRef="#br0" timeOffset="4612.89">19733 5446 0,'-17'0'0,"70"0"16,-36 0-16,1 0 15,18 0-15,-19 0 0,18 0 16,18 0-16,-17 0 15,-1 0-15,1 0 0,-2 0 0,20 0 16,-20 0-16,-16 0 16,0-17-16,0 17 0,-1 0 0,0 0 15</inkml:trace>
  <inkml:trace contextRef="#ctx0" brushRef="#br0" timeOffset="4947.89">19892 5252 0,'-18'-18'16,"1"36"-1,-18 18 1,-18 16-16,17-16 15,1-2-15,18-15 0,-19 16 0,19-18 16,-1 19-16,1-19 0,-2 18 16,19-16-16,-17 15 0,17-16 15,0 0-15,0 0 16,17-1-16,2-17 0,-19 17 16,17-17-16,1 18 0,-1-18 0,2 0 15,15 0-15,-16 18 0,35-18 16,-18 0-16,-17-18 0,17 18 15,18 0-15,-35 0 0</inkml:trace>
  <inkml:trace contextRef="#ctx0" brushRef="#br0" timeOffset="6923.81">3417 7933 0,'141'0'16,"-70"-17"-16,-18 17 0,18 0 0,88-18 16,-71 0-16,88 0 15,-70 1-15,-18 17 0,-17-17 16,0-1-16,-1 18 0,0-18 16,36 18-16,-52 0 0,15 0 15,-50 0-15,-2 18 0,0-18 16</inkml:trace>
  <inkml:trace contextRef="#ctx0" brushRef="#br0" timeOffset="7116.64">3524 8374 0,'193'-36'15,"-16"19"-15,-89-18 16,106 17-16,-88 0 0,-18 1 16,0 0-16,106-19 0,-105 18 15,-18 18-15,17-17 16</inkml:trace>
  <inkml:trace contextRef="#ctx0" brushRef="#br0" timeOffset="8035.96">4353 10261 0,'88'-17'16,"0"-1"-16,-35 1 16,-1 17-16,19-19 0,88 2 15,70-35 1,-88 33-16,-87 19 0,-2-17 16,1 17-16,-17-17 0,-1 17 15,1 0-15</inkml:trace>
  <inkml:trace contextRef="#ctx0" brushRef="#br0" timeOffset="8221.52">4458 10402 0,'-17'18'0,"34"-36"0,1 36 15,18-36-15,52 18 0,-18-17 16,1 17-16,17-17 0,105-19 15,-86 36-15,-2-18 16,-17 1-16,90 17 0,-109 0 16,2 0-16,-1 0 0</inkml:trace>
  <inkml:trace contextRef="#ctx0" brushRef="#br0" timeOffset="8806.39">3788 12025 0,'70'-17'16,"37"-1"-16,-55 1 15,36 17-15,1-19 0,17 2 16,-18 0-16,88-19 0,-88 18 16,1 1-16,-18 17 0,-19 0 15,18-17-15,-16 17 0,51-18 16,-52 18-16</inkml:trace>
  <inkml:trace contextRef="#ctx0" brushRef="#br0" timeOffset="9020.85">4053 12308 0,'176'-54'16,"-105"37"-16,17 0 16,158-37-16,-87 20 15,-88 15-15,70 2 16,-70-1-16,-18 18 0,-1-17 16,19 17-16</inkml:trace>
  <inkml:trace contextRef="#ctx0" brushRef="#br0" timeOffset="10474.04">6540 7528 0,'88'-18'0,"36"0"16,52 0-16,-106 18 15,125 0-15,-107 0 0,17 0 16,1 0-16,106 18 0,-106-18 16,17 0-16,-18 0 0,2 18 15,-19-18-15,17 0 0,-34 0 0,17 0 16,-17 0-16,-1 18 0,-16-18 15,-20 0-15,20 0 0,-18 0 0,-19 0 16,18 0-16,-17 0 0,0 0 0,-1 0 16</inkml:trace>
  <inkml:trace contextRef="#ctx0" brushRef="#br0" timeOffset="10774.03">8250 7157 0,'18'0'0,"71"0"16,-54 0-16,35 0 0,-16 17 15,16 2-15,89 33 16,-88-35-16,69 37 0,-70-18 15,-16-2-15,-1 1 0,-1 1 0,-16-1 16,-1 1-16,1 52 16,-19-54-16,0 56 0,-17-2 15,-17-36-15,0-16 16,17 17-16,-18-18 0,0-1 16,0 20-16,18-37 0,-17 2 15</inkml:trace>
  <inkml:trace contextRef="#ctx0" brushRef="#br0" timeOffset="16373.58">3965 4722 0,'-19'90'16,"19"-73"-16,19 0 15,-19 18-15,0-16 0,0 15 0,0 54 16,17-17-16,-17-18 0,0 1 15,18 16-15,-18-18 0,17 2 16,0 16-16,-17-16 0,36 51 16,-18-52-16,-1-1 0,-17-16 0,19-1 15,-2 18-15,18 35 16,-17-53-16,0 1 16,-1-1-16,-17-17 15,17 17-15,1-18 0,-18 19 16,18-18-1,0-1 1,-1 0-16,0-17 16,2 0-1,-2 0 1,1 0-16,-1 0 0,2 0 0,15-17 16,37 17-16,-54 0 15,37-17-15,-20 17 16,2 0-16,35 0 0,-19-18 0,89 18 15,-70-17-15,0 17 0,-1 0 16,89 0-16,-88 0 16,70 0-16,-53 0 0,0 0 0,0 0 15,0 0-15,141 17 16,-141-17-16,71 0 16,36 0-16,-19 0 15,-88 18-15,-18-18 16,160 0-1,-89 0-15,-70 0 0,70 0 16,-70 0-16,70 17 16,-70-17-16,-1 0 0,0 0 15,71 0-15,0 0 16,-87 17-16,16-17 0,-18 0 16,72 19-16,-89-19 0,18 0 15,54 0-15,-72 17 16,18-17-16,35 0 0,-35 0 15,53 0-15,16 0 16,-51 0-16,-18 0 0,18 0 16,-18 0-16,89 0 0,-20 0 15,-68 0-15,51 0 16,-34 0-16,-18 0 0,18 0 16,-1 0-16,53 0 0,-52 0 15,70 0-15,-70 0 16,70 0-16,-70 0 15,69 0-15,-70 0 0,72 0 16,-1 0-16,-70 0 16,-1 0-16,1 0 15,70 0-15,211 0 32,-210 0-32,-89 0 15,70 0-15,-17 0 0,0 0 16,-53 0-1,35 0-15,-35 0 0,53 0 16,18 0-16,-72 0 16,18 0-16,-16 0 0,16-17 15,53 17-15,1 0 16,0-19-16,-1 19 16,-70 0-16,18 0 0,34 0 15,-52 0-15,53-17 16,-36 17-16,18 0 15,19 0-15,-19-17 16,0 17-16,0 0 16,0-18-16,-52 18 15,35 0-15,-37 0 16,37 0-16,34 0 16,-34-17-16,-35 17 15,16 0-15,19-19 16,-18 19-16,-17 0 15,-19 0-15,18 0 0,53-17 16,-35 17 0,-17 0-16,16 0 0,19-17 15,-54 17-15,19 0 16,-18 0-16,52-18 16,1 18-1,-36-18-15,-17 18 16,52 0-16,0-18 15,-51 18-15,33-17 16,-16 17-16,16-17 16,1 17-16,-17-19 15,-18 19-15,16-17 16,-15-1-16,16 1 16,-1 0-16,2-2 15,-1 2-15,-16-1 16,-2 1-16,0-2 15,1 19-15,-18-17 0,36 0 16,-36-1-16,17 0 0,0 18 16,-17-18-16,18 1 15,-18 0-15,18-1 0,-18 0 16,18 18-16,-18-18 0,0 1 0,17 17 16,0-36-16,2 1 15,-19 1 1,17 15-16,-17 2 0,0-1 15,18-18-15,-18 19 16,17-36-16,-17 18 16,0 0-16,0 17 15,0-17-15,0-1 0,0 19 16,0-1-16,0 1 0,-17-19 16,17 1-16,0 18 15,-18-19-15,1 19 0,-2-19 16,2 1-16,0 18 15,17-2-15,-18-16 16,0 35-16,0-34 0,1 15 16,0 2-16,-2-1 15,-16-18-15,18 19 16,0 0-16,-2 17 0,-16-36 16,18 18-16,-36-16 15,18 34-15,16-18 0,-33-18 16,-1 19-16,0 0 15,1-19-15,16 36 16,18-18-16,-35 1 16,0 0-16,-17-2 15,34 2-15,2 17 0,-20-18 16,-104-35-16,52 36 16,36-1-16,-37 0 15,19 0-15,53 1 16,-1 17-16,-17-17 0,-87-1 15,104 0-15,-17 0 0,-53 1 16,36 17-16,18-17 16,-196-19-1,72 18-15,-18-18 0,105 19 16,-16 17-16,17-17 16,-71-1-16,71 18 0,-124-36 15,159 36 1,-89-17-16,72 17 0,-70 0 15,69-17-15,0 17 16,-17 0-16,18 0 0,-1 0 0,-17-18 16,-53 18-16,-18-18 15,88 18-15,1 0 0,-89 0 16,88 0-16,-17 0 0,18-18 16,-1 18-16,0 0 0,1 0 15,-1 18-15,0-18 0,19 0 16,-18 0-16,-72 0 0,18 0 15,54 0-15,18 0 0,-2 0 16,1 0-16,18 0 0,-18 0 0,18 0 16,-18 0-16,18 0 0,-18 0 0,0 0 15,-1 0-15,-15 0 0,-55 0 16,53 0-16,18 0 0,-18 0 16,1 18-16,0-18 0,-54 0 15,0 0-15,72 18 16,-18-18-16,-37 17 15,2-17-15,51 0 0,20 17 16,-2-17-16,-16 0 16,16 0-16,-70 19 0,53-19 15,1 17-15,16-17 0,-17 0 0,-35 18 16,-18-18-16,53 17 16,0-17-16,1 17 0,16-17 0,-52 0 15,34 19-15,-34-19 16,54 17-16,-20-17 0,2 0 15,-1 18-15,-35-18 0,17 17 16,-35 2-16,54-19 16,-19 17-16,18-17 0,-1 0 15,2 17-15,-54-17 0,18 0 16,53 0-16,-1 18 16,-16-18-16,16 0 0,-17 0 0,-17 0 15,34 0-15,2 0 0,-2 0 16,1 0-16,-1 0 0,-52 0 15,0 0 1,0 0-16,0 0 0,52 0 16,-16 0-16,-37 0 15,18 0-15,2 0 16,33 0-16,18 0 0,-18 0 16,-16 18-16,16-18 0,2 0 0,-2 0 15,-16 0-15,-55 18 16,72-1-16,-1-17 0,2 0 15,-20 17-15,20-17 16,-2 18-16,-35 0 16,54-18-16,-18 18 0,16-18 0,-15 17 15,-20 0 1,37 2-16,-18-19 0,-1 17 16,19 1-16,-19-18 0,19 17 15,-1-17-15,-16 19 16,15-2-16,-33 0 0,33 1 15,-15-1-15,16-17 0,0 19 16,-34-2-16,16 18 16,18-35-16,-16 36 15,15-36-15,2 17 16,-1-17-16,18 17 0,-17-17 0,-19 18 16,19 0-16,17 0 0,-18-18 15,1 17-15,17 0 16,-19-17-1,2 19-15,17-2 32,-17-17-17,17 18-15,-18-18 0,18 17 16,-18 2 0,18-2-1,-18-17 1,1 0-1,17 17-15,-17-17 16,-1 0 0,0 18-1,0-18-15,1 17 0,0-17 16,-2 0 0,2 19-16,-1-19 15,1 0-15,17 17 0,-19-17 16,2 0-1,0 0-15,17 17 16,-18-17-16,1 0 0,-2 18 31</inkml:trace>
  <inkml:trace contextRef="#ctx0" brushRef="#br0" timeOffset="48236.7">10844 7650 0,'34'0'0,"-34"-17"0,19 17 15,-2 0-15</inkml:trace>
  <inkml:trace contextRef="#ctx0" brushRef="#br0" timeOffset="49017.08">10738 7122 0,'88'0'15,"-176"0"-15,194 0 0,-89 0 0,0 18 16,2-1-16,-2 0 16,-17 2-16,0 33 15,0-35-15,0 2 0,-17-2 16,-19 37 0,19-37-16,-1 0 15,18 1-15,-18-18 0,0 17 0,18 2 16,-17-19-1,34 17 1,19 0-16,-18 1 16,16 0-1,-15-18-15,-2 18 0,1-1 0,-18 0 16,36 19-16,-36-18 16,17-1-16,-17 0 0,0 2 15,-36 33 1,36-33-16,-52 15 15,16-16-15,19-18 0,-1 18 16,-52-18 0,16 18-16,37-18 0,0 0 15,-2 0-15,2-18 0,-1 18 16,1-18 0</inkml:trace>
  <inkml:trace contextRef="#ctx0" brushRef="#br0" timeOffset="49474.62">11266 7281 0,'-34'-19'0,"-37"19"0,54 0 0,-1 0 0,0 19 15,0-19-15,-35 35 16,36-18-16,-1 2 0,1-2 16,17 0-1,17 18-15,1-35 16,-1 19-16,19-19 15,-19-19-15,54 2 16,-35 17-16,-19-18 0,1 18 16,-1-17-16,0 17 0,2-17 15,16 17-15,1 0 16,-19 34 0,-17-16-16,0-1 0,0 54 15,0-53 1,0 17-16,0-18 0,0 19 0,0-18 15,0-1-15,-17 19 0,17-19 0,0 37 16,0-37 0,0 0-16</inkml:trace>
  <inkml:trace contextRef="#ctx0" brushRef="#br0" timeOffset="49645.54">11708 7562 0,'0'-17'15,"-18"0"17</inkml:trace>
  <inkml:trace contextRef="#ctx0" brushRef="#br0" timeOffset="50345.8">11973 7228 0,'17'34'0,"-17"-15"0,0-2 16,0 1-16,0 35 16,18-36-16,-18 18 0,0-16 0,0-2 15,0 18-15,-18-17 0,18 17 16,0-18-16,-17 2 0,17-2 0,-19 1 16,19-1-16,-17 0 0,0 2 15,17-2-15,-18-17 16,36-36 15,-1 19-31,-17 0 0,17-1 16,2 1-16,-2-2 0,1-15 0,18-54 15,-19 69 1,-17-16-16,0 18 0,0-19 0,0 19 16,-17-1-16,17-18 0,-19 2 15,2 16-15,-1 1 16,1 17-16,-2 0 15,2 17-15,0-17 16,17 18-16,0-1 0,-18-17 16,18 17-16,0 2 0</inkml:trace>
  <inkml:trace contextRef="#ctx0" brushRef="#br0" timeOffset="50600.69">12642 7404 0,'-17'0'16,"0"0"-16,-37 17 0,37 2 15,-107 51 1,72-18-16,-19-16 0,18-1 0,0 1 15,1-1-15,-36 53 16,52-70-16,1 17 0,16 0 0,-15-17 16,16 0-16,18-1 0,-18-17 15</inkml:trace>
  <inkml:trace contextRef="#ctx0" brushRef="#br0" timeOffset="50800.57">12661 7474 0,'-53'36'0,"-18"16"16,35-16-16,-123 70 16,107-70-16,-1 16 15,0-16-15,1 16 0,16-34 0,-16 17 16,16 1-16,1-1 0</inkml:trace>
  <inkml:trace contextRef="#ctx0" brushRef="#br0" timeOffset="52364.58">12730 6945 0,'-34'-88'15,"16"53"-15,-18-1 0,19 2 16,-36-20-16,1 20 0,-2-20 0,1 18 16,-18-16-16,19 16 0,-18 2 15,-1-2-15,-17 1 0,0-1 0,-124 1 16,105 18-16,2 17 0,0 0 16,-19 0-16,-123 17 0,106 18 15,35 1-15,0-1 0,18 1 16,-106 86-16,36 20 15,104-72-15,1 18 0,1-17 16,-1 0-16,17 17 0,1 1 16,18-1-16,-2 71 0,55-1 15,-19-70-15,19-17 0,16 17 16,36-17-16,124 87 16,-88-104-16,-1 16 0,1-18 0,35-16 15,-1-1-15,-16 1 0,16-1 0,1-18 16,-35 2-16,17-19 15,123 0-15,-140-19 0,-18 19 16,18-17-16,-19-18 0,-17 16 0,17-15 16,2-20-16,86-51 0,-122 52 15,53-70-15,-71 34 16,-1-51-16,-34 50 0,-18 2 16,-18 18-16,-16-18 0,-2 0 15,-35-18-15,-105-71 0,71 108 16,-19-2-16,1 0 0,-37 18 0,-121-35 15,122 71-15,0-19 16,35 18-16,0 18 0,2-17 16,-2 34-16,-106-17 0,125 18 0,17-1 15,-19 19-15</inkml:trace>
  <inkml:trace contextRef="#ctx0" brushRef="#br0" timeOffset="53397.84">6081 9768 0,'71'0'0,"-37"-18"0,37 18 0,-18-18 16,53 0-16,0-16 0,0 16 15,35-18-15,159-34 16,35-1-16,-177 36 0,20-1 0,-2 2 16,-18-2-16,177-34 15,-194 52-15,89-34 0,-106 33 16,-19 2-16,0-1 0,-15 1 0,50-19 16,-87 36-16</inkml:trace>
  <inkml:trace contextRef="#ctx0" brushRef="#br0" timeOffset="53653.84">8850 8992 0,'71'17'0,"0"19"0,-37-19 16,20 1-16,-20 16 16,37 37-16,-52-18 0,15-17 15,-16 70-15,-18-53 0,-18-1 16,1 19-16,0-1 0,-19-16 16,-18 16-16,2 1 0,-18-19 0,-1 19 15,0-18-15</inkml:trace>
  <inkml:trace contextRef="#ctx0" brushRef="#br0" timeOffset="54116.59">6364 11408 0,'493'-247'0,"-369"194"0,-1-18 16,-17 19-16,36-19 0,122-35 0,0 0 15,-140 53-15,-19 18 16,-16-18-16,-1 18 0,71-18 16,-54 0-16,-69 35 0,-18 1 15,16 0-15</inkml:trace>
  <inkml:trace contextRef="#ctx0" brushRef="#br0" timeOffset="54385.57">7845 10173 0,'71'0'0,"-18"0"16,-18 0-16,-1 17 0,37-17 0,0 19 16,-18-19-16,18 17 0,-18 1 0,18-1 15,17 36-15,-36-17 16,-16-1-16,-19-18 0,0 19 0,2-1 15,-19 1-15,0-1 0,-19 18 16,-33 35-16,-37 17 16,54-51-16,-18-20 0,1 20 15,-1-18-15,-1-19 0,20 18 0,-73 18 16,55-36-16,-1-17 16</inkml:trace>
  <inkml:trace contextRef="#ctx0" brushRef="#br0" timeOffset="55649.25">4034 7792 0,'142'18'16,"-106"-18"-16,-2 18 0,20-18 16,16 17-16,36-17 15,0 17-15,-18-17 16,18-17-16,-53 17 0,18 0 16,-19-17-16,18-1 0,-16 0 15,51-17-15,2-1 16,-19-16-16,-54 16 0,20 19 15,-18-18-15,16-36 16,1 1-16,-18 34 16,-17 1-16,0-1 0,-1-35 15,-17-51-15,0 68 16,0 1-16,-53-123 16,-18 53-16,36 70 15,-53-54-15,-18 38 16,0-2-16,-35 18 15,70 36-15,-105-19 16,-300 36 0,194 70-1,194-52-15,-71 71 16,106-37-16,-18 1 0,-34 71 16,17 16-16,52-69 15,-16 88 1,33-70-16,19 70 0,19 70 15,33-89-15,37-16 16,-54-71 0,89 35-16,-2-17 15,-15-36-15,-38-18 16,-15-17-16,34 0 0,0 0 16</inkml:trace>
  <inkml:trace contextRef="#ctx0" brushRef="#br0" timeOffset="58508.66">17422 4688 0,'-34'-71'0,"34"54"16,-18-1-16,18 0 0,-17 0 16,-2-16-16,2 15 15,-18-16-15,17 1 0,0 15 16,-35-33-16,-35-1 16,36 35-16,16-18 0,-35 2 15,-122-54-15,105 52 16,-53-35-16,53 36 15,-2 18-15,2-19 0,0 1 16,-105-18-16,-2 0 16,90 35-16,17-16 0,-19 15 15,-15-16-15,-90-18 0,105 36 16,-228-71 0,230 70-16,-124-35 0,-1 17 15,124 1-15,-124 1 16,108-2-16,-108 1 0,124 16 15,-17 2-15,-106-36 16,123 35-16,-18 1 0,0 0 0,19-1 16,-124 0-16,-1-17 15,125 18-15,-143-2 16,143 2-16,-19-1 0,-106 1 16,125-2-16,-19 19 0,1 0 15,-106-17-15,0 0 16,123-1-16,-18 18 0,19 0 15,-143-17-15,143 17 0,-125-19 16,1 2-16,124 17 16,-19 0-16,-106-17 15,-16 17-15,-1 0 16,123-18-16,19 18 0,-19 0 16,-106 0-16,1-18 15,124 18-15,-19 0 0,18 0 16,-247 18-16,248-18 15,-2 0-15,-104 18 16,105-18-16,0 0 0,-106 17 16,0 0-16,107 2 15,-88-2-15,-19 1 16,-88 35-16,212-36 16,-107 18-16,107-16 15,-159 33 1,177-34-16,-18 0 0,-124 52 15,141-52-15,-34 35 16,-2-1-16,19 1 16,-53 35-1,106-70-15,-18 52 16,1-16-16,33-20 0,2-15 16,-1-2-16,-18 37 0,19-2 15,0 18 1,-1-52-16,0 35 0,-17 0 15,18-18-15,-1 1 0,-35 35 16,36-37-16,-37 37 16,1-18-16,18-18 15,-1 36-15,-16-1 16,-1 1-16,18 17 16,-1 0-1,19-17-15,0-1 16,-2 18-16,19 19 15,0-72 1,0 18-16,19 35 0,-19-35 16,52 87-16,-34-104 15,0-1-15,-1 18 0,36 18 16,18 34 0,-19-51-16,19-1 15,-54-18-15,36 18 16,-35-36-16,18 18 0,34 18 15,-52-35-15,52 52 16,-16-34-16,-2 16 16,-35-33-16,2-2 15,15 18-15,2-16 0,16 50 16,-33-50 0,-2-2-16,18 18 15,-18-17 1,2 0-16,-2-18 15,-17 17-15,18-17 16,-18 17-16,17-17 16,2 0-16,-2 0 31</inkml:trace>
  <inkml:trace contextRef="#ctx0" brushRef="#br0" timeOffset="58910.59">3753 6222 0,'53'35'32,"-53"-16"-32,18 15 15,16-16-15,-16 35 16,0-36-16,-18 19 15,0-18-15,0-1 16,-36 19-16,19-19 16,-54 35-16,-17 2 15,18-1-15,-18-18 16,-19 35 0,90-52-16,-35 18 15,16-19-15</inkml:trace>
  <inkml:trace contextRef="#ctx0" brushRef="#br0" timeOffset="66469.03">23173 7069 0,'-17'-17'0,"-1"17"0,0 17 15,0-17 1,1 17-16,0 1 0,-90 123 16,90-105-16,-18 52 15,16-53-15,2-18 16,17 19-16,0-1 0,-17-17 0,17 0 16,0-1-16,17 0 0,-17 2 0,17-2 15,-17 1-15,19-1 16,16-17-16,1 0 0,-2 0 15,-16 0-15,18-17 0,-2-1 0,-16 1 16,18 17-16,-19-36 0,0 19 16,19-19-16,-18 18 0,-1-16 0,-17-2 15,17 18-15,-17-16 0,0-2 0,0 1 16,0 16-16,-17-15 16,17 16-16,-17-18 0,17 19 0,-18 0 0,1-1 15,17 0-15,-19 0 0,2 1 16,0 17-16,-1 0 0,0 0 15,0 0-15,1 0 16,0 17-16,-1-17 0,0 18 16,18 0-16</inkml:trace>
  <inkml:trace contextRef="#ctx0" brushRef="#br0" timeOffset="70100.7">23420 7245 0,'-18'17'16,"18"2"-16,0-2 15,-17 1 1,17-1-16,0 2 0,0-2 0,17 0 15,-17 1-15,0-1 0,0 2 16,18-19-16,-18 17 0,18 0 0,0 1 16,-1-18-16,0 0 15,19 0-15,-1-18 16,-18 18-16,2-17 16,16 0-16,-35-2 15,17 2-15,2-1 0,-2-35 16,0 36-16,-17-1 15,0 1-15,0-2 16,0 2-16,-17 17 16</inkml:trace>
  <inkml:trace contextRef="#ctx0" brushRef="#br0" timeOffset="70334.7">23897 7016 0,'17'17'31,"-17"2"-31,0 51 16,-17-35-16,17-18 15,0 19-15,0-1 0,0-18 0,0 19 16,0-18-16,0 70 15,0-71-15,0 2 0,0-2 0,0 0 16,0 1-16</inkml:trace>
  <inkml:trace contextRef="#ctx0" brushRef="#br0" timeOffset="70597.94">23720 7369 0,'53'0'31,"0"-17"0,-18 17-31,-18-19 0,2 19 0,16 0 16,-18-17-16</inkml:trace>
  <inkml:trace contextRef="#ctx0" brushRef="#br0" timeOffset="70802.14">24178 7104 0,'18'-18'0,"-18"1"15,0 0 1,0-2-16,0 72 31,0-35-15,-18 52-1,18-16-15,0-37 0,0 19 16,0-19-16,0 18 0,0-16 16,0-2-16,0 35 15,18-33-15,-18 15 16,0-16-16</inkml:trace>
  <inkml:trace contextRef="#ctx0" brushRef="#br0" timeOffset="71000.73">24444 7333 0,'17'19'46,"-17"15"-30,0 1 0,0-16-16,17-2 0,-17 0 15,0 1-15,0 0 16</inkml:trace>
  <inkml:trace contextRef="#ctx0" brushRef="#br0" timeOffset="71159.52">24514 7210 0,'0'-17'0,"0"34"16,18-34-1</inkml:trace>
  <inkml:trace contextRef="#ctx0" brushRef="#br0" timeOffset="71765.64">24796 7333 0,'0'-17'0,"-18"-1"31,1 18-31,-19 35 31,19-16-31,17-2 16,0 0-16,-18-17 0,18 18 0,0-1 15,0 2-15,0-2 0,18-17 16,-18 17-16,0 1 0,17-18 0,2 18 16,-2-18-16,-17 18 15,17-18-15,18 0 0,-16-18 16,-2 18-16,0-18 0,1 18 16,0-18-16,0 1 0,-1 0 15,0-2 1,1 2-16,0-1 0,0 18 15,-1 0 1,0 0 0,-17 18-16,0-1 0,19 2 15,-19-2 1,0 0-16,0 1 0,0 0 16,0 0-1,17-54 16,-17 18-15,18 18 0,-1-34-16,-17 15 0,19 19 15,-2-17-15,0 17 16,1-18-16,-1 18 16</inkml:trace>
  <inkml:trace contextRef="#ctx0" brushRef="#br0" timeOffset="72306.94">25132 8074 0,'-19'18'16,"2"-18"-16,17 17 0,-18 2 15,18-2-15,-17 0 0,17 1 0,0 0 16,-19 0-16,19-1 0,-17 36 15,17-35-15,0-1 0,0 0 16,0 2-16,0-2 0,17 1 16,2-1-16,-2-17 15,-17 19-15,18-19 0,18 0 16,-19 0-16,35 17 0,-16-17 16,-19 0-16,19 0 15,-18 0-15,16 0 0,-15-17 0,16 17 0,-18 0 16,0 0-16,2 0 0</inkml:trace>
  <inkml:trace contextRef="#ctx0" brushRef="#br0" timeOffset="72570.44">25501 8198 0,'19'18'16,"15"-18"-16,-87-18 0,142 53 16,-71-18-16,16 1 0,-16-18 0,0 18 15,0 17-15,-1-18 0,0 2 16,-17-2-16,19 18 0,-19-16 16,0-2-16,-19 18 0,2-18 0,0 19 15,-1-1-15,-18-17 16,19 17-16,0-18 0,-1 2 0,0-2 0,0 1 15,18-1-15,-17-17 0</inkml:trace>
  <inkml:trace contextRef="#ctx0" brushRef="#br0" timeOffset="73099.16">26648 7950 0,'-18'36'16,"1"-1"-16,17-18 0,-17 19 16,-2-1-16,2 1 0,17-1 15,-35 53-15,35-52 0,0-2 16,-19 20-16,19-18 0,0-19 16,0 18-16,0-18 0,0 19 15,19-19-15,-2 19 0,-17-18 16,18-1-16,-1-17 0,2 17 0,-2-17 15,0 0-15,1 0 16,-1 0-16,2 0 0,-2-17 16,0 17-16,-17-17 0</inkml:trace>
  <inkml:trace contextRef="#ctx0" brushRef="#br0" timeOffset="73285.45">26366 8374 0,'-18'0'0,"54"-17"16,17-2-1,-36 19 1,18 0-16,-18 0 16,2 0-16,-2 0 0,1 0 15,-1 0-15,2 0 0</inkml:trace>
  <inkml:trace contextRef="#ctx0" brushRef="#br0" timeOffset="73577.14">26736 8286 0,'0'0'0,"18"0"15,0 18 1,16 16 0,-15-34-1,-19 19-15,17-2 0,-17 1 0,18-1 16,-18 2-16,0-2 0,0 0 15,0 1-15,0-1 16,17 2 0,-17-55 15,17 18-15,2 1-16,-19 0 15,17-2-15,1 2 16,18-1-16,-19 18 0,0-17 15,19 17-15</inkml:trace>
  <inkml:trace contextRef="#ctx0" brushRef="#br0" timeOffset="73913.87">27301 8480 0,'0'-35'15,"17"18"1,-17-2-16,0 2 16,0-1-1,-17 18-15,0 0 16,-2 18-1,2-1-15,17 2 16,-18-19-16,18 17 0,0 0 0,0 1 16,0-1-1,18 2-15,-1-2 16,2-17-16,-2 17 0,0-17 0,1 0 16,-1 0-16,19 0 15,-1 0-15,1 0 0</inkml:trace>
  <inkml:trace contextRef="#ctx0" brushRef="#br0" timeOffset="74493.28">27794 8428 0,'-17'-19'0,"0"19"15,-2 0-15,2 0 16,-1 0 0,1 19-16,0-19 15,-2 17-15,2 0 16,17 1 0,0-1-16,0 2 15,17-19 1,2 0-16,-2 0 15,0-19 1,1 19-16,-1 0 16,2 0-1,-2 0-15,0 0 32,1 0-32,0 0 0,0 0 0,-1 0 15,0-17-15,2 17 0,-2-18 16,1 18-16,-18-17 0,17 0 15,0-2-15,2 2 0,-2-1 0,1 1 16,-18-2-16,17-15 0,2-2 0,-19 18 16,17-16-16,0 16 0,-17 0 15,18-17-15,-18 18 0,0-2 16,18 19-16,-36 36 31,0-1-15,18-17-16,0 0 0,0-1 0,0 36 15,0-35-15,0-1 0,0 0 16,0 2-16,0-2 16,18 1-16,-18-1 15,18-17-15,0 0 16</inkml:trace>
  <inkml:trace contextRef="#ctx0" brushRef="#br0" timeOffset="74707.97">27901 8304 0,'35'-18'16,"-18"18"0,0 0-16,2 0 0,16 0 0,-18-18 15,19 18-15,-1 0 0,18 0 16,-36 0-16,19 0 0,-18 0 15,-1 0-15,0 0 0,2 0 16</inkml:trace>
  <inkml:trace contextRef="#ctx0" brushRef="#br0" timeOffset="75050.17">26296 8938 0,'246'-34'16,"-104"16"-16,-72 18 15,18 0-15,18-18 0,-36 18 0,18 0 16,71 0-16,-88 0 0,-1-18 16,1 18-16,-18 0 0,-18 0 15,1 0-15,16 0 0,-16 18 16,-19-18-16</inkml:trace>
  <inkml:trace contextRef="#ctx0" brushRef="#br0" timeOffset="75331.42">26560 9133 0,'124'0'0,"-2"-19"16,108 19 0,-160 0-16,72-17 15,-89 17-15,-1-17 0,-16 17 0,-1 0 16,1 0-16,-19 0 0,19 0 15,-19 0-15,1 0 0,-1 0 0,0-18 16,2 18-16</inkml:trace>
  <inkml:trace contextRef="#ctx0" brushRef="#br0" timeOffset="78297.92">26101 10014 0,'36'18'31,"-19"0"-31,1 0 16,-18-1-16,17 0 0,-17 2 15,0-2-15,19 1 0,-19-1 16,-19 19-16,19-19 0,0 1 16,0-1-16,0 2 0,-17-2 15,17 0-15,17-51 47,2-20-31,-2 18-16,18 2 0,-18 16 15,2-18-15,-2 36 0,18-34 16,-17 16-16,17 0 16,-18 18-16,2 0 15,-2 18-15</inkml:trace>
  <inkml:trace contextRef="#ctx0" brushRef="#br0" timeOffset="78597.46">26577 10244 0,'19'-35'0,"-19"16"15,-19 73-15,38-125 16,-38 71 0,-16 36 15,35-19-31,0 1 0,-17-18 0,17 17 16,0 2-16,0-2 0,0 0 15,0 1-15,17 0 16,1 0-16,-1-18 15,-17 17-15,19-17 0,-2 0 16,0 0-16,1 0 0,-1 0 16,2 0-16</inkml:trace>
  <inkml:trace contextRef="#ctx0" brushRef="#br0" timeOffset="79117.1">26825 10190 0,'0'-17'16,"0"53"31,0-19-32,0 1-15,0-1 16,0 2-16,0-2 15,0 0 1,35-34 15,-18 0-15,0 17 15,2 0-15,-19 17-1,17-17-15,1 17 16,-1 1 15,2-36 1,15 18-17,-16 0 1,0 0-1,0 0 1,-1 0 0,0 0-1</inkml:trace>
  <inkml:trace contextRef="#ctx0" brushRef="#br0" timeOffset="79428.14">27318 10209 0,'0'35'47,"0"-18"-47,0 2 0,18-19 16,-18 17-16,17 0 15,19 19-15,-19-36 16,1 18-16,0-18 0,0 0 15,-1 0-15,0 0 16,-17-18-16,0 0 16,0 0-1,0 1-15,-17 0 0,0-2 16,17 2-16,-18-1 16,0 18-16,-17 0 15</inkml:trace>
  <inkml:trace contextRef="#ctx0" brushRef="#br0" timeOffset="80051.32">27812 10209 0,'36'17'31,"-36"1"-31,17 18 16,-17-19 0,17-17-16,-17 17 0,0 1 15,19-18-15,-19 18 0,17 0 0,-17-1 32,18-17-32,16 0 15,-15-17 1,-2-1-1,1 0-15,-18 0 0,17 1 16,2 17-16,-19-17 16,17 17-1,0 0 1,-17 17 0,18-17-16,0 0 15,0 0-15,-1-17 16,0 17-16,1-19 0,0 19 0,0 0 15,-18-17 1,17 17-16,0 0 16,-17 17 15,19 2-15,-19-2-1,0 0 1</inkml:trace>
  <inkml:trace contextRef="#ctx0" brushRef="#br0" timeOffset="80670.06">26701 10720 0,'193'36'15,"-139"-36"-15,16 17 0,1 0 0,0 1 16,17-18-16,88 18 15,-70-18-15,-35 0 0,34 0 0,107 0 16,-106-18-16,0 18 0,-18-18 16,18 1-16,-18 0 0,-18-1 15,18 0-15,-17 0 0,-18-16 0,18 15 16,34-50-16,2-2 16,-72 35-16,-1-17 0,2 18 15,-18-18-15,-1 18 0,19-18 16,-19-70-16,-17 70 0,0-1 0,0-16 15,-17-1-15,-19 0 0,-16 1 16,-1 18-16,-18-2 0,-141-68 16,-52 32-16,123 56 15,-18 16-15,18 0 0,-194-17 16,176 35-16,-18 0 0,-175 35 16,176-17-16,-195 53 15,194-36-15,1 18 16,-176 70-16,33 18 0,161-70 15,18-1-15,16 1 0,0 0 16,-35 70-16,124-89 0,18-16 16,17 17-16,0-1 0,52 2 15,1-1-15,18-1 0,52 1 0,1 1 16,34-2-16,1 1 0,18 0 16,17-18-16,211 53 0,-210-52 15,-2-19-15,-16 1 0,-1-1 16</inkml:trace>
  <inkml:trace contextRef="#ctx0" brushRef="#br0" timeOffset="81956.64">26506 11690 0,'0'-17'16,"-17"69"-1,17-33-15,0-2 0,-17 0 16,17 1-16,0 18 0,-18-2 0,18-16 16,0 18-16,0-2 0,-17-15 0,17 16 15,0-18-15,17 2 0,-17-2 16,0 18-16,0-18 0,18 2 0,-1-2 16,19 0-1,-19 1-15,1-18 0,-1 0 0,2 0 16,-19 18-16,17-18 0,0-18 0,1 18 15,-1 0-15,2-18 16</inkml:trace>
  <inkml:trace contextRef="#ctx0" brushRef="#br0" timeOffset="82146">26366 11937 0,'-18'0'15,"71"-17"1,-36 17-16,54 0 16,-35 0-16,-19-18 15,18 18-15,1 0 0,-19 0 0,18 0 16,1 0-16,-19 0 0,19 0 16,-18 0-16,-1 0 0,0 18 0</inkml:trace>
  <inkml:trace contextRef="#ctx0" brushRef="#br0" timeOffset="82483.39">26860 11920 0,'34'17'31,"-34"0"-16,0 2-15,19-2 0,-19 18 16,-19-16-16,19 15 16,0-16-16,0-1 0,-17 2 15,17-2-15,0 0 16,17-51 15,2 15-15,16-16-1,18 1-15,-36 15 16,37 2 0,-20 17-16,-16 0 15</inkml:trace>
  <inkml:trace contextRef="#ctx0" brushRef="#br0" timeOffset="83441.09">27213 12132 0,'-19'-36'0,"38"18"0,-19 1 16,0 0-16,17 17 16,-17-19-16,0 2 15,-36 34 16,19 19-15,17-19 0,0 1-16,0-1 0,0 2 15,0-2-15,17-17 16,2 17-16,-2-17 0,18 18 16,-16-18-16,-2 0 0,18 0 15,-18 0-15,36-18 0,-17 18 16,-18 0-16,16-17 0,-15 17 0,-2 0 15,1-17-15,-1-2 16,0 19-16,-17-17 16,0-1-16,-17 18 15,-18 0 17,18 18-17,17-1 1,17 2 15,-17-2-31,18-17 16,-1 0-16,0 0 31,2 0-31,-2 0 0,1 0 0,-1-17 16,2-2-16,-2 19 15,-17-17-15,17-1 16,1 1-16,-18 0 15,17 17-15,-17-19 0,19 2 16,-19-1 0,17 1-16,-34 52 47,17 1-32,-19-19 1,19 0-16,0 18 15,19-35-15,-19 19 0,17-2 16,0-17 0,1 0-16,0 0 15,0 0-15,-1 0 0,0 0 0,2-17 16,-2 17-16,1-19 0,-1 2 16,0-1-16,2-16 0,-2 15 0,37-52 15,-37 37-15,-17-2 16,17 18-16,1-16 15,0-2-15,-18 18 0,0 1 16,-18 52 15,18-17-31,0 0 0,-18-1 0,1 36 16,17-1 0,0-33-16,0-2 0,0 18 15,0 1-15,17-19 0,-17 1 16,18-1-16,0-17 15</inkml:trace>
  <inkml:trace contextRef="#ctx0" brushRef="#br0" timeOffset="83655.32">28060 11902 0,'-19'0'16,"72"0"0,-35-18-16,0 18 0,17 0 15,-18 0-15,19 0 0,-18 0 16,16 0-16,2-18 0,-18 18 0,52 0 16,-35 0-16,1 0 0,-19 0 0</inkml:trace>
  <inkml:trace contextRef="#ctx0" brushRef="#br0" timeOffset="84987.39">24690 10402 0,'-70'-17'15,"34"17"-15,1 0 0,0 0 0,-35 0 16,-72 0-16,54 17 16,-18-17-16,-17 18 0,16-18 0,2 18 15,0 0-15,-2-1 0,2 0 0,-19 2 16,18-2-16,0-17 0,0 18 15,1-1-15,-2 2 0,19-19 16,-53 17-16,70-17 0,37 0 16,-20-17-16,37 17 0,-18 0 15,17 0-15,0 0 0</inkml:trace>
  <inkml:trace contextRef="#ctx0" brushRef="#br0" timeOffset="85275.27">22502 10138 0,'-122'88'15,"86"-53"-15,-35 36 0,36-35 16,-18 16-16,36-16 0,-18 17 0,-18 18 15,53-37-15,-18 1 16,18 1-16,0-19 0,18 19 16,-1-1-16,19-18 0,-1 19 0,18-18 0,-1 16 15,1-34-15,18 19 0,0-19 16,17 17-16,0-17 0,106-17 16,-123 17-16,17-19 0,0 2 15</inkml:trace>
  <inkml:trace contextRef="#ctx0" brushRef="#br0" timeOffset="86531.25">18481 10597 0,'-53'17'0,"35"-17"15,1 0-15,-18 18 16,17-1-16,0 2 0,1-2 16,17 0-16,0 1 0,0 0 15,17 0-15,-17-1 0,36 54 16,-18-54-16,-1 0 16,0 2-16,1-2 0,0 1 15,0 18-15,-18-19 0,17 0 16,-17 1-16,0-1 15,-17 2-15,-1-2 0,0-17 16,0 17-16,1-17 16,-36 18-16,35-18 0,1 0 15,0 18-15,-2-18 0,2 0 0,-1 0 16,1 0-16,-2-18 0,2 18 16,0 0-16,17-18 15</inkml:trace>
  <inkml:trace contextRef="#ctx0" brushRef="#br0" timeOffset="87016.95">18781 10490 0,'0'-17'16,"17"53"15,-17-19-31,0 1 0,0 35 16,0-36-1,0 18-15,0 1 0,0-19 16,-17 1-16,17 18 0,0-19 0,0 18 16,0 1-16,0-2 15,0 2-15,0-18 0,0-1 16,0 2-16,0-2 15,0 0-15,0 1 0,0-1 32,0 2-17,0-2 32</inkml:trace>
  <inkml:trace contextRef="#ctx0" brushRef="#br0" timeOffset="90736.95">18710 10808 0,'36'-18'15,"-18"18"-15,-1 0 0,0-17 0,2 17 0,-2 0 16,1 0-16,-1-17 0,0 17 16,2 0-16,-2 0 0,18 0 0,-16 0 15,-2 0-15,0-18 0</inkml:trace>
  <inkml:trace contextRef="#ctx0" brushRef="#br0" timeOffset="91141.17">19240 10720 0,'-35'-18'16,"16"18"-1,2 18-15,0 0 16,-1-18-16,18 18 0,-18-1 0,0 18 16,1-35-1,17 18 1,35-18 0,-17-18-1,0 18 1,-1-18-16,0 36 31,2 0-15,-2 0-16,-17-1 0,0 0 15,0 2-15,0-2 0,18-17 16,-18 18-16,0-1 16,17-17-16</inkml:trace>
  <inkml:trace contextRef="#ctx0" brushRef="#br0" timeOffset="91370.87">19416 10544 0,'0'-18'16,"-18"53"15,18-16-31,0 69 15,-17-36 1,17-16-16,-17-2 0,17 2 0,-19-18 16,19 35-16,0-36 15,-17 1-15,17-1 0,0 2 0,0-2 16</inkml:trace>
  <inkml:trace contextRef="#ctx0" brushRef="#br0" timeOffset="91651.81">19716 10668 0,'-18'0'0,"1"0"0,0 17 16,-2-17-16,2 0 0,-1 17 0,1 1 15,-2 0 1,2 0-16,0-1 0,17 0 15,0 1 1,17 18 0,0-36-1,19 17 1,-18-17 0,-1 0-16,2 0 0,-2 0 15</inkml:trace>
  <inkml:trace contextRef="#ctx0" brushRef="#br0" timeOffset="91925.77">19945 10808 0,'0'-18'15,"0"1"1,0 52-16,0-87 0,-17 52 15,-19 0 1,18 34 0,18-16-16,0 0 15,0 0-15,0-1 0,0 0 16,0 2-16,18-2 0,0 1 0,-18-1 16,18 2-16,-1-19 0,0 0 15,2 0-15,-2 17 0,18-17 16</inkml:trace>
  <inkml:trace contextRef="#ctx0" brushRef="#br0" timeOffset="92468.17">19257 11496 0,'300'-52'16,"-212"33"-16,0-16 0,71-18 15,-89 18-15,72-53 16,-1 18-16,-36-18 15,-69 52-15,52-87 16,-70 87-16,0-17 0,0-53 16,-18 53-16,0-16 15,-18-2-15,0-18 0,-17 19 0,18-19 16,-37 18-16,1 2 0,1-2 16,-19 1-16,-123-37 0,88 55 15,-123 16-15,105 19 0,1 17 16,-1 17-16,-34 19 0,-1-1 15,0 1-15,-123 69 0,140-52 16,20-1-16,-2 19 0,0 17 16,18-17-16,1 17 0,-72 72 15,89-72-15,36-18 0,-38 106 16,73-105-16,-18 17 0,35 0 16,-17-35-16,34 18 0,1 0 15,16-2-15,2-16 0,18 1 0,104 34 16,-52-54-16,-1-15 0,19-2 15,0-17-15,16-17 0,1 17 16,18-19-16,0 2 0,-18-18 0,142-35 16</inkml:trace>
  <inkml:trace contextRef="#ctx0" brushRef="#br0" timeOffset="94065.83">20174 10509 0,'-17'35'31,"0"1"-15,17-19-16,0 35 15,0-33-15,-19 15 0,19-16 0,0 0 16,0 0-16,-17-1 0,17 0 16,0 1-16,0 0 0,0 0 15,0-1-15,-18-17 0,18 17 16,18-51 15,-1 34-15,-17-18-16,19 18 0,-2-18 15,0 18-15,1 0 16,0 18-16,0-18 16,-1 18-16,-17-1 15,17-17-15,2 17 16,-2-17-1</inkml:trace>
  <inkml:trace contextRef="#ctx0" brushRef="#br0" timeOffset="94353.75">20457 10738 0,'0'-18'15,"0"36"-15,-17 0 31,-2-18-15,38 17-16,-19 0 0,0 1 16,17-18-16,0 18 15,1-18 1,18-18-16,-2 0 16,-34 1-1,0 0 1,0-1-16,-17 18 15,17-18-15,-17 18 0,-1 0 0,0 0 16,0 0-16,1 0 16,0 0-16,-2-18 0</inkml:trace>
  <inkml:trace contextRef="#ctx0" brushRef="#br0" timeOffset="94579.05">20580 10438 0,'18'18'15,"0"70"1,-1-71-16,-17 2 16,0 15-16,0 54 15,0-70-15,0 18 0,0-19 16,0 18-16,17 1 15,-17-19-15,0 0 0,0 2 0,0-2 16</inkml:trace>
  <inkml:trace contextRef="#ctx0" brushRef="#br0" timeOffset="95235.33">20916 10473 0,'-18'36'16,"18"-19"-16,0 18 15,-18-16-15,18 15 16,0 37 0,0-54-16,18 1 0,-18 0 15,0 0-15,0-1 16,18-17-16,-18 17 15,-18-34 32,-18 17-31,19 0-16,17 17 16,-17-17-16,-19 36 15,36-18 1,0-1-16,0 0 15,17-17 1,-17 19-16,36-19 16,-1 0-16,-17-19 15,0 19-15,-1-17 16,0 0-16,1-1 16,0 0-1,0 0 16,-1 36-15,-17 0 0,17-18-1,-17 18-15,0-1 16,36-34 31,-36-1-32,18 18-15,-18-18 0,0 0 16,17 18-16,2-17 16</inkml:trace>
  <inkml:trace contextRef="#ctx0" brushRef="#br0" timeOffset="96113.5">21357 10702 0,'-19'18'15,"19"0"1,0 0 0,0 16-16,0-16 15,-17 0-15,17 0 16,0-1-16,0 0 0,-17-17 15,17 19-15,-18-19 16,18 17-16,-18-17 0,18 18 0,-18-18 16,1 17-16,-19 2 0,19-19 15,-1 17-15,-16 0 0</inkml:trace>
  <inkml:trace contextRef="#ctx0" brushRef="#br0" timeOffset="96676.61">20333 11320 0,'53'0'16,"-18"0"0,54 0-1,-54 0-15,0 0 0,18 0 16,-17 0-16,16 0 0,1 0 0,18-18 15,-18 18-15,-1-17 0,19 17 16,-18-19-16,53-15 0,0 16 16,-71-18-16,1 36 0,16-34 15,-16 16-15,-19 0 16,18 0-16,-16-16 0,15 15 0,-16-16 16,-1 1-16,2-2 0,15-52 15,-34 34-15,18 20 0,-18-20 16,18-16-16,-18 18 0,-18-2 0,18-16 15,-18 16-15,-35-87 0,18 70 16,1 19-16,-20-18 0,1 16 16,-88-51-16,70 69 0,-17-16 15,0 16-15,17 19 0,-17-19 16,-105 18-16,86 1 0,-86 34 16,105 1-16,-107 35 15,90-17-15,16-1 16,-87 70-16,88-52 0,17 1 0,0 16 15,19 1-15,-54 70 0,71-71 16,-1 19-16,19-18 16,-18 87-16,16-88 0,19 0 0,0 1 15,19 53-15,-2-71 16,1-1-16,-1 2 0,0-1 16,19-1-16,35 19 0,-36-35 15,1-19-15,-2 0 0,-16 1 0,18-18 16,-19 18-16</inkml:trace>
  <inkml:trace contextRef="#ctx0" brushRef="#br0" timeOffset="99446.12">26665 12501 0,'19'36'16,"15"-36"0,-16 17-16,52 1 0,160 18 31,-160-36-31,-16 17 0,158-17 15,-160 0-15,18 0 16,-16-17-16,70 17 0,-72-18 16,1 0-16,18 18 0,-18-18 15,-1 1-15,1 0 0,1 17 0,-2-19 16,1 2-16,0-1 0,-1 1 16,-16 0-16,35-2 0,34-33 15,-87 33-15,18 19 16,-2-17-16,2-18 0,16-1 15,-33 2-15,33-37 16,-16 18-16,-36 18 16,17-1-16,-17 1 0,18-1 15,-36-52-15,1 36 0,-19-37 16,-52 1-16,-35 0 16,53 53-16,-89-54 15,52 54-15,19 1 0,-353-73 16,194 72-1,142 35-15,-2-17 16,-122 34-16,124-17 16,-19 18-16,18 16 0,1 2 0,-2-1 15,-86 36-15,86-18 0,19-18 16,-70 71-16,87-54 16,-52 55-16,70-54 0,18-1 0,17 2 15,0-1-15,1-18 0,34 35 16,-17-35-16,18 18 15,18-17-15,-19-1 0,36 36 0</inkml:trace>
  <inkml:trace contextRef="#ctx0" brushRef="#br0" timeOffset="103807.77">12237 14777 0,'53'0'32,"-35"0"-32,16 0 15,2 17-15,35-17 0,0 18 16,-37-18-16,20 0 0,-20 18 15,20-18-15,-1 0 0,-18 18 16,18-18-16,0 17 0,-1-17 0,2 17 16,-1-17-16,-1 0 0,19 19 0,-35-19 15,16 0-15,-16 17 16,69-17-16,-52 0 0,1 18 0,15-18 16,-16 17-16,1-17 0,16 0 15,-18 0-15,19 19 0,-18-19 16,89 17-16,-72-17 0,1 0 15,0 17-15,-1-17 0,0 0 16,19 18-16,87-18 0,-88 17 16,0-17-16,0 19 0,0-19 0,-17 0 15,35 17-15,-18-17 0,0 0 16,18 17-16,-17-17 0,-1 18 0,17-18 16,-17 18-16,19-18 0,-19 0 0,17 18 15,-17-18-15,0 0 16,124 17-16,-124 0 0,107-17 15,-90 19-15,2-19 0,86 0 16,-86 17-16,-2-17 16,1 0-16,-18 0 0,18 0 0,-18 18 15,124-18-15,-106 0 0,-1 17 16,-16-17-16,17 0 0,87 17 16,-86-17-16,-19 19 0,124-19 15,-107 17-15,-17-17 0,19 0 16,-2 18-16,107-18 15,-107 17-15,1-17 0,0 0 0,0 19 16,0-19-16,105 17 0,-104-17 16,105 17-1,-2 1-15,-103-18 0,-2 18 0,-17-18 16,19 0-16,-38 18 0,21-18 16,-2 0-16,70 0 0,-70 0 15,-17 0-15,70 0 0,-70 0 16,0 0-16,-19 0 15,1 0-15,-18 0 0,35-18 0,-34 18 16,-1 0-16,18 0 0,-18-18 0,1 18 16,-1-18-16,1 18 0,-2 0 15,20-17-15,-20 0 0,2 17 16,16-19-16,2 2 16,-37-1-16,19 18 0,-19-17 15,1-2-15,0 19 0,0-17 16,16 0-16,2-18 0,-18 16 15,16-15-15,-15 16 0,-2-18 16,1 2-16,-1-2 16,0 1-16,2-1 15,-2 19-15,-17-18 0,18 16 0,-18 2 16,17-36-16,-17 35 0,19-16 16,-19 16-16,0-18 0,17 19 15,-17 0-15,0-19 0,0 18 0,0-16 16,0 15-16,0-16 0,-17-1 15,17-16-15,-19 16 0,2 19 16,-1-18-16,18 17 16,-17 0-16,-36-35 0,35 36 0,1-1 15,-90-52 1,55 52-16,16 1 0,2-2 16,-56-15-16,56 16 0,-1 18 15,-72-36-15,73 19 16,-2 17-16,1-17 0,-18-1 15,18 18-15,-53-36 0,52 36 16,-17-17-16,-53 0 0,53-2 16,1 2-16,-1-1 0,-1 18 15,2-17-15,-1-2 0,0 19 16,-1-17-16,-15 0 0,16-1 0,-1 18 0,1-17 16,-16-2-16,15 2 15,-16 17-15,-54-35 0,1 17 16,70 0-16,-18 1 15,18 0-15,-17 17 0,17-19 0,-71 2 16,53-1-16,19 1 16,-18 17-16,-1-17 0,0-2 0,18 19 15,-18-17-15,1 17 0,18-18 16,-90 1-16,72 17 0,-1-19 0,0 19 16,18-17-16,-87 0 15,69 17-15,1 0 0,16-18 0,-16 18 16,-1-18-16,19 18 0,-19 0 0,18-18 15,-88 18-15,70 0 16,-70-17-16,70 17 16,2-17-16,-73 17 0,-16-18 15,68 18-15,-15 0 0,34 0 16,-17 0-16,18 0 0,-18-18 16,17 36-16,0-36 0,-87 36 15,104-18-15,-15 0 0,-2 0 16,18 0-16,0 0 0,18 0 0,-18 0 15,18 0-15,-18 0 0,-1 0 16,20 0-16,-20 0 0,20 18 0,-20-18 16,18 0-16,2 0 0,-20 0 15,-16 0-15,35 0 0,-1 0 16,-33 0-16,33 0 16,1 0-16,-1 0 0,1 0 0,-1 0 15,2 0-15,-2 0 0,1 0 0,-1 0 16,-16 0-16,16 0 0,1 17 15,-18-17-15,18 0 0,-18 0 0,18 0 16,-18 0-16,17 17 0,-87-17 16,87 0-16,-52 0 15,36 0-15,16 18 0,-17-18 0,18 0 16,-35 0-16,35 0 0,-18 18 16,17-18-16,-16 0 0,16 0 0,1 0 15,-53 18-15,52-18 16,1 0-16,-18 0 0,18 0 0,-1 17 15,-17-17-15,18 0 0,1 0 16,-2 0-16,1 0 0,-36 17 16,35-17-16,2 0 0,16 0 15,-18 0-15,2 19 0,15-19 0,-16 0 16,-18 17-16,18-17 0,-1 18 16,2-18-16,16 0 0,-18 17 15,19-17-15,0 19 0,-19-19 16,1 17-16,18 0 15,-2-17-15,2 18 0,-18-18 0,16 17 0,2 2 16,0-2 0,-1-17-16,1 17 0,-2 1 0,2-18 15,0 18-15,-1-18 0,0 18 0,0-1 16,1-17-16,17 17 16,-17 2-16,-2-19 0,2 17 15,-1 1-15,18-1 0,-17-17 0,0 17 16,17 2-16,-19-19 15,19 17-15,-17 1 0,-1-1 0,1 2 16,-2 15-16,19-16 16,-17 0-16,0 0 0,17-1 15,-18 0-15,18 1 0,-36 18 16,19 17-16,0-18 0,17-1 16,-18 2-16,0-1 0,18 1 15,-18 35-15,1-37 0,17 2 16,-17-1-16,17 53 15,-19-52-15,19 16 0,0 19 16,19-35-16,-19-2 0,0 2 16,17-18-16,0 35 0,1-18 0,0-18 15,17 19-15,0-1 0,1-18 0,-2 2 16,73 15-16,-36-16 16,105-18-16,-88 0 15,36 0-15,-19 0 0,142 0 0,-106 0 16,0 0-16,177-18 15</inkml:trace>
  <inkml:trace contextRef="#ctx0" brushRef="#br0" timeOffset="104808.95">18676 14812 0,'105'-18'16,"-34"18"-16,-18 0 16,123 0-1,-88 0-15,-35 0 16,35-17-16,-17 17 0,-54 0 15,1 0-15,18 0 16,-19 0-16,0 0 0,-51 17 31,-54 1-15,52-18-16,1 0 0,-18 18 0,-18-18 16,18 18-16,1-18 0,-19 17 15,-53 0-15,72 2 0,-1-19 16,17 17-16,1-17 0,18 0 0,-2 0 15,19 18-15,-17-18 16,53 17-16,-19-17 0,18 0 16,35 19-16,37-19 15,-55 0-15,1 0 16,35 0-16,-52 0 0,52 0 16,-53 0-16,1 0 0,-1 0 15,1-19-15,-19 19 0,18 0 16,-17-17-16,0 17 0,-1 0 0,-17-18 15</inkml:trace>
  <inkml:trace contextRef="#ctx0" brushRef="#br0" timeOffset="105530.95">18605 13718 0,'-53'0'0,"177"0"31,-90 0-31,2 0 16,16 0-16,-16 0 0,-1 0 0,18 0 15,1 0-15,34 0 16,-54-17-16,20 17 0,34 0 15,-71 0-15,19 0 16,-19 0-16,-87 17 31,-36 2-15,53-2-16,0-17 16,-18 18-16,0-18 0,19 17 0,-18 0 0,16-17 15,20 19-15,-2-19 0,1 0 0,18 17 16,-2-17-16,2 18 15,53-1-15,-19-17 16,18 0-16,-18 19 0,72-19 16,-54 0-16,18 0 0,-18 0 15,18 0-15,18 0 0,-18 0 16,-1 0-16,19-19 0,-18 19 16,-18 0-16,1 0 0,-1 0 0,1 0 15,-2 0-15</inkml:trace>
  <inkml:trace contextRef="#ctx0" brushRef="#br0" timeOffset="106081.78">19733 13789 0,'0'0'0,"-17"36"31,-1 52-16,18-35-15,-17-18 0,0 18 16,-2 18-16,-33 69 16,33-87-16,2-17 0,0-1 15,17 0-15,-18-17 0,18 17 0,-18-18 16,18 2-16,-18-2 16,18 1-1,18-53 1,18-72-1,-19 55-15,0-1 16,2 0-16,-2 18 0,1-18 0,-1 18 16,2-1-16,-2 1 0,-17 17 15,17 0-15,-17 1 0,18 52 16,-36 18 0,18 0-16,-17-1 15,0 19-15,-19 0 0,-18 53 16,37-54-16,-18-16 0,17 15 15,-17-16-15,18 1 0,-1-2 0,0-16 16,0-2-16,1 2 0</inkml:trace>
  <inkml:trace contextRef="#ctx0" brushRef="#br0" timeOffset="106589.3">18498 13789 0,'-34'229'16,"34"-193"-16,-18 16 0,0 2 0,0-1 15,1-1-15,0 1 0,17 1 0,-18-20 16,0 2-16,18-1 0,-18-18 16,18 2-16</inkml:trace>
  <inkml:trace contextRef="#ctx0" brushRef="#br0" timeOffset="106766.03">18622 14054 0,'18'-53'0,"-36"106"0,53-123 0,-16 70 15,-19 17 1,0 18-16,-19-17 0,-16 141 16,35-88-16,-34-1 15,15 0-15,2 19 0,-1-18 16,1-2-16,-2 20 0,2-19 16,0 0-16,-1 1 0</inkml:trace>
  <inkml:trace contextRef="#ctx0" brushRef="#br0" timeOffset="108515.05">2412 2748 0,'370'52'0,"-263"-52"15,-2 0-15,19 18 0,-1-36 0,18 18 16,18-18-16,0 1 16,175-36-16,-174 18 0,-20-1 0,2 1 15,-1-18-15,-17 1 0,-36 16 16,0-17-16,0 18 0,0-18 0,53-53 16,-70 53-16,-18-18 0,-1 1 15,-16-1-15,-1 2 0,1-21 16,-19 2-16,1 0 0,-18-17 0,0 17 15,-18-19-15,1 37 0,0-36 16,-37-18-16,1 19 0,-18 0 16,1 15-16,-18-15 0,0 17 0,0 17 15,-19-17-15,-122-53 0,89 88 16,16 1-16,0-2 0,-16 18 0,16 19 16</inkml:trace>
  <inkml:trace contextRef="#ctx0" brushRef="#br0" timeOffset="108618.97">3048 30 0,'-336'0'0,"-16"107"15,174-54-15,-174 106 0,176-71 16,-53 35-16,52-17 0,-17 36 16,36-37-16,-37 54 0,54-35 0,-53 34 0,70-18 15,-105 143-15</inkml:trace>
</inkml:ink>
</file>

<file path=ppt/ink/ink63.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30:38.552"/>
    </inkml:context>
    <inkml:brush xml:id="br0">
      <inkml:brushProperty name="width" value="0.05292" units="cm"/>
      <inkml:brushProperty name="height" value="0.05292" units="cm"/>
      <inkml:brushProperty name="color" value="#0070C0"/>
    </inkml:brush>
  </inkml:definitions>
  <inkml:trace contextRef="#ctx0" brushRef="#br0">7152 3171 0,'-88'105'0,"53"-70"0,-1 1 16,19-1-16,-18 1 0,-35 34 16,51-35-16,-16 18 0,-35 35 15,52-70-15,1 18 16,-2-19-16</inkml:trace>
  <inkml:trace contextRef="#ctx0" brushRef="#br0" timeOffset="253.03">7329 3276 0,'-70'71'31,"34"-36"-31,1-17 0,-1 34 15,19-16-15,-54 35 16,36-36-16,-1 18 0,2-18 0,-2 1 16,-35 52-1,54-71-15,17 0 0,-18 2 16</inkml:trace>
  <inkml:trace contextRef="#ctx0" brushRef="#br0" timeOffset="741.55">8811 3223 0,'34'0'0,"-15"0"16,33 0-16,-16 0 15,-1 19-15,1-19 0,-2 0 0,20 0 16,-20 0-16,37 0 16,0 0-16,-37 0 15,2 0-15,-18 0 0,-1 0 0</inkml:trace>
  <inkml:trace contextRef="#ctx0" brushRef="#br0" timeOffset="1006.93">9163 2871 0,'141'17'15,"-88"1"1,-18-1-16,18 2 0,1-19 0,-20 17 0,2 0 15,-1 1-15,-18 0 16,19 0-16,-18-1 0,-1 18 0,2-17 16,-19 0-16,0-1 0,0 19 0,0-19 15,-19 18-15,-33 53 16,16-52-16,1-1 0,-1-17 0</inkml:trace>
  <inkml:trace contextRef="#ctx0" brushRef="#br0" timeOffset="12132.01">16343 13224 0,'0'-17'15,"-19"52"17,-33 35-17,35-34-15,-19 18 16,-88 104-1,72-106-15,-2 19 0,20-18 0,-37 1 0,18-2 16,-1 18-16,2-16 0,-1-20 16,-52 73-1,86-72-15,2 1 0,-1-19 0,1-17 16,17 17-16</inkml:trace>
  <inkml:trace contextRef="#ctx0" brushRef="#br0" timeOffset="12380.13">16643 13224 0,'-19'54'16,"2"-37"-16,-18 19 0,-1 16 15,1 1-15,-18 1 0,18 16 0,-18 1 16,0-2-16,-18 2 0,19 0 16,-1-1-16,-18 1 0,18 0 15,-35-1-15,0 54 0,34-54 0,20-17 16,16-17-16</inkml:trace>
  <inkml:trace contextRef="#ctx0" brushRef="#br0" timeOffset="15057.18">7205 14088 0,'124'0'0,"-106"19"16,16-19-16,20 0 0,-1 17 0,-1-17 15,1 18-15,18-18 0,0 17 0,-1-17 16,18 19-16,0-2 0,0-17 15,19 17-15,-2 1 0,-17-18 0,19 18 16,-2-18-16,1 18 0,0-18 0,0 17 16,-1-17-16,19 17 0,-19-17 15,2 18-15,-2-18 0,19 0 0,-18 18 16,18-18-16,-19 0 0,19 18 0,-1-18 16,-17 0-16,17 0 0,1 0 15,-19 0-15,19 0 0,-1 0 0,1 0 16,-19 0-16,19 0 0,-18 0 0,0 0 15,17 0-15,-16 0 16,-2 0-16,2 0 0,-2 0 0,0 0 0,-17 0 16,19 0-16,-2-18 0,-17 18 0,19 0 15,-19 0-15,0-18 16,0 18-16,0 0 0,0 0 0,1-18 16,-1 18-16,0 0 0,-17-17 0,0 17 15,-1 0-15,70-17 16,-69 17-16,0 0 0,-18-18 0,18 18 15,-18-18-15,-1 18 0,1-18 0,1 18 16,-2-17-16,89 0 16,-105 17-16,-1-19 0,-1 19 15,2-17-15,-18 17 0,18-18 16,-2 18-16,37-36 16,-36 36-16,-17-17 0,17 17 15,-18-17-15,19-1 0,-1 18 0,-16-17 16,15-2-16,-16 19 0,18-17 15,-2 0-15,20-1 0,-37 0 16,19 0-16,-19 1 0,18 17 0,-18-17 16,19-2-16,70-50 15,-70 50 1,-19 2-16,18-1 0,1-35 16,-19 36-1,0-1-15,2 1 0,-19-2 0,17 2 16,-17 0-16,0-1 0,18 0 0,-18 0 15,0-16-15,0 15 0,0-16 16,-18 18-16,18-19 0,0 19 0,-17-54 16,-2 54-16,2-19 15,0 18-15,-1-16 0,0-2 0,-17 18 16,18 1-16,-1-19 0,-18 19 0,2-18 16,-2 18-16,1-2 0,-1-16 15,-16 18-15,16-2 0,-17 2 0,18 0 16,-18-1-16,18 0 0,-1 18 0,-16-18 15,16 1-15,1 0 16,-1 17-16,2-18 0,-20 18 0,1-18 0,1 0 16,16 1-16,-16 17 0,-19-17 15,18-2-15,0 2 0,-18 17 0,19-18 16,-19 1-16,1-2 0,-1 2 16,-17 0-16,0-1 0,17 1 0,-17-2 15,18 2-15,-18 0 0,17-1 16,0 18-16,1-18 0,-18 0 0,-2 1 15,2 17-15,18-17 0,-18-2 0,17 19 16,-17-17-16,0 17 0,0-18 16,0 18-16,-19-17 0,19 17 0,0-17 15,0 17-15,0-19 0,0 19 16,-18-17-16,18 17 0,0-18 0,-71 18 16,88-17-16,1 17 15,-1 0-15,-17 0 0,17-19 0,1 19 0,-18 0 16,0 0-16,0 0 15,0 0-15,-71 0 0,88 0 16,-17 0-16,18 0 0,-20 0 0,2 0 16,18 0-16,-18 0 0,0 0 15,0 0-15,17 0 0,-17 0 16,17 0-16,1 0 0,-1 0 0,-17 0 0,17 19 16,1-19-16,-18 0 0,0 0 15,17 0-15,-17 17 0,-53-17 16,70 0-16,0 0 0,1 0 15,-1 0-15,0 0 0,1 18 16,0-18-16,-19 0 0,18 0 0,2 0 16,-72 17-16,70 2 0,18-19 15,-18 0-15,19 17 0,-1-17 16,17 0-16,1 17 0,-1-17 0,1 0 16,-35 18-16,52-18 0,-18 17 15,19-17-15,0 0 0,-19 19 16,18-19-16,1 17 0,0 0 0,-1-17 15,-18 18-15,19 0 16,17 0-16,-17-1 0,-2-17 0,2 17 16,-1 2-16,1-19 0,17 17 15,-17 1-15,-2-18 0,2 17 0,-1 0 16,1-17-16,-2 19 0,2-2 16,0-17-16,-1 18 0,-18-1 0,19-17 15,0 19-15,-1-2 0,0-17 16,0 17-16,-16 19 0,15-36 15,2 18-15,-1-1 0,1 0 16,17 1-16,-19 0 0,2 0 16,0-1-16,17 19 15,-18-36-15,18 17 0,0 1 0,0-1 16,0 2-16,-17-2 0,17 0 0,0 18 0,0-16 16,0-2-16,0 18 15,0-17-15,17 17 0,-17-18 0,0 19 16,0-18-16,18 16 0,-18-15 0,0 16 15,17 1-15,-17-19 0,0 0 16,17 18-16,-17-16 0,19 15 0,-19-16 16,0 18-16,17-19 0,-17 0 0,18 19 15,-1-18-15,2 16 16,-2 2-16,-17-18 0,17-1 0,1 2 16,-18-2-16,18 0 0,0 1 0,-1-1 15,-17 2-15,35 15 16,-35-16-16,18 0 0,0 0 15,-1-1-15,0-17 0,-17 17 0,19 2 16,-2-2-16,1-17 0,18 18 16,-2-1-16,-16-17 0,-1 17 15,2-17-15,-2 0 0,0 19 0,1-19 16,0 17-16,17-17 16,-18 0-16,19 18 0,-18-18 0,16 0 15,-15 0-15,-2 0 0,18 0 16,-16 0-16,15 0 0,-16 0 15</inkml:trace>
  <inkml:trace contextRef="#ctx0" brushRef="#br0" timeOffset="22422.11">19112 12624 0,'0'-34'15,"-19"16"-15,2 18 0,0 0 16,-18 18 0,16-1-16,2 0 0,-18 2 15,17-2-15,0 1 0,-16 18 16,15-2-16,-16 20 15,18-37-15,17 0 0,0 1 16,0 0-16,0 0 16,0-1-16,52-34 15,-33-1 1,-2 18-16,54-70 16,-54 52-16,36-35 15,-53 36-15,18-2 0,-18 2 16,17 17-16,-17-18 15,17 18-15,-17 35 16,0-16 0,0-2-16,0 36 15,0-35-15,0-1 0,0 0 16,0 1-16,0 0 16,19 0-16,-19-1 0,17 0 15</inkml:trace>
  <inkml:trace contextRef="#ctx0" brushRef="#br0" timeOffset="22856.28">19641 12466 0,'0'53'31,"0"-17"-31,-18-19 0,18 1 16,0-1-16,0 19 0,-18-19 0,18 1 16,0-1-16,0 36 15,0-35-15,0 18 16,0-19 15,-17-17-15,0-17-16,-2 17 0,2 0 0,-18 0 15,-18 0 1,35 17 0,1-17-16,-19 35 15,19-35-15,17 18 0,-18 0 16,0-18-16,18 17 0,0 0 15,0 2-15,0-2 0,18-17 16,0 0 0,35 0-16,-18-17 15</inkml:trace>
  <inkml:trace contextRef="#ctx0" brushRef="#br0" timeOffset="23233.21">20029 12466 0,'-36'36'16,"36"-19"-16,-17 0 15,17 2-15,-36 50 16,19-33-16,17-18 0,-18-1 0,18 2 16,0 33-1,0-34-15,0 0 0,0 16 31,-17-34-15,0 0 0,-2 0-16,2 0 15,-37 0 1,37 18-16,-36 18 16,53-19-16,-18-17 15,1 53 1,17-35-16,17-1 15,1-17-15,0 19 16,0-19-16,70 0 16,-52 0-16,-19 0 0,18-19 0,1 19 15</inkml:trace>
  <inkml:trace contextRef="#ctx0" brushRef="#br0" timeOffset="23772.11">20823 12448 0,'17'0'16,"-17"18"-1,17 0 1,-17 17-16,0-18 0,19 2 0,-19 16 0,0-1 16,0-15-16,17 52 15,-17-19-15,18-34 16,-18 0-16,17 16 0,-17-16 16,19 0-1,-2 0-15,0-18 0,1-18 16,-1 0-16,2 0 15,-19 1-15,17 0 0,36-107 16,-53 106-16,18-18 16,-1-16-16,0 35 15,-17-2-15,0 2 0,18 0 16</inkml:trace>
  <inkml:trace contextRef="#ctx0" brushRef="#br0" timeOffset="24872.11">21440 12572 0,'-53'35'0,"35"-35"0,-16 36 16,34-19-1,-19 1-15,2-1 0,17 2 0,-18-2 16,1 18-16,17-17 16,-19 0-16,38-1 15,-2-17 1,18-17-1,-35-1-15,19 18 16,-2-18-16,0 0 0,1 1 31,-1 34 1,-17 1-17,0 0-15,0 0 0,19-18 16,-19 17-1,17-17-15,0-17 0,19-1 16,-36 0-16,18 18 16,-1-18-16,19-70 15,-19 35 1,-17 18-16,18-1 0,-1-16 16,-17 16-16,0 19 0,17 0 15,-17-2-15,0 2 0,0-1 0,0 72 47,0-37-47,-34 107 16,16-72-1,18-16-15,0-19 0,0 54 16,0-54-16,0 37 16,18-54-16,-18 17 15,17 0-15,19-17 16,-19 0-16,1 0 15,-1-17-15,2 17 0,-2-17 0,0 17 16,54-36 0,-54 18-16,19-16 0,-18 15 15,-1 2-15,-17-1 16,-17 18 15,-1 18-15,0-1-16,0 2 15,18-2-15,-17 0 0,17 19 16,0-18 0,0-1-16,0 0 15,17 1 1,1-18 0,18 0-1,-19-18-15,0 18 0,2-17 0,-2 0 16,18-1-1,-16 0-15,-2 0 0,0 1 16,1 17-16,-18-17 16,17 17-1,2 0 1,-2 0-16,0 17 16,1 0-16,-18 1 15,18 18 1,0-36-16,-18 17 0,0 0 15,-18 1 1,18 0-16,-18 0 0,-34-1 16,33-17-16,-16 17 15,1-17-15,-20 19 0,1-2 16</inkml:trace>
  <inkml:trace contextRef="#ctx0" brushRef="#br0" timeOffset="25304">18141 13560 0,'71'0'0,"-36"-18"16,35 18-16,1 0 0,36 0 15,-2 0-15,159 0 16,55 0-16,262 0 16,-369 18-16,-19-18 0,19 0 15,-17 0-15,-2 0 0,19 18 0,-18-18 16,0 0-16,1 0 0,-19 0 15,424 0 1,-460 17-16,-16-17 0,211 17 16,-246-17-1,-20 0-15,-15 0 0,-1 0 0,52 19 16,-157-19 31,16 0-47,19 0 0,-19 17 0,1-17 0</inkml:trace>
  <inkml:trace contextRef="#ctx0" brushRef="#br0" timeOffset="26353.02">18900 14407 0,'-36'88'0,"36"-71"0,0 1 15,-17 18-15,17-19 0,-18 18 16,18-17-16,0 0 0,0-1 0,-17-17 16,17 17-16,0 2 15,0-2 1,0-70 15,17 18-15,-17 17-16,18 0 0,-18 1 0,17 0 15,-17-2-15,36 2 16,-19-1 0,1 18-1,0 0-15,0 18 16,-1-1 0,-17 2-16,0-2 0,0 0 0,0 1 15,0 0 1,0 17-16,0-18 15,-17 2-15,17-2 0,0 1 16,0-1 0</inkml:trace>
  <inkml:trace contextRef="#ctx0" brushRef="#br0" timeOffset="26676.33">19164 14600 0,'-17'36'32,"17"16"-17,0-33 1,17 16-16,-17-18 16,19-17-16,-19 17 0,17-17 15,-17 19-15,17-19 0,1 0 0,0 0 16,17-19-1,-35 2-15,0 0 16,17-1-16,-17 1 0,-17 17 0,17-19 16,0 2-16,0 0 15,0-1-15,-35-18 16,17 36-16,18-17 0,-18 17 16,1 0-16,-19 0 15,19 17-15,-1-17 16,1 18-16</inkml:trace>
  <inkml:trace contextRef="#ctx0" brushRef="#br0" timeOffset="26976.37">19659 14547 0,'0'0'0,"17"0"16,-17 19-16,0-2 16,-17 36-1,17-35-15,-18 16 16,0-15-16,18 16 0,-52 35 16,33-35-16,-16 18 15,-1 1 1,19-37-16,0 0 0,-1 19 0,1-18 0,-2-1 15,-15 19-15,16-19 16,0-17-16,18 18 0,-18-1 16</inkml:trace>
  <inkml:trace contextRef="#ctx0" brushRef="#br0" timeOffset="27160.3">19676 14918 0,'17'0'15</inkml:trace>
  <inkml:trace contextRef="#ctx0" brushRef="#br0" timeOffset="27304.3">19781 14847 0,'0'-17'31</inkml:trace>
  <inkml:trace contextRef="#ctx0" brushRef="#br0" timeOffset="28022.1">20735 14336 0,'-36'18'15,"36"-1"1,-18-17-16,18 17 0,-17 2 0,17-2 16,0 1-16,0-1 15,0 2-15,17 15 16,1-34-16,0 18 0,0-18 16,-1 0-16,36-18 15,-35 18-15,-1-17 0,0 17 16,-17-17-16,19-2 0,-19 2 0,0-1 15,0 1-15,-19-19 16,2 19-16,-36-1 16,35 0-1,1 18-15,0 0 0,-1 18 32,36 0-17,-18-1-15,17-17 0,0 36 0,1-19 16,52 71-1,-34-53-15,-18 1 0,-1-1 0,2 35 16,-19-34-16,0-1 16,0 1-16,0 16 0,-19-16 0,2 16 15,-1-16-15,1-1 0,-2 1 0,2-2 16,0-15-16,-1-2 0,0 1 16,0-1-16,1 0 0,0-17 15,17-17 1,0 0-16,0-1 15,0 1-15,17-19 0,0 19 16,1-19-16,18 1 0,-19-1 0,19 1 0,-1 1 16,-18-2-16,19 18 15,-1-18-15,-18 19 0,2 0 0,-2-1 16,18 1-16,-17 17 0,17-36 16,-18 19-16</inkml:trace>
  <inkml:trace contextRef="#ctx0" brushRef="#br0" timeOffset="28488.3">22040 14300 0,'17'36'0,"-17"-18"16,0-1-16,0 19 0,0-19 0,0 1 15,18 18-15,-18-19 0,0 0 16,17 18-16,-17-16 0,0-2 0,19 0 16,-19 1-16,0 0 0,17 0 0,0-1 15,1-17 1,0-17 0,0-1-16,-1-18 0,-17 19 15,17-19-15,1 1 0,0-18 0,17-35 16,-35 53-16,17 17 15,2-17-15,-2 18 0,-17-1 0,18 0 16,-18 0-16,17 18 0,2 0 16,-2 18-1,0 0-15</inkml:trace>
  <inkml:trace contextRef="#ctx0" brushRef="#br0" timeOffset="29674.26">22851 14442 0,'-18'0'0,"-16"0"16,15 0-1,-16 36 1,18-36-16,17 17 0,-19 0 0,2 1 16,17-1-16,-17 2 0,17-2 15,0 0 1,17-17 0,0 0-16,2 0 15,-2 0-15,-17-17 0,18 17 16,-1-17-1,2 17-15,-19-19 16,17 38 0,0-2-1,-17 0-15,18-17 16,-1 0 0,2 0-1,-2 0-15,0-17 16,1 0-16,0-37 15,0 37-15,-18-19 16,17 1-16,-17 18 0,17-19 16,2-17-1,-19 35-15,0 1 0,0 0 16,17-1 0,-17 53-1,-17 18 1,17-35-16,0-1 0,0 0 15,0 2-15,0-2 16,0 1-16,0-1 0,0 2 0,0-2 0,0 0 16,17 1-16,1-1 15,16-34 1,-15-1 0,-2 18-16,1-17 15,-1 17 1,-17-17-16,19 17 15,-19 17 17,0 0-32,0 1 15,17-1 1,-17 2 0,17-19-16,1 0 15,0 0-15,0-19 0,-1 19 16,18-17-1,-17 17-15,-18-18 0,35 1 16,-18 0-16,2 17 16,-2-19-1,-17 2-15,18 17 16,-36 36 15,1-19-15,17 0-16,17 1 31,-17-1-15,18-17-16,-1-17 15,2 17-15,-2-18 0,0 18 16,1-17-16,-1 0 16,2 17-1,-2 0-15,0 0 0,1 0 16,0 0-1,17 17 1,-18 0-16,-17 1 16,19-1-1,-19 2 1,0-2-16,-19-17 0,2 17 16,0-17-1,-1 0-15,0-17 16</inkml:trace>
  <inkml:trace contextRef="#ctx0" brushRef="#br0" timeOffset="29813.62">24209 14459 0,'35'-17'0,"-35"-1"15,0 1-15</inkml:trace>
</inkml:ink>
</file>

<file path=ppt/ink/ink64.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5:31:29.006"/>
    </inkml:context>
    <inkml:brush xml:id="br0">
      <inkml:brushProperty name="width" value="0.05292" units="cm"/>
      <inkml:brushProperty name="height" value="0.05292" units="cm"/>
      <inkml:brushProperty name="color" value="#0070C0"/>
    </inkml:brush>
  </inkml:definitions>
  <inkml:trace contextRef="#ctx0" brushRef="#br0">12890 4480 0,'35'0'31,"18"18"-15,-18-1-16,-18-17 15,19 19-15,-1-19 0,1 17 0,17 0 0,52 1 16,-51-1-16,104 19 15,-106-19-15,19-17 16,-18 18-16,142 0 16,-143 0-16,19-18 15,53 17-15,-54-17 0,124 17 16,-141 2-16,18-19 16,-1 0-16,-18 17 0,19-17 0,88 18 15,-106-18-15,18 17 16,87 0-1,-104-17-15,-2 0 0,1 19 16,176-2 0,-175-17-16,16 0 0,-18 18 0,2-18 15,-1 0-15,35 0 16,-35 0-16,-18 0 0,18 17 0,-18-17 16,72 0-16,-73 0 15,20 0-15,16 0 0,-18 0 0,126 0 16,-126 0-1,72 0-15,-71 0 0,-1 0 16,1 0-16,1 0 0,-2 0 0,89 0 16,-88 0-1,-18 0-15,36-17 0,-18 17 0,-18 0 16,53 0-16,-35 0 16,0 0-16,35 0 0,-53-18 15,18 18-15,-17 0 0,-1 0 0,89-17 16,-89 17-1,-18-19-15,90 2 16,-73 17-16,2 0 0,-1-17 16,53-1-1,-52 18-15,-1-17 0,1 17 0,-19-19 0,18 19 16,-17-17-16,17 17 0,18-35 16,-35 17-16,-1 18 15,0-18-15,2 18 0,-2-17 16,1 0-16,18-19 15,-19 18-15,0 1 16,1 0-16,-1-2 16,19-16-1,-19 18-15,1-2 0,0 2 16,0 0-16,-1-1 16,-17 1-16,17 17 0,2-36 15,-2 19-15,1-1 16,-1 0-1,-17 0-15,0 1 0,17 0 0,2-2 16,-2-33 0,-17 35-16,18-19 15,-18 18-15,0 1 0,17-2 16,-17 2-16,0-18 16,19 17-16,-19 0 0,0-34 15,0 34-15,17-17 16,-17 18-1,0-2-15,0-33 16,0 35-16,-17-2 0,17-33 16,0 33-16,0 2 15,0 0-15,0-37 16,0 37-16,-19 0 0,19-1 16,0 0-16,0 0 0,0 1 0,-17 0 15,-1-2-15,18 2 16,-36-37-16,19 54 15,17-17-15,-17 0 0,-1-1 0,1 1 16,-36-19 0,35 19-16,-18-1 0,19 18 0,-19-18 15,1 0-15,1 1 0,-73-19 16,72 19-16,-53-1 16,52 1-16,-17 0 15,36 17-15,-18-19 0,16 19 16,-15 0-16,16-17 0,-88-1 15,71 18-15,-1-17 16,1 17-16,1 0 0,-2-19 0,-52 19 16,53 0-16,-18-17 15,17 17-15,1 0 0,-1 0 0,-52-17 16,53 17-16,18 0 16,-19 0-16,-35 0 15,37 0-15,-54 0 16,52 0-16,18 0 15,-16 0-15,-2 0 0,-70 0 16,70 0-16,-86-18 16,51 18-1,18 0-15,18 0 0,-54 0 16,54 0 0,-1 0-16,1 0 0,-70 0 15,69 0-15,1 0 0,-71 18 16,71-18-1,-53 0-15,52 0 0,1 0 16,-1 0-16,2 0 0,-54 0 16,52 0-16,1 0 15,-1 0-15,19 0 0,-18 0 0,-36 0 16,35 0-16,2 0 16,-2 0-16,1 0 0,-89 0 15,89-18-15,-18 18 0,18 0 16,-18 0-16,18 0 15,-18 0-15,0 0 0,18 0 0,-106-18 16,105 18-16,1 0 16,-18 0-16,18 0 0,-1 0 0,-69-18 15,70 18-15,-1 0 16,19 0-16,-71 0 16,52 0-16,18 0 15,-70 18-15,35-18 16,36 0-16,-71 0 15,17 18 1,35-18-16,-33 0 16,33 0-16,18 0 0,-18 0 15,2 0-15,16 18 0,-70-18 16,52 0-16,2 0 16,15 0-16,-16 0 0,1 0 0,-20 0 15,18 0 1,2 0-16,16 0 0,-18 0 0,2 0 15,-73 0-15,72 0 16,-1 0-16,-33 0 16,33 0-16,1 0 0,17 17 0,-17-17 15,-1 0-15,1 0 0,-18 17 16,36-17-16,-1 0 0,1 0 16,-54 19-16,54-19 15,-2 17-15,-15-17 0,16 0 0,0 18 16,0-18-16,1 0 15,-36 36-15,35-36 16,1 17-16,0-17 0,17 17 0,-19-17 16,2 18-16,-1-18 0,1 17 15,-2 2-15,2-19 0,17 17 0,-17 0 16,-1-17-16,0 18 0,0-18 0,18 18 16,-34 0-1,16-1-15,18 0 0,-18-17 0,0 19 0,18-2 16,-17-17-16,0 18 0,17-1 0,-19 0 15,2 2-15,-1-2 16,18 1-16,-17-1 0,17 2 0,-17-2 0,17 0 16,-19 1-16,19 0 0,0 0 15,-17 16-15,17-16 0,0 0 16,0 17-16,0-18 0,0 19 0,0-18 16,0 18-16,-18-2 0,18-16 0,0 18 15,0-19-15,18 18 0,-18 1 16,0-19-16,0 18 0,0-17 0,0 17 15,17-18-15,-17 19 0,0-18 0,19-1 16,-19 19-16,0-19 0,17 1 16,-17-1-16,17 2 0,-17-2 15,18 0-15,-1 1 0,-17 0 0,19 0 0,-19-1 16,17 0-16,0 2 0,-17-2 16,18 1-16,0-18 0,-18 17 15,18 0-15,-1 2 0,0-19 16,-17 17-16,18-17 0,0 0 15,-18 18-15,18-18 0,-1 17 16,0-17-16,2 0 0,-2 0 0,1 19 16,-1-19-16,2 0 15,-2 0-15,0 17 16,1-17-16,-1 0 0,2 0 16,-2 0-1,0 0 1,1 0-16,0 0 0,0-17 15,-1 17-15,0 0 16</inkml:trace>
  <inkml:trace contextRef="#ctx0" brushRef="#br0" timeOffset="4596.85">13030 3422 0,'-17'-35'0,"-1"35"16,18-19-1,-17 19-15,0 0 0,-2-17 16,-16 17 0,18 0-1,-2 0-15,2 0 16,-18 0-1,18 0-15,-2 17 16,-15 2 0,16-2-16,0 1 15,18-1-15,-18 2 0,1-2 0,17 0 16,-17 19-16,-2-18 16,19-1-16,-17 0 0,17 1 0,0 0 15,-18 0-15,18-1 0,0 0 16,0 2-16,0-2 0,-17 1 0,17-1 15,0 2-15,17 33 16,-17-35-16,0 2 16,0-2-16,18 18 15,-1-17-15,-17 0 0,19-18 16,-19 17-16,17 0 0,0-17 16,1 18-16,0-18 15,0 18-15,-1-18 0,0 0 0,2 0 16,-2 0-16,1-18 0,-1 18 15,0 0-15,2 0 0,-2-18 16,1 18-16,-1 0 0,19-17 16,-1 0-16,-18-1 15,2 18-15,-2-18 16,0 18-16,1-18 0,0 1 16,0 17-16,-1-17 0,0-2 15,2 2-15,-2-1 16,1 1-16,-1 17 15,-17-17-15,17-2 16,-17 2-16,19 17 16,-19-18-16,0 1 0,0-2 15,17 19-15,-17-17 0,0 0 16,0-1-16,0 0 0,0 0 16,0 1-16,-17 0 0,17-1 15,0 0-15,-19 0 16,19 1-16,-17 0 0,17-2 15,-17 2-15,-1-1 0,1 18 16,17-17-16,-19 17 0,2-19 16,0 2-16,-1 17 0,0-17 15,0 17-15,1 0 16,0-18-16,-2 18 0,2 0 16,-18 0-16,-1 0 15</inkml:trace>
  <inkml:trace contextRef="#ctx0" brushRef="#br0" timeOffset="7175.9">22485 3492 0,'0'18'46,"0"0"-46,0 0 16,0-1-16,-18 0 16,18 19-16,0-18 15,0-1-15,0 0 0,-17 2 16,17-2-16,0 1 16,0-1-16,0 2 31,17-38-16,1-16 1,0 18 0,0-2-16,-1-15 15,0 34-15,-17-18 0,18 18 0,0-18 16,17 18 0,-18 0-1,2 18-15,-2 0 16,1-1-16,-18 0 0,0 2 31,0-2-31,17-17 0,-17 18 16,0-1-16,19-17 31</inkml:trace>
  <inkml:trace contextRef="#ctx0" brushRef="#br0" timeOffset="7423.98">22979 3634 0,'35'0'0,"1"-18"15,-19 18-15,1 0 16,-1-18 0,2 18-16,15 0 15,-16 0 1</inkml:trace>
  <inkml:trace contextRef="#ctx0" brushRef="#br0" timeOffset="7734.7">23173 3439 0,'17'0'0,"2"0"15,15 36 1,-34-19-16,18 1 0,-18 0 16,18 0-16,-18-1 15,18 18-15,-18 1 16,-18 17 0,-18-1-1,36-33-15,-17-2 16,0-17-16,17 17 15</inkml:trace>
  <inkml:trace contextRef="#ctx0" brushRef="#br0" timeOffset="8426.7">24038 3351 0,'0'53'0,"0"-35"0,0-1 16,0 19-16,0-19 0,-19 1 15,19 0-15,0 0 0,0-1 16,0 0-16,0 1 15,0 0-15,0 0 16,36-54 15,-36 18-31,18 1 16,-1 0-16,0-1 0,-17 0 16,19 18-16,-2-18 0,1 1 15,-1 0-15,2 17 0,-2 0 16,0 0-16,1 0 15,-1 0-15,-17 17 16,19 0-16,-19 1 16,0 0-16,0 0 15,17-1-15,0-17 16</inkml:trace>
  <inkml:trace contextRef="#ctx0" brushRef="#br0" timeOffset="8736.93">24514 3404 0,'-19'35'15,"19"1"17,0-19-32,19 1 0,-2 0 15,1 0-15,-1-18 16,2 17-16,-2-17 0,0-17 15,1 17 1,0-18-16,0 18 16,-18-36-16,-18 19 15,18 0 1,-18-2-16,0 2 16,1 17-16,17-18 0,-17 18 0,-2 0 15,2 0-15,-1 0 16,1 0-16,17 18 0,-19-18 15</inkml:trace>
  <inkml:trace contextRef="#ctx0" brushRef="#br0" timeOffset="9031.78">24919 3351 0,'-36'53'16,"36"-35"-1,-17-1-15,-18 36 16,35-35-16,-17 0 0,-2 17 15,2-18-15,17 1 0,-17-18 16,-1 18-16,18 17 0,-18-35 0,18 17 16,-18-17-16,18 19 15</inkml:trace>
  <inkml:trace contextRef="#ctx0" brushRef="#br0" timeOffset="9191.09">24919 3546 0,'18'-18'15</inkml:trace>
  <inkml:trace contextRef="#ctx0" brushRef="#br0" timeOffset="9973.76">25819 3104 0,'-70'71'16,"70"-54"0,0 1-16,0 0 0,-18 0 15,36 16-15,-18-15 16,17-19-16,0 0 16,1 0-1,0 0-15,-18-19 0,18 2 16,-18 0-16,17-1 0,-17 0 15,0 0-15,17 18 16,-17-17-16,19 52 31,-19 1-31,0-2 16,0 2-16,0 16 16,-36 143-16,19-142 15,17-18-15,-18 1 0,18-1 0,-18-18 16,18 2-16,-18-2 15,18 0-15,0 1 0,-17-1 0,17 2 16,17-55 15,1 18-31,0-35 0,0 36 16,52-71-16,-35 52 16,-18 1-16,2 18 15,-2-1-15,1-18 16,18 2-16</inkml:trace>
  <inkml:trace contextRef="#ctx0" brushRef="#br0" timeOffset="10456.34">27035 2946 0,'0'0'16,"19"17"-16,-2 19 15,-17-19-15,18 1 0,-1 52 16,2-16 0,-19-37-16,17 18 0,-17-17 15,0 0-15,17-1 0,-17 0 16,18 2-1,0-38 1,0 2-16,-1 0 16,-17-1-16,17-18 0,1 19 15,0-19-15,-18 19 0,18-1 16,-18 1-16,17 0 0,-17-2 16,17 19-16,-17-17 0,19-1 15</inkml:trace>
  <inkml:trace contextRef="#ctx0" brushRef="#br0" timeOffset="11606.77">27618 3016 0,'-105'54'15,"86"-37"1,19 0-16,-69 71 16,69-70-16,0 0 15,-19 0-15,38-1 16,-19 0 0,34-17-1,-16-17-15,-1 0 16,2 17-16,-19-18 15,17 0-15,0 18 16,-17 18 15,0 17-15,18-35-16,-18 17 16,18 2-1,0-19-15,16-19 16,-16 2-1,18-54 1,-19 37-16,0 15 16,-17-16-16,19 1 0,-2 15 0,-17-16 15,18 18-15,-18-19 0,0 19 0,17-1 16,-17 0-16,0 0 0,19 1 16,-38 52 15,2-17-31,17 0 15,-18 35-15,18-36 0,0 1 16,0 35 0,0-36-16,0 1 0,18 18 15,-1-19 1,2 0-16,-2-17 16,0-17-16,1 17 15,-1-17-15,2 17 16,-19-19-16,17 2 15,0-1 1,-17 53 31,0-16-31,0-2-1,18-17-15,-18 17 16,18-17-16,17 18 15,-18-18-15,19 0 16,-18-18-16,-1 18 0,19 0 16,-19-17-16,1 0 15,-1-2-15,2 2 16,-19-1-16,17 18 16,-17-17-16,-17 34 46,-2-17-46,19 18 16,0-1-16,19 2 31,-19-2-31,17-17 16,0 0 0,1 0-16,-1-17 0,2 17 15,-2 0 1,18-19-16,-17 19 15,0 19-15,-1-19 16,-17 17-16,17-17 16,-17 17-16,19-17 15,-19 18-15,-19 0 32,19 0-32,-17-18 15,0 17 1,-1-17-16,0 0 0</inkml:trace>
  <inkml:trace contextRef="#ctx0" brushRef="#br0" timeOffset="12272.88">24495 4056 0,'407'-52'0,"-178"16"16,-106 36-16,194-34 16,-157 16-16,175-18 0,-212 19 15,159-19-15,-158 19 16,18-1-16,87 1 0,-124 0 15,1 17-15,-18-19 0,18 2 16,-35 17-16,-54 0 16</inkml:trace>
  <inkml:trace contextRef="#ctx0" brushRef="#br0" timeOffset="12583.85">24919 4180 0,'88'0'16,"71"-17"-16,-71 0 0,36-2 16,0 2-16,35-1 15,193-35-15,160-18 16,-336 54-16,-18 0 0,-34 17 15,-18-18-15,18 0 0,88 0 16,-124 1-16,34 0 16,-68 17-16,-37 0 0,19-19 0,-1 19 15,-18 0-15,2 0 16,-2 0-16,0-17 0,1 17 16</inkml:trace>
  <inkml:trace contextRef="#ctx0" brushRef="#br0" timeOffset="17503.84">8391 6579 0,'36'-17'15,"-18"17"16,-1 17-31,0-17 0,2 0 0,16 0 0,-18 0 16,19 0-16,-19 0 16,18 0-16,1 0 0,-1 0 0,1 0 0,-19 0 15,19 0-15,-1 0 0,-1 0 16,-15 0-16,-2-17 0,18 17 0,-16 0 16,-2 0-16,0 0 0,1 0 15,-1 0-15,2 0 16</inkml:trace>
  <inkml:trace contextRef="#ctx0" brushRef="#br0" timeOffset="17860.33">8409 6791 0,'0'17'15,"36"-17"-15,-19 0 0,0 0 0,2 0 16,16 0-16,-18 0 0,2 0 0,15 0 15,1 0-15,1 0 0,-19 0 16,19 0-16,-18 0 0,16 0 0,-15 0 16,-2 0-16,1 0 0,-1-17 0,0 17 15,2 0-15,16 0 16,-18 0 0,2 0-1</inkml:trace>
  <inkml:trace contextRef="#ctx0" brushRef="#br0" timeOffset="28523.86">10561 6156 0,'0'-18'16,"-18"0"31,18 72 15,0-37-62,-17 0 16,17 2-16,0-2 0,-17 1 15,17-1-15,-18 19 0,18-19 16,-18 37-16,18-37 0,-18 0 16,18 1-16,-17 0 0,17 0 15,0-1-15,-17 0 0,17 1 16,0 0 0,17-54 15,0 2-16,-17 16-15,0 0 0,18 0 16,0-35-16,-18 36 0,0-1 0,18 1 16,-18-2-16,0 2 15,17 0-15,-34 51 47,17-15-47,0-2 16,0 1-16,-18-1 0,18 2 0,-18-2 0,18 0 15,0 1-15,-18 0 0,1 0 16,17-1-16,-17 0 16</inkml:trace>
  <inkml:trace contextRef="#ctx0" brushRef="#br0" timeOffset="30247.93">10738 6191 0,'17'-35'47,"1"35"-31,-1-18-1,2 18-15,-2 0 16,0 0-16,1 0 16,0 18-16,0-18 0,-18 18 15,17-18-15,-17 17 16,0 19-16,0-19 16,-17 1-16,17-1 15,-18 0-15,18 2 0,-18-2 16,0 1-16,1 18 0,0-19 15,-2 18-15,2-35 0,-1 18 0,18 0 16,-17-18-16,17 17 16,-19 0-16,2 1 15,17 0 17,36 0-17,-19-18-15,1 0 16,18 0-1,-2 17-15,-16-17 0,0 0 0,0 0 16,34 0-16,-34 17 0,0-17 16,-1 0-16,0 0 0,2 0 15,-2 0-15,1 0 0,-1 0 16,2 0 0</inkml:trace>
  <inkml:trace contextRef="#ctx0" brushRef="#br0" timeOffset="30906.97">10826 6526 0,'17'-18'15,"1"1"-15,-18 0 16,18 17-16,-18-18 16,18 18-16,-18-18 15,17 18-15,-17-18 0,17 1 16,-17 0 0,18-2-1,-18 2 1,0-1-16,0 1 15,0-2 1,0 2 0,0 0-16,0-1 15,-18-18 1,1 19 0,0 0-1,-1-1 1,0 18-1,0-18 1,1 36 0,0-18-1</inkml:trace>
  <inkml:trace contextRef="#ctx0" brushRef="#br0" timeOffset="32659.06">10350 6068 0,'17'-18'31,"-17"0"-15,0 1 31,0 0-32,0-2 17,-17 2 46,34 17-16,18 0-46,-16 0-16,-2 0 0,0 0 15,1 0-15,18 0 0,-19 0 0,18 0 16,18 0-16,-36 0 16,2 0-16,16 0 0,-18 17 0,19-17 15,-19 0-15</inkml:trace>
  <inkml:trace contextRef="#ctx0" brushRef="#br0" timeOffset="36256.83">12995 6296 0,'-34'19'15,"15"-2"1,2-17-16,-18 35 16,16-16-16,2-2 0,-18 18 15,18-17-15,-2 0 16,-15 16-16,16-16 0,18 0 0,-18-18 15,0 18-15,1-1 16</inkml:trace>
  <inkml:trace contextRef="#ctx0" brushRef="#br0" timeOffset="36491.87">13171 6315 0,'-17'35'0,"-36"1"16,35-2 0,-16-16-16,-2 18 0,-35 34 15,19-18-15,16-16 0,1 18 16,-53 34-16,18 0 15,34-54-15</inkml:trace>
  <inkml:trace contextRef="#ctx0" brushRef="#br0" timeOffset="42386.62">10597 8043 0,'34'-17'16,"-15"17"-16,-2 0 16,18 0-16,-18 0 0,19 0 0,70 17 15,-53-17 1,-18 0-16,18 0 0,-17 0 0,-1 0 0,70 0 15,-69 17 1,-19-17-16,1 0 0</inkml:trace>
  <inkml:trace contextRef="#ctx0" brushRef="#br0" timeOffset="42648.94">10790 8202 0,'19'0'15,"-2"0"-15,0 0 0,1 0 16,0 0-16,17 0 0,0 0 16,1 0-16,-2 0 0,2 0 0,-1 0 15,18 0-15,-18 0 0,18 0 0,-35 0 16,18-18-16,-2 18 15,2 0-15,16 0 0,-16 0 16,-18 0-16,-1 0 0,2 0 16,-2 0-16,0 0 0</inkml:trace>
  <inkml:trace contextRef="#ctx0" brushRef="#br0" timeOffset="43909">17511 8096 0,'123'0'0,"-52"0"0,-1 0 0,1 0 15,0 0-15,17 18 0,-18-18 16,18 0-16,-17 0 0,0 0 0,-1 0 16,1 17-16,34-17 0,-34 19 15</inkml:trace>
  <inkml:trace contextRef="#ctx0" brushRef="#br0" timeOffset="44172.44">17846 8255 0,'53'-17'0,"-35"17"16,16 0-16,56 0 0,-38 0 0,18 0 15,18 0-15,-17 0 0,0 17 16,17-17-16,53 0 0,-53 0 16,-17 17-16,-1-17 0,72 0 15,-89 18-15,18-18 16</inkml:trace>
  <inkml:trace contextRef="#ctx0" brushRef="#br0" timeOffset="44915.03">23667 8026 0,'88'0'16,"-17"0"-16,-36-18 0,18 18 15,0 0-15,18 0 0,-2 0 16,-15 0-16,16 0 0,36 0 16,-53 0-16,-17 18 0,69-18 15,-87 0-15</inkml:trace>
  <inkml:trace contextRef="#ctx0" brushRef="#br0" timeOffset="45114.01">23702 8219 0,'0'0'15,"53"19"-15,-35-19 16,18 0-16,-19 0 0,88 0 16,-51 0-16,16 0 0,72 0 15,-73 0-15,2 0 0,-18 0 16,0 17-16,35-17 0,-53 0 15,-16 0-15</inkml:trace>
  <inkml:trace contextRef="#ctx0" brushRef="#br0" timeOffset="47908.56">11637 8960 0,'18'0'31,"53"0"-16,-54 0 1,1 0-16,-1 0 0,0 0 16,19 0-16,-1 0 15</inkml:trace>
  <inkml:trace contextRef="#ctx0" brushRef="#br0" timeOffset="48136.92">12185 8978 0,'17'0'31,"0"18"-16,1-18-15,-1 0 0,2 0 16,-2 0-16,18 0 0</inkml:trace>
  <inkml:trace contextRef="#ctx0" brushRef="#br0" timeOffset="48447.4">12625 9031 0,'-18'-17'16,"53"34"15,1-17 1,-19 0-32,1 0 0</inkml:trace>
  <inkml:trace contextRef="#ctx0" brushRef="#br0" timeOffset="48827.34">13259 9031 0,'36'0'16,"-1"0"-1,1 0-15,-1 0 32,1 0-32,-19 0 15</inkml:trace>
  <inkml:trace contextRef="#ctx0" brushRef="#br0" timeOffset="50245.67">13930 8978 0,'71'0'0,"-35"0"0,-19 0 16,0-18-16,1 18 0,-1 0 15,19 0-15,-19-17 0,1 17 16,0 0-16,0 0 15,-1 0-15,0 0 0</inkml:trace>
  <inkml:trace contextRef="#ctx0" brushRef="#br0" timeOffset="51657.66">15182 10160 0,'0'35'15,"19"-35"-15,-19 17 16,0 2-16,0-2 0,0 1 0,0-1 16,0 2-16,0-2 15,17 0-15,-17 1 16,0-1-16,0 2 16,17-2-16,1-53 31,0 1-31,-18 18 0,18 0 15,-18-19-15,17-18 0,0 20 16,2-72-16,-2 70 0,-17-17 16,0 1-16,0-1 0,0-1 0,0 20 15,0-2-15,0 1 0,18-1 16,-18 19-16,0-18 0,0 18 16,0-19-16,17 18 0,-17 1 15,17 17-15,2-19 0,16 2 16,1 17-16,-2 0 0,2-17 0,34 17 15,0 0-15,18 0 0,2 17 16,15-17-16,19 0 0,-1 17 0,18-17 16,18 19-16,35-19 0,-18 17 0,212 1 15,-194-1-15,0-17 0,18 19 16,-18-19-16,0 17 0,0-17 16,212 17-16,-212-17 0,176 18 15,-211-1-15,141 2 16,-177-2-16,1-17 15,0 17-15,-19 1 0,-17 0 0,71 0 16,-71-1-16,-52-17 16,-19 0-16,-17 17 0</inkml:trace>
  <inkml:trace contextRef="#ctx0" brushRef="#br0" timeOffset="52389.25">15977 10124 0,'-18'36'16,"0"-36"0,0 35-16,18-18 0,-17 2 15,17-2-15,-17 1 0,-2 18 16,2-2-16,17-16 0,-18-1 15,18 2-15,-17-2 0,17 0 16,0 1-16,0 0 16</inkml:trace>
  <inkml:trace contextRef="#ctx0" brushRef="#br0" timeOffset="52618.34">16594 10266 0,'-53'53'0,"35"-36"15,1 1-15,-2-1 16,2 2-16,0-2 0,-1 0 0,0 1 0,0 0 15,18 0-15,-17-1 16</inkml:trace>
  <inkml:trace contextRef="#ctx0" brushRef="#br0" timeOffset="52850.94">16258 10336 0,'0'0'0,"19"0"0,-2 18 16,18 18-1,-17-19 1,0 0-16,-1 1 0,0 18 16,1-36-16,0 17 15,0 0-15,-1 2 0,0-19 16,2 17-16</inkml:trace>
  <inkml:trace contextRef="#ctx0" brushRef="#br0" timeOffset="53556.98">16858 10283 0,'53'0'0,"-53"19"16,18-19-16,-18 17 15,17-17-15,-17 17 0,0 1 16,0-1-16,0 2 15,-17-19-15,17 17 0,-18 0 16,1 1-16,-2 0 16,19 0-1,19-18 1,-2 0-16,18 17 16,-16-17-1,-2 17-15,0-17 16,-17 19-16,-17-2 15,0 1 1,-2-1-16,-16-17 16,18 17-16,-2-17 0,2 0 0,0 19 15,-1-19-15,1 0 0,-2 17 0,2-17 16,0 0-16</inkml:trace>
  <inkml:trace contextRef="#ctx0" brushRef="#br0" timeOffset="53805.16">17617 10302 0,'-35'17'0,"16"0"0,19 1 16,-17-1-16,0-17 0,-1 36 0,0-19 16,-17 37-16,35-37 15,-17 0-15,-1 2 0,0-2 0,0 1 16,18-1-16</inkml:trace>
  <inkml:trace contextRef="#ctx0" brushRef="#br0" timeOffset="54023.08">17282 10354 0,'17'17'15,"1"-17"-15,-18 19 0,17-19 0,2 17 16,-2 0-16,0 1 15,19 0-15,-18 0 0,-1-18 0,-17 17 16,17-17-16,1 17 0,0-17 16,0 19-16</inkml:trace>
  <inkml:trace contextRef="#ctx0" brushRef="#br0" timeOffset="54582.61">18058 10302 0,'-17'0'15,"-19"0"-15,18 17 16,1-17-16,-2 17 0,2 1 15,0-1-15,-1-17 16,18 19-16,0-2 16,18 0-1,-1-17-15,0 0 0,2-17 16,-2 17-16,1 0 0,-1-17 16,2 17-16,-2-19 15,0 19-15,1 0 16,-1 0-1,-17 19-15,0-2 16,0 0-16,0 19 0,0-18 16,0 16-16,0-15 15,-17 16-15,17-18 0,0 0 16,0 2-16,0-2 16,0 1-16</inkml:trace>
  <inkml:trace contextRef="#ctx0" brushRef="#br0" timeOffset="54808.94">18763 10319 0,'-53'52'16,"18"-16"-16,18-1 0,-19-17 16,1 34-16,17-33 15,0-2-15,-16 18 16,16 1-16,0-19 0,18 1 16</inkml:trace>
  <inkml:trace contextRef="#ctx0" brushRef="#br0" timeOffset="55019.91">18429 10407 0,'17'53'16,"0"-53"-1,1 35-15,0-18 16,0 2-16,-1-2 15,18 18-15,1-18 16,-19-17-16,0 19 16,2-19-16</inkml:trace>
  <inkml:trace contextRef="#ctx0" brushRef="#br0" timeOffset="55644.23">19117 10212 0,'88'36'15,"-88"-18"-15,17-1 0,-17 2 16,-17 15-16,-2 1 15,-16 18 1,18-35-16,-71 71 31,88-72-15,0 1 0,17-18-1,1 0-15,18-18 16,-2 18-16,-16 0 15,-1 0-15,36-17 16,1 17-16,-20-19 16,-15 19-16</inkml:trace>
  <inkml:trace contextRef="#ctx0" brushRef="#br0" timeOffset="55937.28">19663 10231 0,'0'-19'0,"35"38"31,-35-2-31,0 37 15,0-37 1,0 18-16,0-18 16,-17 19-16,17-19 0,0 1 0,-18 18 15,18-19 1,0 0 0</inkml:trace>
  <inkml:trace contextRef="#ctx0" brushRef="#br0" timeOffset="56114.47">19539 10460 0,'0'-18'0,"36"18"16,-18 0-16,-1 0 16,0-18-16,37 18 0,16 0 15,-35 0-15,1-17 16,52 17-16,-17 0 15,-37 0-15</inkml:trace>
  <inkml:trace contextRef="#ctx0" brushRef="#br0" timeOffset="56435.77">20262 10248 0,'0'0'0,"-17"54"15,-18-2 17,35-35-32,-36 36 0,19-35 15,-1 0-15,1 17 0,-2 1 16,2-19-16,0 18 0</inkml:trace>
  <inkml:trace contextRef="#ctx0" brushRef="#br0" timeOffset="56659.34">20103 10336 0,'36'18'15,"-18"-1"-15,35 19 16,-1-19 0,-16 1-16,-1 0 15,-17-18-15</inkml:trace>
  <inkml:trace contextRef="#ctx0" brushRef="#br0" timeOffset="57621.39">20827 10283 0,'0'-17'16,"-17"-1"-1,-19 1 1,1 17 15,-1 0-15,36 17 0,0 18-1,0-16-15,18-2 16,-18 0-16,0 1 0,0-1 15,0 2-15,0-2 0,0 0 16,0 1-16,-18 0 0,18 0 16,-17-1-16,0 0 15,-1 2-15,0-19 16,0 17 0,36-53 15,18 2 0,-19 16-31,0 0 0,1 0 16,0 18-16,0-34 0,16 15 15,-34 2-15,19-1 0,-19 1 16,0 0-16,17-2 16,-17 2-1,-17 17-15,17-18 16,-19 18-16,2 0 15</inkml:trace>
  <inkml:trace contextRef="#ctx0" brushRef="#br0" timeOffset="57803.61">21039 10248 0,'0'54'0,"-18"-37"0,18 0 16,-18 1-16,18-1 0,-17 2 0,0-2 15,-2 18 1,19-17-16,-17 0 0,17-1 0</inkml:trace>
  <inkml:trace contextRef="#ctx0" brushRef="#br0" timeOffset="59349.29">15218 10283 0,'-17'-17'0,"17"-1"62,0 1-46,0-2 15,0 2-15,0 0 0,0-1-1,0 0 1,0 0-1,-36 36 17,18 0-1,1 0-31,0-1 0,-2-17 16,-16 17-16,35 2 15,-36-2-15,19-17 0,0 18 16,-1-18-16</inkml:trace>
  <inkml:trace contextRef="#ctx0" brushRef="#br0" timeOffset="63076.99">15059 9631 0,'18'0'0,"-18"-17"0,-35 34 47,35 0-47,-19-17 15,2 0-15,0 0 16,17 18-16,-18-18 0,0 17 0,0-17 16,1 19-16,0-19 15,17 17 1,0 0 0,17-17-1,-17 18-15,17-18 0,1 18 16,0 0-1,0-1-15,-1 0 16,-34 2 0,17-2-1,-18-17-15,18 18 0,-18-18 0,0 0 16,1 17-16,0-17 16,-1 17-16,0-17 0</inkml:trace>
  <inkml:trace contextRef="#ctx0" brushRef="#br0" timeOffset="67755.2">16487 10442 0,'-17'-18'16,"0"18"31,-1 18-32,0-18 1,18 18-16,-18-18 16,1 18-16,0-18 0,-1 17 0,18 0 15,-18 2-15,0-19 0,1 17 16,0 1-16,-19 16 15,-16 2-15,33-18 16</inkml:trace>
  <inkml:trace contextRef="#ctx0" brushRef="#br0" timeOffset="98655.2">17423 12752 0,'18'-17'15,"-1"17"-15,18 0 32,-17 36-17,0-19-15,-1 1 0,0-1 16,2 19-16,-2-19 16,1 1-16,-1-1 0,2 2 0,15 33 15,-16-34 1,-1-18-16,2 18 15,-2-18-15,0 0 16,19-36 0,-18 18-16,-18-16 0,17-2 0,-17-16 15,0-2-15,0 1 0,0 0 0,0 1 16,0-19-16,-17-88 16,17 123-16,0 2 0,0 16 15,-18-18-15,18 19 0,0-36 16,0 35-16,18 18 0,-18-17 15,17 17-15,0 0 0,2 0 16,121-17 0,-69 17-16,141 0 0,-107 0 15,19 0-15,0 0 0,140 0 16,-140 0-16,16 0 0,-16 0 16,247 0-16,-266-19 15,2 19-15,-19 0 0,-18 0 16,72 0-1,-108 0-15,-16 0 0,-1 0 0,-52 0 32,1 0-17,-20 0-15</inkml:trace>
  <inkml:trace contextRef="#ctx0" brushRef="#br0" timeOffset="99364.46">17582 12206 0,'-19'0'0,"-15"0"32,16 0-32,0 0 0,18 18 0,-18-18 0,1 18 15,0-18-15,17 17 16,-18-17-16,18 17 0,18 19 15,-1-18 1,0-1 0,1-17-16,-18 17 0,18-17 0,-18 19 0,18-19 15,-18 17-15,0 1 16,-54 16 0,37-15-16,0-19 0,-1 17 15,-18 1-15,-17-1 16,36-17-16,-1 19 0,1-19 0,0 17 15</inkml:trace>
  <inkml:trace contextRef="#ctx0" brushRef="#br0" timeOffset="100355.48">18658 12488 0,'-36'35'32,"19"18"-17,-1-35-15,0 18 0,18-19 0,-18 18 16,1 54 0,17-72-16,0 1 0,0 52 15,17-52-15,-17-1 16,18 2-16,0-2 15,0-17-15,-1 0 16,0 0-16,-17-17 16,0-19-1,-17 18-15,17 1 0,-17 17 16,17-17-16,-18-2 0,-18 2 16,36-1-16,-17 18 15,0 0-15,-1 0 0,0 0 16</inkml:trace>
  <inkml:trace contextRef="#ctx0" brushRef="#br0" timeOffset="100968.16">18905 12576 0,'17'-17'16,"-17"34"-16,17 1 16,-34 0-1,17 0 1,0-1-16,-17-17 0,17 17 0,0 1 16,0 0 15,0 0-31,0-1 15,17-17-15,-17 17 0,17 2 16,-17-2-16,19 1 16,-19-1-1,-19 2-15,2-2 0,0 0 16,-1-17 0,0 0-16,0 18 0,1-1 0,-19-17 15,19 19-15,-1-19 0,1 0 16</inkml:trace>
  <inkml:trace contextRef="#ctx0" brushRef="#br0" timeOffset="101199.34">19222 12806 0,'0'17'16,"0"2"-16,0-2 16,-17 18-1,17-18-15,-19-17 0,2 19 16,17-2-16,-18 0 0,1 19 16,0-18-16,17-1 0</inkml:trace>
  <inkml:trace contextRef="#ctx0" brushRef="#br0" timeOffset="101782.99">19734 12682 0,'-71'53'0,"35"-17"16,19-36-16,0 17 16,-1 1-16,0-1 15,18 2-15,-18-2 0,18 0 16,18 1 0,-18-1-16,18-17 15,0 0-15,-1 19 0,0-2 0,19-17 16,16 0-1,-33 17-15,-2-17 0,18 0 16,-18 0-16,2 0 0,-2-17 16,1 17-16,-1 0 0</inkml:trace>
  <inkml:trace contextRef="#ctx0" brushRef="#br0" timeOffset="102012.53">19839 12735 0,'0'36'31,"0"-1"-15,0-18-16,0 2 0,0-2 16,-17 0-16,17 1 0,0-1 0,0 2 15,0-2-15,0 18 0,0-17 16,0 0-16,0-1 0,0 0 0,-19 1 15,38 0-15,-19 0 0,0-1 16</inkml:trace>
  <inkml:trace contextRef="#ctx0" brushRef="#br0" timeOffset="102445.21">20015 12752 0,'18'0'15,"0"0"-15,0 0 0,16 19 16,-34-2 0,19-17-16,-19 18 0,-19 18 15,19-19-15,-17 0 0,17 1 16,-17-1-16,-1-17 0,18 19 16,-18-2-16,18 0 0,-18-17 15,1 18-15,17 0 0,-17-18 16,17 18-16,-18-18 0,18 17 15,18-17 1,-1 0-16,54 0 16,-54 0-1,0 0-15,19-17 16,18 17-16,-37-18 0,18 18 0,-18 0 16,2 0-16,-2-18 0</inkml:trace>
  <inkml:trace contextRef="#ctx0" brushRef="#br0" timeOffset="104735.91">20403 12735 0,'19'-17'109,"16"17"-93,-18 0-1,0 17 1,-17 0 15,0 2-15,0-2-1,19 1 1,-19-1 0,0 2-16,0-2 15,17 0 1,-34-17-16,17 18 16,-19-1-16,-15 2 15,34-2-15,-18-17 0,1 17 16,-2-17-16,19 18 0,-17-18 0,0 18 15</inkml:trace>
  <inkml:trace contextRef="#ctx0" brushRef="#br0" timeOffset="111339.31">18517 12647 0,'88'0'0,"-54"0"0,20 17 16,-1-17-16,18 0 0,-1 0 0,18 0 16,-17 0-16,17 18 0,-17-18 15,-1 0-15,18 0 0,54 0 16,-90-18-16,1 18 0,-18 0 0,1 0 16,-2 0-16,-15 0 0,-2-17 15</inkml:trace>
  <inkml:trace contextRef="#ctx0" brushRef="#br0" timeOffset="111572.81">17475 12682 0,'142'0'16,"-72"0"-16,18 0 15,36 0-15,140 0 16,-122 18-16,16-18 0,-16 0 0,-1 18 0,-18-18 16,18 17-16,-17-17 0,-1 0 15,89 17-15,-124-17 0,-18 0 16,1 0-16,-18 0 0,-1 19 0,-16-19 16,-1 0-16</inkml:trace>
  <inkml:trace contextRef="#ctx0" brushRef="#br0" timeOffset="112399.53">18181 14675 0,'18'19'16,"-18"-2"-16,0 0 0,0 1 0,0-1 0,0 2 16,18-2-16,-18 0 0,0 1 0,0 0 15,17 0-15,-17 16 16,17 2-16,2-36 0,-19 18 15,17-1-15,1-17 0,-18 17 16,17-17-16,0-17 16,-17 0-16,19-1 0,-19 1 0,17-2 15,-17-15-15,0-2 0,0 1 16,18-18-16,-18-18 0,0 19 16,0-55-16,0 55 0,17 16 15,-17 2-15,19-20 16,-19 20-16,17 15 0,-17 2 0,17-1 15,19 1-15,-1-2 0,18 19 0,-1-17 16,2 0-16,87-1 0,-36 18 16,2 0-16,-19-18 15,17 18-15,2 0 0,104-18 0,-123 18 16,18 0-16,-35 0 0,17 0 16,-17 0-16,-1 0 0,1 0 15,-19 0-15,-16 0 0,-19 0 0,18 0 16,-16-17-16,-2 17 0,0 0 0,-51 17 31,15-17-31,-50 0 16,-2 18-16,18-18 0</inkml:trace>
  <inkml:trace contextRef="#ctx0" brushRef="#br0" timeOffset="112997.27">18287 14235 0,'-53'0'0,"36"0"15,17 17-15,-18-17 16,0 18-16,0-1 15,1 2 1,34-2-16,-17 0 16,18-17-1,-18 18-15,18-1 0,-18 2 16,0-2 0,0 0-16,0 1 15,-18-18-15,0 0 0,18 18 16,-17-18-16,17 18 0,-17-18 15,-2 17-15</inkml:trace>
  <inkml:trace contextRef="#ctx0" brushRef="#br0" timeOffset="113666.55">18975 14658 0,'35'-18'16,"-18"18"-16,-69 0 47,52 18-47,-36-18 15,19 0-15,0 17 0,-1-17 16,0 0-16,0 0 0,18 19 15,-17-19-15,17 34 16,0-16 0,17-18-1,-17 17-15,18-17 0,-18 19 0,36 15 16,-36-16 0,0 0-1,0 0-15,-18-1 16,0 0-16,0 2 0,1-19 0,0 17 15,-2-17-15,-16 0 16,18 18-16,0-18 0,-2 17 16,2-17-16,-1 0 15</inkml:trace>
  <inkml:trace contextRef="#ctx0" brushRef="#br0" timeOffset="114058.65">19275 14694 0,'-36'-19'16,"-17"38"-16,36-19 15,-1 17-15,1-17 0,17 17 16,-17-17-16,-19 18 0,36-1 16,-18-17-16,18 19 0,0-2 15,18 0 1,-1-17 0,2 0-16,-2 0 15,0 0-15,1 0 16,-1 0-1,-17 18-15,0 0 16,0 17-16,0-18 16,0 19-1,0-18-15,19-1 16,-19 0-16,17-17 16</inkml:trace>
  <inkml:trace contextRef="#ctx0" brushRef="#br0" timeOffset="114559.64">19627 14658 0,'-17'0'0,"-18"17"31,17 2-31,0 15 16,18-16-16,0 18 16,18-2-16,0 2 15,0-18-15,-1-18 16,0 17-16,1-17 0,0 0 16,17 0-16,-18-17 15,2 17-15,-19-18 0,17 0 16,-17 0-16,0 1 15,-17-19-15,-2 19 16,19-1-16,-17 1 0,0 0 16,-1 17-16,0-19 15,0 38 1,1-19 0</inkml:trace>
  <inkml:trace contextRef="#ctx0" brushRef="#br0" timeOffset="114888.65">20157 14640 0,'-54'35'0,"37"-16"16,-18-2-16,35 0 15,-18-17-15,0 35 16,1-35-16,17 19 0,-17-19 16,17 34-16,0-16 15,0 0-15,17-18 16,-17 18-16,17-1 16,19-17-16,-18 17 15,-1-17-15,19 19 16,-19-19-16,1 0 15,-1 0-15,2 0 0,-2-19 16</inkml:trace>
  <inkml:trace contextRef="#ctx0" brushRef="#br0" timeOffset="115104.44">20210 14675 0,'-17'19'31,"17"-2"-31,0 0 0,17-70 0,-53 124 16,36-54-16,-17 19 0,17-1 15,-18-17-15,18 17 0,-17 1 0,-2-19 16,2 35-16,17-33 16,0-2-16,-17 18 0,17-16 15,0-2 1,17-17-16</inkml:trace>
  <inkml:trace contextRef="#ctx0" brushRef="#br0" timeOffset="115436.38">20598 14675 0,'-17'-17'0,"-2"17"0,55 17 15,-107-34-15,54 34 16,-2-17-16,-33 19 0,35-19 0,-2 17 16,2 0-16,0-17 15,17 18-15,17-1 16,0-17 0,2 0-16,-2 0 0,1 19 15,-1-19-15,0 0 16,-17 17-16,19-17 0,-19 17 15,0 1-15,0 18 0,0-19 16,0 19-16,0-19 16,0 1-16,-19-1 0,19 0 15,-17 2-15,17-2 0,0 1 16,0-1 0</inkml:trace>
  <inkml:trace contextRef="#ctx0" brushRef="#br0" timeOffset="136531.57">15553 8538 0,'36'-19'16,"16"19"-1,-16 0-15,-2 0 0,-15 0 16,-2 0-16,35 0 16,-33 0-16,-2 0 15,1 19-15</inkml:trace>
  <inkml:trace contextRef="#ctx0" brushRef="#br0" timeOffset="136745.59">15465 8731 0,'53'0'32,"-36"0"-32,37-17 15,-20 17-15,2 0 0,-1 0 16,-18 0-16,19 0 0,35-18 15,-36 18-15,1 0 16</inkml:trace>
  <inkml:trace contextRef="#ctx0" brushRef="#br0" timeOffset="137140.82">16558 8431 0,'-35'0'15,"70"0"-15,-87 0 0,33 0 0,2 0 16,-36 17 0,35 2-16,1-2 0,0-17 0,-1 18 15,0-1-15,18 2 16,-18-2-16,36 0 31,18-17-31,-2 0 16,-34-17-1,36 17-15,-18 0 16,-1 17 0,-17 19-1,0-18-15,0-1 0,0 0 16,-17 19-16,17-18 15,0-1-15,-18 36 16,18-35-16,0-1 16</inkml:trace>
  <inkml:trace contextRef="#ctx0" brushRef="#br0" timeOffset="137352.44">16929 8696 0,'-35'18'16,"16"-18"-16,-15 17 15,-1 0 1,-1 2-16,19-2 0,-37 1 0,-34 52 16,54-52-16,15-1 0,2-17 15,-18 36 1</inkml:trace>
  <inkml:trace contextRef="#ctx0" brushRef="#br0" timeOffset="137533.39">16946 8767 0,'0'17'16,"-17"1"-16,-1-1 15,1 2-15,-19-2 0,-16 18 0,16 1 0,-123 69 16,106-52 0,-18-18-16,19 18 15</inkml:trace>
  <inkml:trace contextRef="#ctx0" brushRef="#br0" timeOffset="153470.25">15006 9295 0,'-17'0'15,"-1"-17"1,0 17-16,0 0 15,1-18 1,0 18 0,-19 0-1,18 0 1,1 0-16,0 0 0,-2 0 0,2 0 0,-1 0 16,1 18-16,-2-18 0,-33 17 15,16 2 1,19-2-16,0 0 0,-54 54 15,54-54-15,-19 19 16,18-18-16,1-1 0,-19 71 16,19-52-16,17-19 15,0 18-15,0 54 16,0-71-16,0-1 0,36 71 16,-36-71-16,17 2 15,0-2-15,-17 1 0,18-1 0,18 19 16,-19-19-1,18 1-15,-17-18 0,0 18 0,-1-18 0,19 18 16,-19-18-16,18 0 0,-18 17 0,19-17 16,18 0-1,-37 17-15,0-17 0,1 0 0,18 0 0,16 0 16,-34 0 0,17 0-16,-18 0 0,2-17 15,33 17 1,-33-17-16,-2 17 0,0 0 0,1-18 0,-1 18 15,2-18-15,15 0 16,-16 18-16,0-17 16,0 17-16,16-17 15,-15-2-15,-19 2 0,17 17 16,-17-18-16,18 1 0,-1-2 0,0-15 16,2 16-1,-19 1-15,0-2 0,0-15 16,17 16-16,-34-35 15,17 36-15,0-2 16,0 2-16,-19-1 0,19-35 16,-17 36-1,0-18-15,17 16 0,-18 2 0,1 0 16,17-1-16,-36-35 16,19 36-16,-19-1 15,36 0-15,-18 0 0,-16 1 0,15 0 16,-16-2-1,18 2-15,0 17 0,-54-35 16,35 35-16,19 0 0,-19-17 16,1 17-16,-53 0 15,71 0-15,-19 0 0,-106 34 16,108-16 0,-2 18-16,-16-19 0,16 0 0,1 19 15,18-18-15,-19-1 0,18 0 0,1 2 16</inkml:trace>
  <inkml:trace contextRef="#ctx0" brushRef="#br0" timeOffset="156911.88">15042 10178 0,'-19'17'0,"2"-17"16,0 17-1,-1 2-15,0-19 16,-17 35 0,18-18-16,-1 2 0,0-2 15,0 0 1,54-34 46,-1 0-46,-18 17-16,-17-19 16,18 19-16,0 0 0,17-17 15,-18 17 1,2 0-1,-2 17-15,1 2 16,-1-19-16,2 17 16,-19 0-16,17 1 15,0 18 1,-17-19-16,18 0 16,-18 1-16,17 0 15,-17 0 1,19-1-1,-2-17 17,-17 17-17,0-34 95</inkml:trace>
  <inkml:trace contextRef="#ctx0" brushRef="#br0" timeOffset="159640.6">24461 9895 0,'17'17'31,"-17"19"-31,17-18 16,-17 18 0,0-19-16,19 0 0,-19 1 15,0 0 1,0 0-1,35-54 1,-35 18 0,17-16-16,-17 15 0,0-16 15,19-1-15,-19-52 16,17 54-16,-17-2 0,17-35 16,-17 54-16,0-18 0,18 18 15,-18-2-15,18 2 0,-18-18 0,35-1 16,0 19-16,1-18 0,122-18 31,-87 35-31,212-35 16,-195 36-16,0 17 0,17-19 0,2 19 15,-19-17-15,17 17 0,-17 0 16,124-18-16,-141 1 16,-18 17-16,-1 0 0,-16 0 15,16 0 1,-87 17 15,1-17-15</inkml:trace>
  <inkml:trace contextRef="#ctx0" brushRef="#br0" timeOffset="188228.8">18058 5062 0,'264'106'0,"-211"-88"0,1-18 0,-2 17 16,-16 2-16,-2-19 0,2 17 16,-18-17-16,16 0 0,2 17 15,-18-17-15,-1 0 0,2 0 0,-2 0 16,0 0-16</inkml:trace>
  <inkml:trace contextRef="#ctx0" brushRef="#br0" timeOffset="188488.93">18781 5044 0,'0'-17'0,"17"17"16,2 0-16,-2 0 16,0 17-16,1-17 0,18 18 0,-19 0 15,0 17-15,19-18 0,-18 19 16,-1-1-16,0 1 0,2-19 0,-19 18 16,0-16-16,0 15 0,-19 2 0,2-1 15,0 1-15,-1-1 0,-18 18 0,2-36 16,16 18-16,-18 1 0,2-19 15,-2 1-15</inkml:trace>
  <inkml:trace contextRef="#ctx0" brushRef="#br0" timeOffset="189848.17">20103 5115 0,'0'36'0,"0"-19"15,0 1-15,0-1 0,0 2 0,0-2 0,0 0 16,0 18-16,0-16 0,0 15 16,0-16-16,0 18 0,0-19 15,0 0-15,19 2 0,-19-2 0,0 1 16,0 16-16</inkml:trace>
  <inkml:trace contextRef="#ctx0" brushRef="#br0" timeOffset="198507.78">8691 10778 0,'-193'141'0,"174"-124"0,-15 1 0,16-1 0,-18 0 15,2 19-15,16-18 0,0-1 16,0-17-16</inkml:trace>
  <inkml:trace contextRef="#ctx0" brushRef="#br0" timeOffset="198728.95">9026 10759 0,'-17'36'0,"-1"-19"0,-16 1 16,-2 0-16,1 17 0,-53 36 16,35-37-16,-18 2 15,18 18-15,-18-2 0,19-16 0,-19 16 16,18-16-16,0-2 0,18 2 0</inkml:trace>
  <inkml:trace contextRef="#ctx0" brushRef="#br0" timeOffset="204202.76">683 11995 0,'-17'35'0,"0"-35"16,17 17-16,-36 36 16,36-35-16,-18-1 15,1 2-15,17-2 0,-19 18 0,2-17 16,17 0-16,-17-18 0,-1 52 16,1-52-16,17 18 15,-19 0-15,19-1 0,-17 0 16,17 2-1,17-19-15,-17 17 16,19 1-16,-2-18 16,1 17-16,-1-17 15,19 0-15,-19 0 16,1 0-16,-1 0 0,2 0 16,-2 0-1</inkml:trace>
  <inkml:trace contextRef="#ctx0" brushRef="#br0" timeOffset="204612.53">913 12294 0,'-18'-18'0,"1"18"31,-2 18-15,-15 0 0,34 0-16,0-1 15,-18-17-15,18 17 16,18 2-16,-18-2 16,17-17-16,0 0 15,2 0 1,-19-17-1,17 17-15,-17-19 0,18 2 16,-18 0 0,0 51 31,17-15-32,-17-2-15,0 1 16,0-1-16,19-17 15</inkml:trace>
  <inkml:trace contextRef="#ctx0" brushRef="#br0" timeOffset="205048.01">1177 12224 0,'0'-18'16,"0"54"15,-18 34-15,18-52-16,-17 16 0,17 2 0,0-1 15,-17 36-15,17-54 16,0 19-16,0-1 0,0-17 0,0 0 0,0-1 16,0 0-16,0 1 0,0 0 15,0 0-15,0-1 16,17-70 15,0 1-15,-17 34-16,18-18 15,-18 19-15,18 0 0,0-2 16,-18 2-16,17 17 0,0-18 16,2 36-1,-2-1 1,-34 2-16,17-2 15,0 0-15,-36 19 16,36-18 0,-17-18-16,17 17 0,-18-17 0,0 17 15</inkml:trace>
  <inkml:trace contextRef="#ctx0" brushRef="#br0" timeOffset="205503.43">1706 12224 0,'19'-36'0,"-38"72"0,55-89 16,-36 36-16,17 17 0,-17-19 15,18 19-15,-18-17 16,18 34 15,-18 2-31,0-2 16,0 0-16,0 1 0,0 0 0,0 0 16,0-1-16,0 0 0,0 1 0,0 0 15,-18 0-15,18-1 0,0 0 16,0 2-16,0-2 0,0 1 0,0 16 15,0-15 1</inkml:trace>
  <inkml:trace contextRef="#ctx0" brushRef="#br0" timeOffset="205726.91">1689 12506 0,'-18'0'0,"72"0"31,-37 0-31,36-18 16,-35 18-16,52 0 16,-52 0-16,16 0 15,-15 0-15,-2 0 0,1 0 16,-1-17-16</inkml:trace>
  <inkml:trace contextRef="#ctx0" brushRef="#br0" timeOffset="206713.17">2413 12064 0,'-19'-17'0,"38"53"15</inkml:trace>
  <inkml:trace contextRef="#ctx0" brushRef="#br0" timeOffset="206867.16">2501 12330 0,'-19'17'0,"2"-17"31</inkml:trace>
  <inkml:trace contextRef="#ctx0" brushRef="#br0" timeOffset="212891.72">3206 11976 0,'0'-17'0,"0"53"16,-17 16 0,17-35-16,0 2 0,0 16 0,-19-18 15,19 2-15,0-2 0,-17 54 16,17-54-1,0 0-15,-18 1 0,18 0 16,0 0 0</inkml:trace>
  <inkml:trace contextRef="#ctx0" brushRef="#br0" timeOffset="213317.25">3170 11976 0,'0'-17'0,"0"34"0,0-51 15,19 34-15,15-18 16,-16 36 0,0-18-16,0 0 0,-18 17 15,17-17-15,0 36 16,1-19-16,-18 1 0,0-1 15,0 0-15,-18 19 16,18-18-16,-17-1 16,0 2-1,17-2-15,-36 0 16,18-17 0</inkml:trace>
  <inkml:trace contextRef="#ctx0" brushRef="#br0" timeOffset="213670.78">3382 12171 0,'17'0'0,"-17"17"16,19 1-16,-19 0 15,17 0 1,-17 16-16,0-16 16,0 0-16,0 0 15,-17-1 1,34-52 31,1-1-32,-1 19-15,2 0 32,-2-1-32,18 18 15,-18-18-15</inkml:trace>
  <inkml:trace contextRef="#ctx0" brushRef="#br0" timeOffset="214008.28">3787 12171 0,'-17'17'0,"0"1"16,17 0-16,0 0 15,0-1-15,0 0 0,0 1 16,0 0-16,17 0 15,0-1 1,2-17-16,-2 17 16,1-17-1,-1-17 1,2 0-16,-19-1 0,0 0 16,-19 0-1,19 1-15,-17 0 16,17-1-16,-18 18 15</inkml:trace>
  <inkml:trace contextRef="#ctx0" brushRef="#br0" timeOffset="-214571.27">4035 12154 0,'-36'17'15,"19"-17"1,17 17-16,0 1 16,-17 18-1,17-19-15,17 0 0,-17 1 0,0 0 16,35 17-1,-17-35-15,-18 17 16,18-17-16,-1 0 0,0 0 16,19 0-1,-18 0-15,-1-34 16,0 34-16,2-18 16,-19 0-1,0 0-15,-19 36 63,19 0-48,19 0 17,-2-1-17,1-17 1,-1-17-1,2 17 1,-2 0-16,0 0 16,1 0-1,0 0 1,0 0-16,-18 17 16,17-17-1,0 0 16,-17 17 1,36-17-17,-18-17 1</inkml:trace>
  <inkml:trace contextRef="#ctx0" brushRef="#br0" timeOffset="-214020.99">4863 12154 0,'19'-19'16,"-2"19"-16,18 0 16,-16 0-1,-2 0-15,0 0 16</inkml:trace>
  <inkml:trace contextRef="#ctx0" brushRef="#br0" timeOffset="-213840.81">4846 12259 0,'-17'17'0,"-1"-17"16,18 18-1,18 0 1,-1-18-1,0 0 1,2 0-16,-2 0 0,1-18 16,18 18-16,16 0 15,-35 0-15</inkml:trace>
  <inkml:trace contextRef="#ctx0" brushRef="#br0" timeOffset="-213220.86">5393 11995 0,'0'0'0,"18"0"0,0 0 15,-1 0 1,0 17 0,1 1-1,-18-1 1,0 0-16,-18 19 15,1-36-15,0 18 0,17-1 16,-18-17-16,0 19 0,0-2 16,1-17-16,0 17 15,-2-17 1,19 18 0,19-18-1,-2 18 1,0-18-16,1 0 15,0 0-15,0 0 0,34 0 16,-34 0-16,0 0 16,-1 0-16,0 0 0</inkml:trace>
  <inkml:trace contextRef="#ctx0" brushRef="#br0" timeOffset="-212848.55">5781 12083 0,'-18'-19'16,"1"19"0,0 0-1,17 19-15,-19-2 16,19 1-16,0-1 16,-17 2-16,34-19 15,-17 17-15,0 0 0,19 1 16,-2-18-16,-17 18 15,17-18-15,1 0 16,0 0 0,0 0-16,-1-18 15,-17 0 1,0 1-16,0 0 16,0-2-1,0 2 1,-17-1-16,-1 1 15</inkml:trace>
  <inkml:trace contextRef="#ctx0" brushRef="#br0" timeOffset="-212536.11">6063 12030 0,'-34'17'0,"15"19"15,19-19-15,0 1 16,19 18 0,-2-19-1,18-17 1,-18 0-16,2-17 15,-2 17 1,0-36 0,-17 18-16,-17 1 31,0-2-15,-37 38-16,1-19 15,18 0-15</inkml:trace>
  <inkml:trace contextRef="#ctx0" brushRef="#br0" timeOffset="-209993.85">9167 11800 0,'-52'54'16,"52"-37"-16,0 0 0,-18 1 15,18 0-15,0 0 0,0-1 16,-18 0-16,18 2 0,0-2 15,0 1-15,0-1 0</inkml:trace>
  <inkml:trace contextRef="#ctx0" brushRef="#br0" timeOffset="-209491.07">9133 11659 0,'70'0'0,"-35"17"16,-18-17-16,2 36 16,-19-18-16,0-1 0,0 2 15,-36 15 1,19-16-16,17-1 0,-18 2 0,1-2 15,-2-17-15,19 17 0,-17-17 0,0 0 0,17 18 16,-18-18-16,0 18 16,18 0-1,-18-18-15,36 34 16,0-34 0,17 19-1,-35-2-15,17-17 0,2 0 16,-19 18-16,17-18 0,35 17 15,-33-17-15,-2 17 16</inkml:trace>
  <inkml:trace contextRef="#ctx0" brushRef="#br0" timeOffset="-208803.86">9450 12064 0,'17'-34'15,"-34"68"-15,34-86 0,-17 35 16,0-2 0,0 2-16,-17 17 15,0 0 16,-1 36-15,18-19-16,0 1 16,18-18-16,-18 17 0,34 19 15,-16-36 1,0 17-16,0-17 0,-1 0 16,0 0-16,2 0 15,-2-17-15,18 17 16,-35-19-16,17-15 15,2 34 1,-19-18 0,17 18 15,1 18-15,-18-1-16,0 0 0,17 2 15,19 16 1,-19-18-1,1-17-15,0 19 16,0-38 0,-18 2-1,17-1 1,-17 1 0,17-2-16,-17 2 15,18 17 1,-18-17-1,18 17 1,0 17 0,-1-17-16,0 17 15,-17 2 1</inkml:trace>
  <inkml:trace contextRef="#ctx0" brushRef="#br0" timeOffset="-208549.07">10102 12047 0,'-17'71'16,"17"-54"0</inkml:trace>
  <inkml:trace contextRef="#ctx0" brushRef="#br0" timeOffset="-208396.03">10085 11888 0</inkml:trace>
  <inkml:trace contextRef="#ctx0" brushRef="#br0" timeOffset="-207708.28">10243 12135 0,'19'-17'15,"-2"17"1,-17-18-16,18 1 0,-18-2 16,17 2-1,-34 53 48,17-19-48,0 1-15,17-18 16,0 0 0,2 0-1,16 0-15,-18 0 16,2 0-16,-2 0 15,-17-18-15,17 36 16,1-18 0,0 17-1,0-17 1,-1 0 0,0 0-16,1 0 15,0-17 1,0 17-1,-18-18-15,17 18 16,0-17-16,2 17 16,-2 0-16,1 0 15</inkml:trace>
  <inkml:trace contextRef="#ctx0" brushRef="#br0" timeOffset="-207432.8">11197 12012 0,'52'0'15,"-34"0"-15,0 0 0,-1 0 16,0 0-16,1 0 0,0 0 0</inkml:trace>
  <inkml:trace contextRef="#ctx0" brushRef="#br0" timeOffset="-207273.05">11197 12171 0,'52'-17'32,"1"17"-17,-18 0-15,-17 0 16,17 0-16,1-19 0</inkml:trace>
  <inkml:trace contextRef="#ctx0" brushRef="#br0" timeOffset="-206434.08">12307 11818 0,'18'0'0,"-18"-18"16,-18 1-1,1 17 17,0 0-32,-37 0 15,20 0 1,-2 0-1,36 17-15,-18 1 16,36 18 0,-18-19-16,0 0 0,17 1 0,-17 0 15,36 17-15,-36-18 0,17 2 16,1-2-16,-18 1 0,17-1 16,-17 0-16,0 2 0,-17-19 15,17 17-15,-18 1 16,1-18-16,0 17 0,-2-17 15,2 0 1,-18 19-16,16-38 16,19 2-1,36-18 1,-18 16-16,35-15 16,-36 16-16,1 1 15,18-2-15,-19 2 0,0 0 0,1-1 16,0 18-16,0-18 0,-18 0 15,0 1-15,17 17 0,-17-17 16,-17-19-16,-1 18 16,0 18-16,0-17 15,1 17-15,0 0 16,-2 0-16,2 0 0,-1 0 0,1 0 16</inkml:trace>
  <inkml:trace contextRef="#ctx0" brushRef="#br0" timeOffset="-204869.58">437 13370 0,'-18'18'15,"0"17"1,0-18 0,1 19-1,0-18-15,-1-1 0,0 19 16,0-19-16,18 1 15,-17-1 1,17 2-16,17-2 16,1 0-1,0-17-15,34 18 16,-34-18-16,0 0 0,0 0 16,16 0-16,2 0 15,-18 0-15,52 0 16,-35 0-16,-16 0 0,-2 0 0,0-18 15,1 18-15,0 0 16,0 0-16</inkml:trace>
  <inkml:trace contextRef="#ctx0" brushRef="#br0" timeOffset="-204564.12">859 13582 0,'-52'-18'16,"16"36"-1,19-18-15,0 17 16,-1 19 0,18-1-1,0 1 1,52-36 0,-16-18-1,-18 18-15,-1-18 16,-17 0-16,17 1 15,-17 0 1,-17 17 0,17-19-16,-17 19 15,17-17 1</inkml:trace>
  <inkml:trace contextRef="#ctx0" brushRef="#br0" timeOffset="-204146.07">949 13423 0,'17'0'15,"-17"36"1,0-1 0,0-18-16,0 19 15,0-19-15,0 1 0,0-1 0,17 2 16,-17-2-16,0 0 0,0 1 15,0 0-15,0 0 0,0-1 16,0 0 0,35-34 15,-16-18-15,-19 17-16,17 0 15,0 1-15,1 17 16,-18-17-1,18 17-15,0 0 16,-1 17-16,-17 0 31,-17 19-15,-1-36-16,18 18 0,-18-18 16,0 17-1</inkml:trace>
  <inkml:trace contextRef="#ctx0" brushRef="#br0" timeOffset="-203665.16">1777 13370 0,'53'-18'0,"-36"18"0,19 0 16,-36 18 0,0 0-1,0 0-15,-18-1 0,0 0 16,18 2-16,-17-2 0,0 1 0,-1-1 16,18 0-16,-18 2 15,0-19-15,1 17 16,17 1-1,-17-18-15,34 17 32,18-17-17,-17 0-15,17 0 16,-18 0-16,19 0 16,-1-17-1,-18 17-15,2-18 0</inkml:trace>
  <inkml:trace contextRef="#ctx0" brushRef="#br0" timeOffset="-203527.25">2218 13335 0,'0'-17'16</inkml:trace>
  <inkml:trace contextRef="#ctx0" brushRef="#br0" timeOffset="-203385.17">2218 13547 0,'0'17'31,"17"-17"0</inkml:trace>
  <inkml:trace contextRef="#ctx0" brushRef="#br0" timeOffset="-202804.15">3311 13140 0,'0'-17'15,"-17"53"1,0-36-16,17 17 0,0 1 15,-18-1-15,18 2 0,-18-2 0,18 0 16,0 18-16,-18-16 0,18-2 16,0 0-16,-17 19 15,17-18-15,0-1 0,0 0 0,-17 2 0,17-2 16,0 1 0</inkml:trace>
  <inkml:trace contextRef="#ctx0" brushRef="#br0" timeOffset="-202423.13">3223 13140 0,'18'-34'0,"0"16"0,0 0 15,-1 18-15,0 0 16,1 0-16,0 0 16,0 0-16,-1 18 15,0 0-15,-17-1 0,19 0 16,-19 37-1,-19-37-15,19 2 16,-17-2-16,17 0 0,-17 1 0,-1-1 16,0 2-16,0-2 15,1-17-15,0 0 16,-1 17 0,0-17-16</inkml:trace>
  <inkml:trace contextRef="#ctx0" brushRef="#br0" timeOffset="-201849.88">3506 13335 0,'17'17'0,"1"1"0,-18 0 0,0 17 15,0-18 1,-18 19-1,18-18-15,0-1 16,18-52 31,-18 18-31,17-2-16,-17 2 0,19 17 15,-19-17-15,17-1 0,0 0 16,1 0-16,0 18 0,-18-17 15,18 17-15,-1 0 0,0-17 16,2 17-16,-2-19 16,1 19-16,-1 0 15,0 0 1,-17 19 15,0-2-15,0 0-16,19-17 0,-19 18 0,0 0 15,17-18-15,-17 18 16,35-18 0,-16 0-16,-2 0 15,0 0 1,-17-18-16,0 0 0,0 0 16,0 1-16,-17 17 15,17-17-15,-17-2 16,-2 19-1,2 0-15,-1 0 32</inkml:trace>
  <inkml:trace contextRef="#ctx0" brushRef="#br0" timeOffset="-201456.14">3982 13299 0,'0'36'15,"0"-19"-15,0 1 16,0 0-16,0 0 16,17-1-16,1 0 15,0-17 1,0 0-1,-1-17-15,19 0 16,-19-1 0,-17 0-1,18 0 1,-53 36 15,35 18-15,17-19-1,1 0 1,-1 2-16,0-19 16,19 0-1,-18 0-15,18 0 0,-19 0 0</inkml:trace>
  <inkml:trace contextRef="#ctx0" brushRef="#br0" timeOffset="-201087.96">4970 13211 0,'35'-17'15,"1"17"17,-2 0-32,-16 0 15</inkml:trace>
  <inkml:trace contextRef="#ctx0" brushRef="#br0" timeOffset="-200923.02">4917 13388 0,'-18'0'15,"53"18"1,-16-18-16,-2 0 0,0-18 0,1 36 16,-1-18-16,2 0 0,-2 0 0</inkml:trace>
  <inkml:trace contextRef="#ctx0" brushRef="#br0" timeOffset="-200285.3">5570 13000 0,'17'0'31,"1"18"-15,-1-18-16,-17 17 0,17 0 16,-17 1-16,0 0 15,0 0-15,-17-18 0,17 17 0,0 0 16,-17 2-16,-1-2 0,18 1 0,-17-1 16,-2-17-16,19 19 0,-17-19 15,0 17-15,-1 0 0,0-17 16,18 18-1,0-1 17,18-17-17,0 0-15,-1 0 0,0 0 16,2 0-16,-2 0 0,1 0 16,-1 0-16,0 19 0,2-19 0,-2 0 15,1 0-15</inkml:trace>
  <inkml:trace contextRef="#ctx0" brushRef="#br0" timeOffset="-199653.57">6029 13052 0,'17'-17'16,"-70"17"-1,35 17-15,1-17 16,-2 18-16,2-18 16,0 18-1,17 0-15,17-1 32,19 0-17,-19 2 1,1-19-16,-1 17 15,2 1 1,-38-18-16,2 36 16,-1-36-1,-18 34 1,19-34-16,0 18 0,-1-18 16,0 17-1</inkml:trace>
  <inkml:trace contextRef="#ctx0" brushRef="#br0" timeOffset="-199307.85">6169 13140 0,'0'36'0,"0"-18"0,18 18 15,0-19 1,16 18 0,-16-35-16,0 17 15,0-17-15,-1 0 0,0 0 0,2 0 16,-19-17-16,17 17 0,1 0 16,-1 0-16,2-18 0,-2 1 15,0 0-15,-17-2 16,0 2-16,-17-1 0,17 1 15,-17-2-15,-2 2 0,2 0 0,-1-1 16,1 18-16,-2 0 16,2 0-16,0-18 0,-1 36 15,0-18-15,0 0 0,1 0 0,17 18 16,-17-18-16,17 17 0</inkml:trace>
  <inkml:trace contextRef="#ctx0" brushRef="#br0" timeOffset="-198683.92">9133 12930 0,'0'-19'0,"0"72"15,-18-35-15,18 0 16,0 0-16,0-1 0,0 0 0,0 19 15,-18-18-15,18 16 0,0-15 16,0 16-16,0-18 0,-18 19 16,18-19-16,0 1 15,0-1 1,18 2 0</inkml:trace>
  <inkml:trace contextRef="#ctx0" brushRef="#br0" timeOffset="-198207.65">9186 12876 0,'17'-17'0,"-17"0"16,35-2-16,-18 19 16,19 19-1,-18-2 1,-36 35-1,18-33-15,-17-19 0,-2 17 16,2 0-16,17 1 0,-17 0 16,-1 0-16,1-1 0,-2 0 15,2-17-15,17 18 16,-17-18-16,17 18 0,-18-18 16,18 18-16,18-1 31,-1-17-31,0 0 15,2 17-15,-2-17 0,18 0 16,-18 0-16,2 0 0,-2 0 16,18 0-16,-16 0 0,-2 19 0,0-19 15,19 0-15</inkml:trace>
  <inkml:trace contextRef="#ctx0" brushRef="#br0" timeOffset="-197567.05">9643 13176 0,'0'-17'0,"0"34"0,-17-70 16,17 36-1,0-1-15,-17 0 16,-1 18 15,1 18-15,17 0-16,0-1 15,17 19 1,1-36-16,-1 17 0,0 1 16,2-18-16,-2 0 0,1 0 15,-18 17-15,17-17 0,2-17 0,-2 17 16,0 0-16,1 0 15,-18-18-15,18 18 0,-18-17 0,18 17 16,-1-19-16,0 2 0,-17 0 16,18 17-16,0 0 15,0 0 1,-1 17 0,0 0-16,2 2 31,-2-19-16,-17 17-15,18-17 16,-1-17 0,2-2-1,-19 2-15,17 17 0,-17-17 0,17 17 16,-17-18-16,35 0 16,1 18-1,-19 0 1,1 18-1,-18 0 1,0 16 0,0 2-1,-18-36-15,18 18 0,18-18 16</inkml:trace>
  <inkml:trace contextRef="#ctx0" brushRef="#br0" timeOffset="-197422.97">10279 12930 0</inkml:trace>
  <inkml:trace contextRef="#ctx0" brushRef="#br0" timeOffset="-196919.58">10455 13106 0,'18'0'0,"-18"-18"0,-18 36 63,1-1-32,17 0-16,17-17-15,-17 19 16,18-19-16,0 0 16,0 0-1,-1 0 1,0 17 0,1-17-16,0 0 15,0 0 1,-1 0-1,0 0-15,2 0 16,-19-17-16,17 17 16,1 0-16,-18-19 0,17 2 15,0 0 1,19-1 0,-18 18-16,-1 0 15</inkml:trace>
  <inkml:trace contextRef="#ctx0" brushRef="#br0" timeOffset="-196623.13">11602 13035 0,'35'0'16,"-17"0"-16,17 0 15,-18 0-15,2 0 0,-2 0 0,1 17 16</inkml:trace>
  <inkml:trace contextRef="#ctx0" brushRef="#br0" timeOffset="-196432.36">11549 13247 0,'-18'0'15,"72"-17"17,-37 17-32,18 0 15,54-19 1,-72 19-16,18 0 0,-18 0 16</inkml:trace>
  <inkml:trace contextRef="#ctx0" brushRef="#br0" timeOffset="-195742.93">12466 12876 0,'-88'71'0,"71"-54"16,17 1-16,-36 52 15,36-52-15,-18 0 0,36 0 16,-18-1-16,0 19 0,18-19 0,-18 1 15,18-18-15,-1 17 0,0 2 16,1-19-16,0 0 0,0 0 16,-1 17-16,0-17 0,-17-17 0,19 17 15,-2 0-15,-17-19 0,0 2 16,0-1 0,-17 1-16,-2-2 0,2 19 15,0-17-15,-1 17 0,0 0 16,0 0-1,18 17 1</inkml:trace>
  <inkml:trace contextRef="#ctx0" brushRef="#br0" timeOffset="-183420.37">1830 14711 0,'53'17'31,"-35"1"-31,-1-18 16,19 17-16,-36 2 0,17-19 15,-17 17-15,0 0 0,0 19 16,-17-36-16,17 18 16,-19-1-16,-15 19 15,16-19-15,-35 18 0,36-35 0,-1 17 16,0-17-16,0 19 0,-16-2 16,15-17-16,2 18 15,-1-18 1,36 17 15,35-17-15,-36 0-16,1 0 15,0 0-15,0-17 0,16 17 16,-16 0-16,18 0 16,-19-18-16</inkml:trace>
  <inkml:trace contextRef="#ctx0" brushRef="#br0" timeOffset="-183036.7">2147 14816 0,'-17'0'31,"0"18"-31,-2 35 31,19-36-31,0 2 16,19-2-16,-19 1 0,17-1 15,0 0-15,1-17 16,0 0-16,0 19 16,-1-19-16,18-19 15,-35 2 1,18-18-1,-36 35-15,18-36 16,-18 2 0,1 16-1,0 0-15,-1 18 32</inkml:trace>
  <inkml:trace contextRef="#ctx0" brushRef="#br0" timeOffset="-182740.1">2342 14799 0,'0'88'0,"0"-71"16,0 2-16,17 16 15,1-35-15,-1 17 16,2-17-16,15 0 16,-16 0-1,-1-17-15,2-1 16,-19 1-16,-19-2 16,2-15-1,-1 34-15,1-18 16,0 18-16,-2-18 15,2 18-15,-1 18 16</inkml:trace>
  <inkml:trace contextRef="#ctx0" brushRef="#br0" timeOffset="-182403.97">2853 14782 0,'-18'0'32,"18"17"-17,0 0-15,0 37 16,0-20 0,0 20-1,0-37-15,0 19 16</inkml:trace>
  <inkml:trace contextRef="#ctx0" brushRef="#br0" timeOffset="-182169.11">2589 14992 0,'17'0'0,"19"-17"0,-19 17 15,1 0-15,35 0 16,-36 0-16,1 0 0,18 0 16,-19 0-16,0 0 0,18 0 0</inkml:trace>
  <inkml:trace contextRef="#ctx0" brushRef="#br0" timeOffset="-181312.81">3311 14782 0,'-17'-19'16,"0"19"-16,-1-17 16,0 17-1,0 0-15,18 17 16,0 2-1,18 15 1,0 20-16,-18-37 16,18 0-16,-18 2 0,17 16 15,-17-18-15,0 19 16,0-19-16,-17 1 16,17-1-16,-18-17 15,18 19-15,-18-19 0,0 17 16,1-17-16,0-17 15,34-19 17,0 18-17,1 1-15,0-2 0,0 2 16,-1 0-16,18-18 16,-17-1-16,-18 19 15,0-1-15,0-18 16,0 19-16,0-19 0,-18 19 15,0-18 1,1 18-16,0 17 16,-1 0-16,0 0 15,0 17-15,1-17 0,17 17 16,-17-17-16</inkml:trace>
  <inkml:trace contextRef="#ctx0" brushRef="#br0" timeOffset="-180845.32">1954 15416 0,'17'0'16,"1"-17"-16,-1 17 16,19 0-16,35 0 0,51 17 15,-51-17-15,88 0 16,-53 0-16,70 0 16,36 0-16,-106-17 15,-18 17-15,88 0 0,-16 0 16,-91 0-16,-16 0 0,54 0 15,-90 0 1,1 0-16,-1 0 0,-17 17 16</inkml:trace>
  <inkml:trace contextRef="#ctx0" brushRef="#br0" timeOffset="-180356.18">2606 15858 0,'17'-19'16,"2"19"-16,-2 19 16,1-19-16,-18 17 15,-18 0 1,18 1-1,-36 0-15,19 17 0,0-35 16,-19 17-16,36 2 16,-18-19-16,1 17 15,0 1-15,34-1 32,54-17-1,-54 0-31,19 0 15,-1 0-15,-18 0 0,19-17 0,-1 17 16,106-18-16,-88 1 16</inkml:trace>
  <inkml:trace contextRef="#ctx0" brushRef="#br0" timeOffset="-179905.03">4158 15240 0,'88'0'16,"-69"0"-16,-2 0 15,0 0-15,1 18 0</inkml:trace>
  <inkml:trace contextRef="#ctx0" brushRef="#br0" timeOffset="-179726.87">4211 15416 0,'18'18'31,"-1"-18"-16,2 0-15,-2 0 16,0 0-16,1 0 16</inkml:trace>
  <inkml:trace contextRef="#ctx0" brushRef="#br0" timeOffset="-179509.42">4741 15099 0,'0'-17'16,"0"51"15,0-16-31,0 0 16,0 0-16,0-1 0,-18 0 0,18 1 15,0 0-15,0 0 16,0-1-16,0 0 0,0 2 15,0-2-15</inkml:trace>
  <inkml:trace contextRef="#ctx0" brushRef="#br0" timeOffset="-179164.27">5005 15187 0,'-18'17'16,"1"1"-16,17 0 15,0 0-15,0-1 16,0 0-16,17 2 16,1-19-16,-1 17 15,2-17-15,-2 0 16,0 0-16,1 0 0,0-17 15,0 17-15,-1-36 16,-17 19 0,0-1-16,0 0 15,-17 0-15,-1 1 16,18 0-16,-18 17 16,0-18-16</inkml:trace>
  <inkml:trace contextRef="#ctx0" brushRef="#br0" timeOffset="-178656.61">5587 15063 0,'-53'53'0,"0"-17"16,35-36-16,1 18 0,0-1 16,-1-17-16,0 17 0,0 1 15,1 0-15,0-18 16,17 18-16,0-1 15,0 0 1,17-17-16,0 19 0,1-19 16,18 0-16,-19 0 15,0 17-15,1-17 0,18 0 16,-19-17-16,0 17 0,2 0 16,-2 0-16,1 0 0,-1-19 15</inkml:trace>
  <inkml:trace contextRef="#ctx0" brushRef="#br0" timeOffset="-178463.87">5587 15082 0,'0'0'16,"-17"17"-16,17 0 15,0 1-15,0 0 0,-19 0 16,19 34-16,0-16 15,-17 17-15,17-18 0,0-18 16,0 19-16,-17 16 16,17-16-16,0-19 0,-18 1 0,18 0 15,0 0-15</inkml:trace>
  <inkml:trace contextRef="#ctx0" brushRef="#br0" timeOffset="-177174.6">559 15258 0,'0'-36'31,"19"18"1,-2 18-32,-17-17 0,18 0 15,-1-1 1,-17 36 15,0 16-15,0-16-1,0 18-15,0-19 0,0 0 0,0 2 16,0-2-16,-17 18 16,17-16-16,0-2 0,0 0 0</inkml:trace>
  <inkml:trace contextRef="#ctx0" brushRef="#br0" timeOffset="-177006.23">490 15540 0,'0'0'0,"17"-18"32,1 18-17,16 0-15,37-18 16,-52 18-1</inkml:trace>
  <inkml:trace contextRef="#ctx0" brushRef="#br0" timeOffset="-176571.97">825 14799 0,'70'35'15,"1"35"-15,-54-51 0,37 69 16,-37-53-16,0 18 0,-17-18 15,0 18-15,0-18 0,-17 71 16,0-52-16,-2-20 0,-33 72 16,35-70-16,-19 17 0,1-18 15,-1-1-15,1 2 0,17-1 16</inkml:trace>
  <inkml:trace contextRef="#ctx0" brushRef="#br0" timeOffset="-175893.06">419 16827 0,'18'0'16,"-36"0"-16,53 0 0,1 0 16,-19 0-16,-17 19 15,18-19-15,-18 17 0,-18 0 16,18 1-16,-17-18 0,17 17 16,-19 2-16,-15 15 0,16-16 15,0-18-15,0 18 16,1-18-16,17 18 0,-17-18 0,-1 17 15,0-17-15,18 17 0,36-17 32,34 0-17,-35 0 1,-18 0-16,19 0 0,-1 0 16,-18 0-16,19-17 0,-18 17 0,-1 0 15,19 0-15,-36-17 0,17 17 16,1 0-16,-18-18 0</inkml:trace>
  <inkml:trace contextRef="#ctx0" brushRef="#br0" timeOffset="-175635.23">683 16580 0,'71'18'0,"-36"18"16,-17-19-16,0 0 16,-1 19-16,19 70 15,-19-70-15,-17-19 16,0 54-16,0-37 0,-17 20 16,-19-20-16,36 2 15,-35 16-15,-1 2 16,19-37-16,0 2 0,-1-19 15,18 17-15</inkml:trace>
  <inkml:trace contextRef="#ctx0" brushRef="#br0" timeOffset="-174451.62">1583 16739 0,'52'17'16,"-33"-17"-16,-2 19 15,1-2-15,-18 18 16,0 1-16,0-19 15,-18 18-15,1-16 0,-2 33 16,2-34-16,0 0 16,-1-1-16,18 0 15,-17-17-15,17 19 0,-19-2 16,38 1 15,-2-36-31,1 18 16,16 0-16,-15 0 15,16 0-15,1 0 16,-19 0-16,0 0 16,1 0-16,0-17 0,0 17 15,-1 0-15,0 0 16</inkml:trace>
  <inkml:trace contextRef="#ctx0" brushRef="#br0" timeOffset="-174020.58">2130 16880 0,'-17'0'31,"-19"0"-31,1 18 32,18-1-32,-2-17 15,19 19-15,19-2 16,-2-17 0,-17 17-16,17-17 15,18 18 1,-16 0-16,-2 0 0,0-1 15,-17 0 1,0 2-16,-17-2 16,0 1-16,-2 16 15,2-34-15,-18 19 16,18-2 0,-19 1-16,1-18 0</inkml:trace>
  <inkml:trace contextRef="#ctx0" brushRef="#br0" timeOffset="-173687.63">2183 16986 0,'18'0'16,"-18"18"-16,88 88 47,-54-106-32,2 0 1,-36-18-16,18 18 16,18-17-16,-36-2 15,0 2-15,0-18 16,-19 17-1,2 0-15,-177 36 0,370-36 16,-193 1 0,-2 17-16,-15 0 15,16 17-15,18 1 16</inkml:trace>
  <inkml:trace contextRef="#ctx0" brushRef="#br0" timeOffset="-173272.11">2801 16775 0,'17'-19'0,"-17"73"47,0-18-47,0-19 0,0 0 16,0 18-16,17-16 16,-17 33-16,0-34 0,0 17 15,0 1-15,0-19 16</inkml:trace>
  <inkml:trace contextRef="#ctx0" brushRef="#br0" timeOffset="-173034.45">2694 17004 0,'0'-18'15,"17"18"1,2-18-16,16 18 16,-18 0-16,19 0 15,-1 0-15,18 0 16,-36 0 0,1 0-16,0 0 15,0-17-15</inkml:trace>
  <inkml:trace contextRef="#ctx0" brushRef="#br0" timeOffset="-172725.29">3399 16756 0,'0'-17'16,"-34"53"15,16-1-31,18-18 16,0 2-16,-617 191 0,1216-403 0,-599 210 15,0 18-15,-635 54 0,1288-125 16,-653 54-16,0 0 0,18-18 16,-1 18-16,0-18 15,2 0 1,-2 0-16,1-18 16,-36 0-1,18 0 1,-17 18-16,17-17 0,-19 17 0,2 0 15,17-17-15,-35 17 16,87-178-16,-140 356 0,71-161 0,0-17 16,-1 17-16</inkml:trace>
  <inkml:trace contextRef="#ctx0" brushRef="#br0" timeOffset="-172240.24">1795 17304 0,'0'0'15,"18"-18"1,34 18-16,-16 0 0,-2 0 15,20-18-15,-1 18 0,18 0 16,-1 0-16,0 0 0,19-17 0,-1 17 16,0 0-16,-17 0 0,-1 0 15,1-17-15,69 17 16,-87-19-16,1 19 0,-1 0 0,-18 0 16,18-17-16,-18 17 0,-18 0 15,2 0-15,-2 0 0,0 0 16,1 0-1,0 0-15</inkml:trace>
  <inkml:trace contextRef="#ctx0" brushRef="#br0" timeOffset="-171707.25">2218 17427 0,'124'-17'0,"-107"17"16,18 0-16,18 17 0,-18-17 16,18 17-16,-17 2 15,-36-2-15,18 1 16,-18-1-16,0 0 15,-18 2-15,0 16 0,0-35 16,1 17-16,0-17 16,-19 19-1,18-2-15,1 0 16,34 1 15,54-18 0,-54 0-31,1 0 16,0 0-16,53 0 0,-54 0 16,1 0-16,35-18 15,-36 18-15,1 0 0</inkml:trace>
  <inkml:trace contextRef="#ctx0" brushRef="#br0" timeOffset="-171257.31">3665 17022 0,'0'-18'0,"34"18"31,-15 0-31,16 0 16,-18 0-16,0 0 0,19 0 15,-1 18-15,-16-18 16,-2 17-1</inkml:trace>
  <inkml:trace contextRef="#ctx0" brushRef="#br0" timeOffset="-171072.82">3699 17251 0,'54'17'31,"-1"-17"-15,-36 0-16,1 0 0,35-17 16,-36 17-16,18 0 15,36 0-15,-1-17 16</inkml:trace>
  <inkml:trace contextRef="#ctx0" brushRef="#br0" timeOffset="-170167.59">4882 16668 0,'0'-17'15,"0"52"16,0 18-15,0-36-16,0 19 16,-19-1-16,19 1 0,0 16 15,0-33 1,0-2-16,-17 18 0,17 1 16,0-19-16,0 0 15</inkml:trace>
  <inkml:trace contextRef="#ctx0" brushRef="#br0" timeOffset="-169647.13">5005 16810 0,'17'-18'15,"2"18"1,-2 0-16,0 18 16,-17-1-1,18 2-15,-18-2 16,0 0-16,-18 1 0,18-1 16,-17 2-16,17-2 0,-17-17 15,17 17-15,-19-17 0,19 18 0,-17-18 16,17 18-16,-18 0 15,1-1 1,34 0 0,1-17-1,-1 0 1,19-17-16,-19 17 16,1 0-16,35-17 15,-36 17-15,19 0 0,-18-18 16,-1 18-16</inkml:trace>
  <inkml:trace contextRef="#ctx0" brushRef="#br0" timeOffset="-168924.11">5551 16686 0,'-34'-18'15,"16"18"1,-18 18 0,36 35 15,18-17-15,18-1-16,-19 1 15,0 16-15,2-35 16,-19 36-1,-19-35-15,19 0 16,-17-18-16,0 18 16,17-54 15,0 18-31,17 18 16,-17-17-16,17-36 15,2 1 1,-2 52-16,-17-19 15,0 2-15,0-18 0,-17 16 16,-2 2-16,2 0 16,0 17-16,-19-18 15,18 18-15,1 0 16,0-18-16,-1 18 16</inkml:trace>
  <inkml:trace contextRef="#ctx0" brushRef="#br0" timeOffset="-166645.12">5622 14076 0,'0'-18'15,"36"18"1,-1 0 0,1 0-16,-2 0 15,37 18-15,-18-18 16,-18 0-16,18 0 0,-18 18 15,18-18-15,18 17 0,-36-17 0,-17 0 16,34 17-16,-34 1 16,0 0-16,0-18 0,-1 35 15,0 1-15,-17 16 0,19 1 16,-19-18-16,-19 72 16,19-37-16,0 36 15,-17 18-15,17 17 16,0-53-16,0 176 15,17-88 1,2 1-16,-19-89 0,0 0 16,0 18-16,0 142 15,0-108-15,0-70 16,0-16-16,0 87 0,-19-88 16,19 70-16,-17 1 15,17-72-15,-17 89 16,17-105-16,-18-1 15,18 72 1,-18-19-16,18-71 0,0 18 16,0-17-16,0 0 15,-18 35-15,18-36 0,0 18 16,0-18-16,0 37 16,0-37-16,0 19 15,0-19-15,0 1 16,0 0-16,18-18 15,-18 18 1,-18-18 0,1 17-1,0-17-15,-19 0 16,-52 17-16,17 1 0,-105 18 16,88-2-16,-177 37 15,-17 0-15,-35-18 16,140-18-16</inkml:trace>
  <inkml:trace contextRef="#ctx0" brushRef="#br0" timeOffset="-160768.39">983 13952 0,'54'0'0</inkml:trace>
  <inkml:trace contextRef="#ctx0" brushRef="#br0" timeOffset="-160567.77">649 14146 0,'34'0'16,"-16"0"-16,0 0 0,17 0 16,0-18-16,1 18 0,-2 0 15,2 0-15,52-17 0,-53 0 16,18 17-16,-17 0 0</inkml:trace>
  <inkml:trace contextRef="#ctx0" brushRef="#br0" timeOffset="-159133.61">5022 17339 0,'124'17'0,"-107"-17"0,2 0 16,16 0-16,-1 0 0,2 0 15,35-17-15,-18 0 0,-18 17 16,53-36-16,-52 18 0,-1 1 15,-1 0-15,20-19 0,-1 1 16,-18-1-16,-17 19 16,0-1-16,34-18 0,-34 2 15,17-2-15,-18 1 0,2-1 16,-2 1-16,1 1 16,-18 15-16,17 2 0,-17-18 15,0-18 1,0 35-16,0 0 0,0 0 0,0 1 0,0 0 15,-17-19-15,17 18 16,-18-35-16,1 36 0,-2-1 16,2 1-16,0-36 0,-1 35 15,0 1-15,0-2 0,1 2 16,0 0-16,-19-19 0,1 18 16,18 1-16,-19 0 0,18 17 15,-18-18-15,19 18 0,-18-18 16,-1 18-16,2 0 0,-2 0 0,1 0 15,0 0-15,-1 0 0,-52 0 16,35 18-16,1-18 0,-1 18 16,17-1-16,-16 0 0,-36 37 15,52-37-15,1 19 16,-1-1-16,1-1 0,-1-15 0,-16 52 16,34-1-16,0-52 15,1 52-15,17-52 16,0 16-16,0-15 0,0 16 0,0-18 15,0 19-15</inkml:trace>
  <inkml:trace contextRef="#ctx0" brushRef="#br0" timeOffset="-154592.14">12078 12330 0,'53'34'0,"-35"-34"15,-1 19-15,2-19 0,15 0 16,-16 0-16,18 17 0,34-17 16,18-17-16,-53 17 0,18-19 15,1 19-15,-2-17 0,54-18 16,-54 17-16,2 0 15,-20 1-15,2 0 0,-18-1 0,35-18 16,-36 19-16,37-19 16,-54 1-16,17-1 15,0 19-15,-17-18 0,0 18 0,0-2 0,0-15 16,-17 16-16,17-35 16,-17 17-16,17 19 0,-36-35 15,18 16-15,1 1 0,0-1 16,-2 1-16,-16-18 0,18 18 15,-19-1-15,1 19 0,-35-54 16,16 54-16,20-2 0,-20 2 0,20 0 16,-20-1-16,18 18 0,2 0 15,-20 0-15,2 0 0,-1 0 16,0 18-16,1-1 0,-2-17 0,18 17 16,-16 19-16,16-18 0,2-1 0,-2 19 15,1-1-15,-36 18 0,54-18 16,-2 18-16,2-36 15,0 19-15,17 18 16,0-37-16,0 0 0,0 18 16,17-16-16,19 15 0,-1 2 15</inkml:trace>
  <inkml:trace contextRef="#ctx0" brushRef="#br0" timeOffset="-153636.31">12678 12559 0,'-36'-17'16,"1"-2"-16,106 55 0,-159-72 15,71 36-15,-19 0 0,1 0 16,16 19-16,-15-19 0,16 17 16,-18 0-16,2 1 0,-37 35 15,35-18-15,-33 35 0,50-34 16,2-1-16,-18 1 0,-1 52 16,19-17-16,-1-37 15,18 2-15,0-18 0,-18 16 0,18 2 16,0-18-16,18 18 0,-18-2 15,18 1-15,-1 1 0,19 35 16,-1-37-16,1 2 0,33 16 16,2 2-16,-18-37 15,-18 2-15,18-19 0,-17 17 16,35 0-16,-2-17 16,-33 0-16,17-17 0,-1 17 15,2-17-15,-1-2 0,-18 2 0,18-1 16,-18 1-16,1-2 0,-19 2 0,18 0 15,-17-1-15,0 1 16,16-36-16,-15 17 0,-19-35 16,17 36-16,-34 1 0,17-2 0,-19-18 15,19 37-15,-34-71 16,16 53-16,-52-18 16,34 36-16,18-2 0,-16 2 15,-2 17-15,1-18 0,-18 1 16,18 17-16,-1 0 0,19 0 15,-19-17-15</inkml:trace>
  <inkml:trace contextRef="#ctx0" brushRef="#br0" timeOffset="-142348.41">9591 15028 0,'35'35'16,"-18"-35"-16,-17 19 16,0-2-16,19-17 0,-19 17 0,17 1 0,1 0 15,-18 0-15,17-18 16,-17 17-16,19 0 16,-2-17-16,0 0 15,1-17-15,0 0 16,0-19-16,-1-16 15,0 16-15,-17 1 0,0-18 16,18 18-16,-18-18 16,0-1-16,0 20 0,18-54 0,-18 34 15,0-16-15,18 52 16,-18 1-16,17-19 0,-17 19 16,17-1-16,2 0 0,-2 18 15,37-18-15,-20 1 0,1 17 16,36 0-16,-1 17 0,1-17 15,106 18-15,-71 0 0,106 0 16,-90-1-16,2 0 16,-1 2-16,-16-19 0,15 17 0,-15 1 15,-2-18-15,107 34 0,-106-34 16,52 19-16,-34-2 16,-70-17-16,16 0 15,-35 18-15,-18-18 0,1 0 16,18 0-16,-19 0 0,0 0 15,-51 17 17</inkml:trace>
  <inkml:trace contextRef="#ctx0" brushRef="#br0" timeOffset="-141538.67">10173 14852 0,'53'-18'0,"-36"36"16,2 17-1,-19-18 1,0 19 0,-19-1-16,-15-18 15,34 2-15,-18-2 16,0-17-16,18 18 0,-18-18 16,18 17-16,-17-17 0,0 0 31,34 19 0,0-2-31,37-17 16,-37 0-1,0 0-15,2 0 16,16 0-16,-18 0 16,19 0-16,-19-17 0,18 17 15</inkml:trace>
  <inkml:trace contextRef="#ctx0" brushRef="#br0" timeOffset="-141199.64">10597 14940 0,'-36'-17'31,"18"34"-15,1 1-16,17-1 0,0 19 31,17-19-31,1 1 15,0-1-15,0-17 16,-18-123-16,17 246 0,0-123 0,2 0 16,-2 0-16,18-17 15,-18-1 1,-17 1 0,0-2-16,-17 2 15,17 0-15,-17 17 16,-1-18-16,1 1 15,-2 17 1,2 0-16,0 0 0,-1 0 16</inkml:trace>
  <inkml:trace contextRef="#ctx0" brushRef="#br0" timeOffset="-140873.03">10773 14904 0,'17'36'47,"-17"-18"-47,0-1 0,-17-88 0,53 159 16,-19-69-1,0-2-15,1 1 16,0-18-16,0 0 15,-1 0-15,0 0 16,1 0-16,0-18 0,-18 1 16,18 17-16,-18-19 15,0 2-15,0 0 0,-18-1 16,18 1 0,-18 17-16,0-19 0,1 2 15,0 17 1,-1 0-16,0 0 15,18 17-15</inkml:trace>
  <inkml:trace contextRef="#ctx0" brushRef="#br0" timeOffset="-140497.22">11478 14992 0,'0'-17'0,"-17"34"15,-1 2 1,-18-2-16,19 1 16,-18 18-16,17-19 0,18 0 15,-35 19-15,18-18 16,-1 16-16,0-34 0,0 18 15,1 0-15,17 0 16</inkml:trace>
  <inkml:trace contextRef="#ctx0" brushRef="#br0" timeOffset="-140265.65">11143 15063 0,'0'0'32,"35"19"-17,36 15 1,-53-16 0,0-18-16,-1 18 0,18-18 0,-17 18 15,17-18-15,-18 17 0,37-17 16,-18 17-16,-19-17 0,0 0 15</inkml:trace>
  <inkml:trace contextRef="#ctx0" brushRef="#br0" timeOffset="-139587.41">11902 14992 0,'-36'-17'15,"19"17"-15,-18 0 16,16 0 0,19 17-1,-17 2 1,17-2-16,17 1 15,-17 18-15,0-19 16,0 0-16,0 1 16,0 0-16,0 0 15,0-1-15,-17-17 16,17 17-16,-17-17 0,-1 0 16,18 18-16,-17-18 0,-2 0 15,2 0-15,34-35 47,2 35-47,-19-17 16,17 17-16,1 0 0,-1-18 15,0 18-15,2-18 16,16 0-16,-35 1 16,17 0-16,2-2 0,-19 2 15,0-1-15,0 1 16,-19-2-16,19 2 15,-17 0-15,-1 17 16,1-18-16,-2 18 0,2 0 16,0 0-16,-1 0 15,-18 0-15</inkml:trace>
  <inkml:trace contextRef="#ctx0" brushRef="#br0" timeOffset="-135305.55">9503 14604 0,'18'-17'0,"-1"17"16,0 0-16,2 0 31,-2 0-15,1 0-16,-18 17 0,0 2 15,0-2 1,-18-17-16,18 18 0,-17-1 0,-2 2 16,2-19-16,17 17 15,-17-17-15,-1 17 0,18 1 16,18-1-1,-1-17 1,36 0-16,-18 0 16,53 0-16,89-17 15,-106 17-15,0 0 16,34 0-16,124 17 0,-141-17 16,-17 0-16</inkml:trace>
  <inkml:trace contextRef="#ctx0" brushRef="#br0" timeOffset="-132880.39">9714 17039 0,'0'36'0,"0"-19"16,0 18-16,0-18 0,0 2 16,19-2-16,-19 1 0,17 35 15,0-36-15,1 1 0,0 0 16,-18 0-16,18-18 0,-1 17 0,0 0 16,1-34-1,0 17-15,0-17 0,-18-1 16,17 0-16,-17 0 0,36-87 15,-36 52-15,17-1 0,-17 2 16,0-72-16,0 71 0,0 1 16,0-19-16,0 35 15,0 2-15,0-2 0,0-16 0,18 33 16,-18 2-16,0-1 0,17 1 16,2-2-16,-19 2 0,34 17 15,20-17-15,-2 17 0,18 17 16,1-17-16,17 0 0,19 17 0,-19-17 15,124 19-15,-107-2 16,19-17-16,-1 18 0,-17-18 0,17 17 16,1-17-16,-19 19 0,142-2 15,-140-17-15,15 0 0,-15 17 16,-19-17-16,0 18 0,53-18 16,-70 0-16,34 18 15,-69-18-15,-18 18 16,-1-18-16</inkml:trace>
  <inkml:trace contextRef="#ctx0" brushRef="#br0" timeOffset="-131805.36">10385 17022 0,'36'-18'16,"-19"18"-16,0 0 0,1 0 15,0 18-15,0-1 0,-1-17 16,-17 17-16,0 2 15,0-2-15,0 1 0,-17-18 0,17 17 16,-18 0-16,-18 19 0,19-18 16,0-1-16,-2 2 15,2-2-15,-1-17 0,1 17 16,-2 1-16,2-18 0,17 18 16,-17-18-16,17 18 15,17-18 1,0 0-1,2 0-15,-2 0 16,18 0-16,-16 0 0,-2 0 16,0 0-16,1 0 15,0 0-15,0 0 0,16 0 16,-16 0-16,0-18 16</inkml:trace>
  <inkml:trace contextRef="#ctx0" brushRef="#br0" timeOffset="-131391.03">10931 17075 0,'-17'0'15,"-36"17"1,35-17-16,1 18 16,0-18-16,-2 17 0,2-17 15,-1 17-15,18 2 16,0-2-16,18 1 16,-1-18-1,-17 17-15,19-17 16,-2 19-16,0-2 15,1 0-15,-18 1 32,-35 18-17,-18-2 17,35-34-32,18 18 0,-17-18 15,-2 0 1</inkml:trace>
  <inkml:trace contextRef="#ctx0" brushRef="#br0" timeOffset="-131063.41">10949 17234 0,'0'0'15,"0"17"1,0 0-1,0 1-15,18 0 16,0 0-16,-1-1 16,0-17-16,2 0 15,-2 17-15,1-17 16,-1 0-16,2-17 0,-2 17 16,0 0-16,-17-17 0,18 17 0,-18-18 15,0 0 1,0 0-1,-18 1-15,18 0 0,-17 17 16,0-19-16,-2 19 16,2 0-16,-1 0 0,1 0 15,-2 0 1</inkml:trace>
  <inkml:trace contextRef="#ctx0" brushRef="#br0" timeOffset="-130853.58">11619 17075 0,'18'0'16,"-36"35"-16,1-18 15,0 19-15,-2-19 0,2 1 16,-1 18-16,1-19 0,-19 36 15,19-35-15,-37 52 16,37-70-16,17 18 16</inkml:trace>
  <inkml:trace contextRef="#ctx0" brushRef="#br0" timeOffset="-130643.4">11267 17286 0,'0'-18'0,"18"18"31,-1 0-31,18 18 0,-17-18 16,17 18-16,-18-18 16,19 18-16,-1-18 15,-16 0-15,-249-36 0,477 89 0,-212-53 16,18 0-16</inkml:trace>
  <inkml:trace contextRef="#ctx0" brushRef="#br0" timeOffset="-130346.89">12114 17110 0,'-53'17'46,"53"0"-46,-18 2 0,0 16 16,0-18-16,18 2 0,0 15 16,0-16-16,107-194 0,-214 370 0,107-176 15,0-1-15,18 0 0,0 1 16,0-18-16,-18 18 0,17-18 16,0 0-1,2 0-15,-19-18 16,0 0-1,-19 18-15,-15-17 16,16 17-16,-35 0 16,18-17-16,-1 17 0</inkml:trace>
  <inkml:trace contextRef="#ctx0" brushRef="#br0" timeOffset="-129628.33">9626 16616 0,'17'35'47,"-51"18"-32,16-53-15,1 18 0,-19-1 16,19 0-16,-1-17 0,0 19 16,0-2-1,1 1-15,52-18 32,-17-18-17,34 18-15,-33 0 16,16-17-16,-1 17 0,2-19 0,-1 19 15,18-17-15</inkml:trace>
  <inkml:trace contextRef="#ctx0" brushRef="#br0" timeOffset="-129029.22">13366 15311 0,'35'0'16,"-17"0"-16,17 0 0,0 0 15,-17 17-15,17-17 0,1 0 0,-1 0 16,18 0 0,-18 0-16,-18 0 0,36 0 0,-17 0 15</inkml:trace>
  <inkml:trace contextRef="#ctx0" brushRef="#br0" timeOffset="-128863.6">13489 15416 0,'-35'18'0,"70"-1"31,1 2-15,17-2-16,-1 0 15,1 1-15,-18-18 16,-16 18-16</inkml:trace>
  <inkml:trace contextRef="#ctx0" brushRef="#br0" timeOffset="-128249.1">13295 17532 0,'18'-17'0,"18"0"16,-2 17-1,-16 0-15,18 0 16,-19 0-1,-17 17-15</inkml:trace>
  <inkml:trace contextRef="#ctx0" brushRef="#br0" timeOffset="-128098.02">13119 17727 0,'35'17'15,"-18"-17"-15,19 0 16,16 0-16,-16 0 16,18-17-16</inkml:trace>
  <inkml:trace contextRef="#ctx0" brushRef="#br0" timeOffset="-123340.49">15059 14834 0,'-36'0'0,"19"0"15,0 18-15,-1-18 0,0 18 16,0-1-16,1 0 0,-36 19 15,35-18-15,-16-1 0,15 0 16,-16 19-16,18-18 0,-2-1 16,2 2-16,17-2 15,-17 0-15,17 1 0,0 0 16,17-18 0,0 18-16,2-18 0,-2 0 0,1 17 15,18-17-15,16 17 0,-16-17 16,34 0-16,-35 0 15,1 0-15,-19 0 0,18 0 16,1 0-16,-19 0 0,1 0 16,-1 0-16,2 0 15</inkml:trace>
  <inkml:trace contextRef="#ctx0" brushRef="#br0" timeOffset="-123056.37">15023 14904 0,'-17'0'0,"34"0"0,-34 19 15,0-19-15,17 17 16,-18 18-16,0-18 0,18 2 0,-18-2 15,18 18-15,-17 18 16,0-17-16,17-1 0,-18 0 16,18 1-16,0-19 0,-18 36 15,18-35-15,-18 18 0,18-19 16,0 0-16,0 1 0,0-1 0</inkml:trace>
  <inkml:trace contextRef="#ctx0" brushRef="#br0" timeOffset="-122698.2">15377 14992 0,'-35'36'0,"70"-72"0,-89 90 16,54-37-16,0 2 0,0-2 15,-17 18-15,17-17 16,17 17-16,-17-18 0,19 1 0,-19 0 16,17 0-16,1-1 15,16-17-15,2 17 0,-18-17 16,52-17-16,-52 0 0,18 17 16,-19-18-16,0 0 0,1 0 15,-18-16-15,18 16 0,-18 0 16,-18 0-16,18 1 0,-18-19 15,1 19-15,0-1 0,-1 1 0,0 17 16,0-19-16,1 19 0,-19-17 0,19 17 16,-37 0-16,20 17 15,-1 2-15,16-2 0,2 1 16</inkml:trace>
  <inkml:trace contextRef="#ctx0" brushRef="#br0" timeOffset="-90028.36">14918 17198 0,'35'0'16,"-17"0"-16,0 0 0,-1 17 15,19-17 16,-36 19-31,0-2 0,-19-17 16,19 17-16,-17-17 16,17 18-16,-17-18 0,17 18 15,-18 0 1,36-1 0,-1 0-16,0 1 15,2-18-15,-2 18 0,1 0 16,-1-1-16,-17 0 15,19 2-15,-19-2 0,-19 1 16,19-1-16,-17 0 16,-1 2-16,1-2 15,-2-17-15,2 18 0,0-18 0,-1 0 0,0 17 16,0-17-16,1 0 16,0 0-16</inkml:trace>
  <inkml:trace contextRef="#ctx0" brushRef="#br0" timeOffset="-89301.34">15501 17234 0,'-19'-19'0,"38"38"16,-55-38 0,36 38-16,0-2 15,0 0 1,0 1-16,17 0 0,-17 0 0,0-1 16,0 18-16,0-17 15,0 0-15,0-1 0,0 0 0,0 2 16,0-2-16,-17 1 0,-1-1 15,18 0-15,-17-17 0,17 19 16,-19-19 0,2 0-16,0-19 15,51 2 17,-15 0-32,-2-1 15,1 1-15,-1 17 0,-17-19 16,19 2-16,-2 0 0,-17-1 15,17 0-15,-17 0 0,0-16 16,-17-2 0,0 18-1,-2 18 1,2-17 0</inkml:trace>
  <inkml:trace contextRef="#ctx0" brushRef="#br0" timeOffset="-89152.46">15730 17339 0</inkml:trace>
  <inkml:trace contextRef="#ctx0" brushRef="#br0" timeOffset="-88736.73">15941 17180 0,'53'0'0,"-36"18"32,1-1-17,-18 2-15,18-19 0,-18 34 0,0-16 16,0 0-16,0 17 16,0 18-16,-18-35 15,18-1-15,0 0 0,0 2 0,0-2 16,-18 1-16,18-1 0,0 0 15,0 2-15,0-2 0,-17 1 16,17-1-16</inkml:trace>
  <inkml:trace contextRef="#ctx0" brushRef="#br0" timeOffset="-88564.54">15906 17532 0,'17'0'0,"-34"0"0,52 0 0,-17-17 16,0 17-16,-1 0 0,0 0 15,1-17-15,0 17 0,0 0 0,16-18 16,-15 18-16,-2 0 0</inkml:trace>
  <inkml:trace contextRef="#ctx0" brushRef="#br0" timeOffset="-88256.55">16417 17215 0,'18'-17'0,"0"34"16,-18 19 15,-18-19-31,0 1 0,0 0 15,1 0-15,-18-1 0,17 18 16,0-17-16,-16 17 16,34-18-16,0 2 0,0-2 15,0 1-15,0-1 16,17-17-16,0 0 0,1 17 16,0-17-16,0 0 0,-1 0 0,0 0 15,1 0-15,0 19 16,0-19-16,-1 0 0,0 0 0,-17 17 15,19-17-15</inkml:trace>
  <inkml:trace contextRef="#ctx0" brushRef="#br0" timeOffset="-87701.22">15411 18080 0,'54'0'16,"-18"18"-16,34-18 0,-35 0 16,18 0-16,87 0 15,-16-18-15,-53 18 16,-18-18-16,53 0 15,-53 1-15,158-71 16,-175 52-16,-2 19 16,2-18-16,18-18 0,-37 35 15,0 0-15,1-17 0,-18 18 16,17-37-16,-17 20 0,-17-37 16,17 35-16,-18-16 15,1-1-15,0-1 0,-19 2 0,-35-72 16,36 71-16,-18 1 0,18-1 15,-35-1-15,16 1 0,-16 18 16,-1 1-16,-17-20 0,0 18 0,0 19 16,0-18-16,-19 17 0,-105-17 15,107 18-15,-19 17 16,19 17-16,-19-17 0,18 17 16,-35 19-16,-106 35 0,142-19 0,-19 1 15,36 1-15,17-2 0,1 18 16,16-16-16,-34 70 0,54-19 15,34-70-15,17 18 0,-17 0 16,71 53-16,17 0 16,-18-71-16,-35 0 0,18-17 15,1 0-15,51 16 0</inkml:trace>
  <inkml:trace contextRef="#ctx0" brushRef="#br0" timeOffset="-86841.31">14918 15751 0,'317'88'16,"-175"-52"-16,-54-36 0,-18 17 16,89-17-16,-88 18 0,17-18 15,-18 0-15,1-18 0,0 18 16,53-17-16,-72 0 0,54-19 15,-54 18-15,55-35 16,-2-18-16,-51 19 16,16-18-16,-52 16 0,16-34 15,-15 18-15,-19-36 16,0 36-16,-19-1 0,2 0 16,-18 1-16,17-1 0,-17 18 0,-53-87 15,-89-38 1,107 126-16,-88-37 15,87 37-15,-212-19 16,178 54-16,-90 17 16,71 0-16,19 17 0,-107 37 15,71-20-15,-106 72 0,124-36 16,17-16-16,-105 87 16,140-70-16,1-19 0,-37 72 15,19-19-15,71-52 16,-18 18-16,35 0 15,35 17-15,-1-52 16,2-2-16,-1 1 0,18-16 16,53 33-16,-53-34 0,0-18 15</inkml:trace>
  <inkml:trace contextRef="#ctx0" brushRef="#br0" timeOffset="-83632.46">16665 15646 0,'17'17'0,"71"19"31,-52-19-31,69 18 16,-51-16-16,16-2 0,0-17 0,107 35 16,-89-18-16,124 19 15,-107-19-15,19 1 0,158 18 16,-158-19-1,34 0-15,1 2 0,-18-2 0,18-17 16,0 18-16,17-1 0,-35-17 0,18 17 0,17-17 16,248 0-1,-283 0-15,18 0 0,-18 0 0,-18 0 16,18 0-16,0-17 0,-17 17 16,-18-17-16,106-1 0,-124 18 15,-18-17-15,-18-2 0,-16 19 16,18-17-16,-37 0 0,0-1 15</inkml:trace>
  <inkml:trace contextRef="#ctx0" brushRef="#br0" timeOffset="-83300.22">21145 15504 0,'300'54'0,"-124"16"16,-106-35-16,-16 18 15,-2-35-15,18 52 0,-34-16 16,-18 16-16,-18-35 16,-18 18-16,1-18 0,-19 18 15,-17 1-15,1-2 0,-19 1 0,-106 35 16,89-52-16,-18-1 16,1 18-16,-2-36 0,2 18 0</inkml:trace>
  <inkml:trace contextRef="#ctx0" brushRef="#br0" timeOffset="-75778.14">10314 1199 0,'71'17'0,"-35"-17"0,-19 0 0,54 0 16,-37 0-16,2 0 0,16 0 16,-16 0-16,-1 0 0,53 0 15,-69 0-15,33 0 0,-16-17 0,-2 17 16</inkml:trace>
  <inkml:trace contextRef="#ctx0" brushRef="#br0" timeOffset="-75536.03">10967 935 0,'35'17'0,"-18"-17"0,54 36 16,-35-18-16,-1-1 0,1 18 16,34 35-16,-52-51 0,16 33 15,-34-35-15,0 19 16,-17 18-16,-18 34 0,-18-36 16,17 1-16,-16 0 0,-1 1 15,-71 34-15</inkml:trace>
  <inkml:trace contextRef="#ctx0" brushRef="#br0" timeOffset="-72068.25">22909 494 0,'0'36'16,"0"-19"-1,0 0-15,-18 37 0,18-37 16,0 18-16,0-17 0,0 17 15,-18 1-15,18-19 0,0 18 16,-18 1-16,18-1 0,0-18 16,0 19-16,0-1 15,0-17-15,0 0 16</inkml:trace>
  <inkml:trace contextRef="#ctx0" brushRef="#br0" timeOffset="-71745.7">22891 582 0,'35'-71'16,"-18"71"-16,2 0 15,16 0-15,-18 19 0,0-2 16,2 18-16,-19-18 16,17 2-16,-17-2 0,18 0 15,-1 37-15,-17-37 0,19 19 16,-19-19-16,0 1 0,0-1 15,0 0-15,17 2 16</inkml:trace>
  <inkml:trace contextRef="#ctx0" brushRef="#br0" timeOffset="-71548.22">22873 918 0,'0'0'0,"36"-36"16,-19 36-1,0 0-15,2-18 0,-2 18 16,1-17-16,16 17 0,-15 0 0,33-19 16,-16 2-16,-19 17 15</inkml:trace>
  <inkml:trace contextRef="#ctx0" brushRef="#br0" timeOffset="-70846.43">23509 688 0,'0'-36'63,"0"2"-48,17 15 1,-17 2-16,0-1 16,0 1-1,35 17 48,1-17-48,-19-2 1,0 19-16,1 0 16,18 19 15,-36-2-31,17 18 15,0 1 1,2-19-16,-19 0 0,17 1 16</inkml:trace>
  <inkml:trace contextRef="#ctx0" brushRef="#br0" timeOffset="-69980.42">23121 1270 0,'-54'36'0,"37"-19"16,17 0-16,-19 1 0,2 0 15,17 0-15,-17-1 0,17 0 16,0 1-16,0 0 0,0 0 15,17-18-15,-17 17 16,17-17-16,2 0 0,16 0 16,-18 0-1,2 0-15,-2 0 0,0-17 16,1 17-16,-1 17 16,2-17-16,-2 0 15,0 17-15,1 2 16,-18-2-1,18-17-15,0 18 16,-1-18 0</inkml:trace>
  <inkml:trace contextRef="#ctx0" brushRef="#br0" timeOffset="-69475.22">23702 1428 0,'0'-17'15,"0"-18"1,0 17-16,0 0 0,17 18 16,-17-17-16,0 0 0,0-2 15,0 2-15,0-1 16,0 1 0,19 34 46,-2 1-46,1-18-16,-1 0 15,2-18-15,-2 18 16,0 0-16,1 0 16,-1 0-16,-17 18 15,19-18-15,-2 17 16,0 2-16,-17-2 15,18-17-15,0 17 0,-18 1 16,18-18-16,-18 18 16</inkml:trace>
  <inkml:trace contextRef="#ctx0" brushRef="#br0" timeOffset="-66447.78">25837 159 0,'17'0'0,"0"0"0,-17 17 0,19 1 16,-19 18-16,17 16 0,-17-16 16,0-2-16,0 20 0,-17-1 15,17-18-15,-19 18 0,19-1 0,0-16 16,-17-1-16,17 18 15,0-17-15,0-19 0,-17 1 0,17-1 16,0 0-16,17 2 0,-17-2 16,0 1-16,17-1 0,2 2 15,-2-2-15,1 0 0,-1 1 16,19 18-16,-1-2 0,1 2 16,16 52-16,-16-36 0,-19-16 15,18 18-15,-35-2 0,18 1 0,-18 0 0,0-18 16,0 72-1,-36-38-15,36-33 0,-17-19 0,0 19 16,-1-1-16,18-18 16,-18-17-16,18 19 0,18-55 31,0 19-31</inkml:trace>
  <inkml:trace contextRef="#ctx0" brushRef="#br0" timeOffset="-65875.49">28430 300 0,'0'0'16,"0"35"-1,0-18-15,0 19 16,-19-18-16,19-1 0,0 19 15,-17-1-15,17 1 0,-17-19 16,17 0-16,0 1 0,-18 35 16,18-36-1,0 1-15,-18 0 16,36-54 15,-18 19-31,35-54 16,-18 37-16,2-2 0,16-18 15,-18 20-15,-17 16 16,36-18-16,-19-16 16,18 52-1,1 35 1,-36-18 0,17 2-16,-17 16 15,18-18-15,-18 0 0,0 2 16,18-2-16,-18 1 0,0-1 15,0 2-15,0-2 0</inkml:trace>
  <inkml:trace contextRef="#ctx0" brushRef="#br0" timeOffset="-65692.6">28394 530 0,'-17'0'16,"70"-19"15,-18 19-15,-18 0-16,19-17 0,-19 17 0,18 0 15,18-18-15,-17 18 16,-1-17-16</inkml:trace>
  <inkml:trace contextRef="#ctx0" brushRef="#br0" timeOffset="-65315.43">28941 318 0,'36'-18'31,"-90"141"0,-475-16-31,1058-197 16,-546 109-16,0 16 0,17-18 0,-19 2 16,19-2-16,0 0 0,-17 1 15,17-1-15,-18-17 0,18 19 16,0-2-16,106-334 31,-229 598-15,140-298-16,-17-1 0,0 1 15,18 0-15,-18-19 0,17 1 0,2 16 16,-2-15-16,0 16 16,1-35-16,18 36 15,-36-1-15,17 18 0,0-18 16,1 36-1,0-18-15,-18 18 16,-18 16-16,0-15 16,1-2-16,0 1 15,17-1-15,-19-17 0,2 17 16,-1 2-16,1-2 0</inkml:trace>
  <inkml:trace contextRef="#ctx0" brushRef="#br0" timeOffset="-64579.04">28641 970 0,'-35'18'16,"18"-18"-16,17 18 15,-19-1-15,2-17 0,-1 17 0,-18 19 16,19-18-16,17-1 0,-17 0 16,17 2-16,0-2 15,17-17-15,-17 18 16,36-18-16,-19 0 16,1 0-16,-1 0 15,-17 17-15,19-17 0,-2 17 16,0-17-1,-17 19-15,0-2 16,18 1-16,-18-1 0,0 2 16,0-2-1,18-17-15</inkml:trace>
  <inkml:trace contextRef="#ctx0" brushRef="#br0" timeOffset="-64120.32">29047 952 0,'18'0'16,"-36"0"-1,18 36-15,0-18 16,-18 16-16,0 2 15,18-18-15,-34 16 0,34 20 16,-19-37-16,2 0 16,17 2-1,-18-2-15,18-53 47,18-33-31,-1 33-16,2 19 15,-2-37-15,0 37 0,1 0 0,35-37 16,-36 37 0,2 0-16,-2 17 0,1 0 15,-1 0-15,0 0 16,-17 17 0,0 0-16,-17 1 15,0 0-15,-1 0 16,1-18-16,-2 17 0,-15 0 15,16 1-15,0-18 0,0 0 16,18 18-16</inkml:trace>
  <inkml:trace contextRef="#ctx0" brushRef="#br0" timeOffset="-61628.32">28659 1711 0,'0'35'31,"-18"35"-15,18-51-16,0-2 0,-18 18 15,18 1-15,-17-19 0,17 18 16,0-16-16,-17 15 0,17-16 15,0 0-15,0 0 0,-19-1 0</inkml:trace>
  <inkml:trace contextRef="#ctx0" brushRef="#br0" timeOffset="-61301.31">28941 1694 0,'0'34'31,"0"-16"-15,0 0-16,0 0 0,0 16 0,-18-15 15,18-2-15,0 1 0,0-1 16,-17 0-16,17 2 0,0 16 16,-17-18-16</inkml:trace>
  <inkml:trace contextRef="#ctx0" brushRef="#br0" timeOffset="-61048.3">28711 1940 0,'18'-17'16,"71"17"-1,-54 0-15,1 0 16,-2 0-16,54-19 16,-52 19-16</inkml:trace>
  <inkml:trace contextRef="#ctx0" brushRef="#br0" timeOffset="-60819.64">29382 1782 0,'17'-18'0,"-34"53"31,0-18-31,17 2 0,-19-2 0,19 1 16,0-1-16,-17 0 15,17 2-15,-18 16 0,1-18 0,17 2 16,0-2-16</inkml:trace>
  <inkml:trace contextRef="#ctx0" brushRef="#br0" timeOffset="-60546.57">29435 1570 0,'18'0'0,"-36"0"15,70 0-15,-33 17 0,-2 2 16,1-2-16,-1 0 16,-17 37-16,0-20 15,0-16-15,-17 18 0,-1-19 16,-35 54-16,0-37 16,18 2-16,-18-1 0</inkml:trace>
  <inkml:trace contextRef="#ctx0" brushRef="#br0" timeOffset="-59687.06">29435 1835 0,'-18'35'16,"18"-18"-1,0 0-15,-18 2 0,18 16 0,-17-18 16,0 19-16,-2 17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1:49.622"/>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29.804"/>
    </inkml:context>
    <inkml:brush xml:id="br0">
      <inkml:brushProperty name="width" value="0.025" units="cm"/>
      <inkml:brushProperty name="height" value="0.025" units="cm"/>
      <inkml:brushProperty name="ignorePressure" value="1"/>
    </inkml:brush>
  </inkml:definitions>
  <inkml:trace contextRef="#ctx0" brushRef="#br0">1 348,'385'-17,"-339"13,660-52,462-24,-616 42,138-2,-350 26,-123 2,122-12,139-3,-426 24,58-7,47-4,-21 16,-127-4,-14-2,-7-1</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088"/>
    </inkml:context>
    <inkml:brush xml:id="br0">
      <inkml:brushProperty name="width" value="0.025" units="cm"/>
      <inkml:brushProperty name="height" value="0.025" units="cm"/>
      <inkml:brushProperty name="ignorePressure" value="1"/>
    </inkml:brush>
  </inkml:definitions>
  <inkml:trace contextRef="#ctx0" brushRef="#br0">69 0,'0'4,"0"7,-5-1,0 5,-2 2,3 5,1 2,-3-4,-1 0,0 1,3 0,-2 3,-2 0,1-2</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652"/>
    </inkml:context>
    <inkml:brush xml:id="br0">
      <inkml:brushProperty name="width" value="0.025" units="cm"/>
      <inkml:brushProperty name="height" value="0.025" units="cm"/>
      <inkml:brushProperty name="ignorePressure" value="1"/>
    </inkml:brush>
  </inkml:definitions>
  <inkml:trace contextRef="#ctx0" brushRef="#br0">1 1,'15'6,"-1"0,1-2,1 2,-1-2,1-2,0 1,0-2,28-1,14-2,62-12,-9 1,134 9,-223 5</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3.536"/>
    </inkml:context>
    <inkml:brush xml:id="br0">
      <inkml:brushProperty name="width" value="0.025" units="cm"/>
      <inkml:brushProperty name="height" value="0.025" units="cm"/>
      <inkml:brushProperty name="ignorePressure" value="1"/>
    </inkml:brush>
  </inkml:definitions>
  <inkml:trace contextRef="#ctx0" brushRef="#br0">116 1,'20'0,"-7"-1,2 1,-1 0,0 1,0 1,24 6,-37-7,2-1,-2 1,2-1,-2 2,0-1,2 0,-2 1,1-1,0 0,0 1,-1-1,0 0,1 1,-1 0,0 0,1-1,0 4,0-1,-2-1,0 0,1 1,-1-2,0 1,0 1,0-1,-1-1,1 2,0-1,-2 0,1-1,1 1,-1 1,-1-1,0 2,-8 11,0-1,0-2,-2 0,2 1,-2-1,-2-1,1 0,0-1,-2-1,-16 10,10-6,1 0,0 2,-29 32,47-48,2 2,-1-2,1 0,0 1,-1-1,1 0,0 1,0-1,-2 0,2 2,0-2,0 1,-1-1,1 1,0-1,0 2,0-2,0 1,0-1,0 0,0 1,0-1,0 2,0-2,0 1,0-1,0 1,0-1,0 2,0-2,1 1,-1-1,0 1,2 1,22 6,30-10,224-38,-250 36</inkml:trace>
</inkml:ink>
</file>

<file path=ppt/ink/ink7.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4:36:27.224"/>
    </inkml:context>
    <inkml:brush xml:id="br0">
      <inkml:brushProperty name="width" value="0.05292" units="cm"/>
      <inkml:brushProperty name="height" value="0.05292" units="cm"/>
      <inkml:brushProperty name="color" value="#0070C0"/>
    </inkml:brush>
  </inkml:definitions>
  <inkml:trace contextRef="#ctx0" brushRef="#br0">547 10543 0,'-18'0'0</inkml:trace>
  <inkml:trace contextRef="#ctx0" brushRef="#br0" timeOffset="1868.92">370 10121 0,'0'52'16,"19"-34"-16,-19 0 0,0-1 16,0 0-16,0 2 0,0-2 0,0 1 15,0-1 1,0 2-16,0-2 0,0 0 16,0 1-16,0-1 15,17-52 16,-17 18-15,17 0 0,1-2-16,-18 2 0,36-1 15,-19 1 1,0 17-16,19 0 16,-1 17-16,-18-17 15,-17 18-15,19-18 0,-2 17 16,1-17-16,-18 19 15,17-2-15,2 0 32,-2-34-17,-17 0 1,17-2-16,1 2 16,-1-1-1,2 18-15,-19-17 0,34 17 16,-16 17-1,18-17 1,-19 18-16,0 18 16,2-36-16,-19 17 15,17 0 1,-17 1-16</inkml:trace>
  <inkml:trace contextRef="#ctx0" brushRef="#br0" timeOffset="2652.25">1165 10121 0,'-54'88'15,"54"-71"-15,0 0 16,0 2-16,0-2 0,0 1 16,18-1-16,-1-17 15,2 0 1,-2 0-16,0 0 0,1-17 15,0 17 1,-18-18-16,-18-18 16,18 2-1,-18 16 1,18 0-16,-34 0 0,15 18 16,2 0-16,-1 0 15,1 0-15,0 0 0</inkml:trace>
  <inkml:trace contextRef="#ctx0" brushRef="#br0" timeOffset="2961.14">1235 10155 0,'52'54'0,"-52"-37"0,19 0 16,-19 2-16,0-2 0,17 1 16,-17-1-1,18-52 32,-18 18-31,17 17-16,-17-19 0,17 2 15,2 17-15,-19-17 16,17 17-16,1 0 0,-1-18 16,2 18-16</inkml:trace>
  <inkml:trace contextRef="#ctx0" brushRef="#br0" timeOffset="3241.8">1782 10173 0,'0'-18'16,"0"36"-16,-36-36 15,19 54 1,17-18-1,-18-1-15,18 0 0,0 2 16,0 16-16,0-18 16,18-17-16,-18 19 15,17-19-15,2 17 0,-2-17 16</inkml:trace>
  <inkml:trace contextRef="#ctx0" brushRef="#br0" timeOffset="3692.88">2505 10085 0,'17'36'32,"-17"-2"-17,19 2-15,-19 16 16,0-33-16,0-2 15,-19 1-15,19-1 16</inkml:trace>
  <inkml:trace contextRef="#ctx0" brushRef="#br0" timeOffset="3864.98">2417 9891 0</inkml:trace>
  <inkml:trace contextRef="#ctx0" brushRef="#br0" timeOffset="4541.95">2875 10050 0,'-17'17'0,"-2"-17"16,2 18-16,17 0 0,-17-18 15,-1 18-15,18-1 0,-36 18 16,36-17-16,-17-18 0,17 35 16,0-18-16,0 2 15,0-2-15,17-17 16,-17 18-16,19-18 0,16 17 16,-18-17-1,0 0-15,2 0 0,16 0 16,-18-17-16,2 17 0,-2 0 0</inkml:trace>
  <inkml:trace contextRef="#ctx0" brushRef="#br0" timeOffset="4879.74">3069 10262 0,'36'-19'15,"-36"2"-15,17 0 0,0-1 16,-17 0 0,0 0-1,-17 18 1,0 18-1,-1 0 1,18 0 0,0-1-16,0 0 0,18-17 15,16 19 1,-15-19-16,16 17 16,-18-17-16</inkml:trace>
  <inkml:trace contextRef="#ctx0" brushRef="#br0" timeOffset="5433.37">3634 10050 0,'-53'35'0,"35"-35"0,18 36 15,-17-19-15,17 0 16,0 1-16,0 0 0,0 0 16,0-1-16,0 0 0,17 2 0,-17-2 15,18 1-15,-1-1 16,19-17-16,-19 19 15,1-19-15,0 0 16</inkml:trace>
  <inkml:trace contextRef="#ctx0" brushRef="#br0" timeOffset="5741.16">3810 10155 0,'0'0'0,"0"-17"16,17 34-1,19 19 1,-18-36 0,-18 18-16,17-1 15,-17 0-15,0 2 16,17-19-16,-17 17 0,0-34 62,19-19-46,-2 36 0,-17-17-16,18 17 0,-1 0 15,-17-18-15,19 18 0,15 0 16</inkml:trace>
  <inkml:trace contextRef="#ctx0" brushRef="#br0" timeOffset="6040.78">4234 10262 0,'0'-36'15,"0"19"-15,-19 34 32,2-17-32,17 17 15,0 2-15,0-2 16,0 1-16,0-1 16,17-17-16,2 19 15,-2-19-15,1 0 16,-1 0-16,2 0 0,-2 0 15</inkml:trace>
  <inkml:trace contextRef="#ctx0" brushRef="#br0" timeOffset="7428.49">4586 10155 0,'-35'18'15,"70"-36"-15,-88 54 16,35-18-16,1-1 16,17 0-1,0 2-15,-17-2 16,34 1-16,0-1 31,1-17-15,0-17-16,0 17 15,-18-18-15,17 1 0,0-2 16,2-15 0,-19 16-1,-19 36 95,19-1-63,0 0-32,19-17 1,-2 0-1,1 0-15,-1 0 32,2 0-32,-2-17 31,0 17-15,-17-17-16,18 17 15,-18-18 1,17 18-16,2-18 15,-2 36 17,0-18-17,1 18 1,-18-1 15,0 0-15,18-17 15,-18 19 0,18-38 126,-1 19-142,-17-17 1,17 17-16,-17-17 15,19-1 1,-2 18 0,1 0 15,-18 18-31,17-18 16,-17 17-1,17-17 16,2-17-15,-2-1 0,1 18-1,-1 0 1,2 0 0,-2 0-1,0 18 1,1-18-16,-18 17 15</inkml:trace>
  <inkml:trace contextRef="#ctx0" brushRef="#br0" timeOffset="8100.41">5769 10033 0,'-19'-19'0,"-16"19"0,-35 0 16,52 19-1,-18-19 1,36 17-16,-17-17 0,17 17 0,0 1 15,17-18 1,1 18-16,35 17 16,-36-35-16,19 17 15,-18-17-15,-1 18 0,19-18 0,-19 18 16,1-18-16,-18 18 0,36-1 16,-36 0-1,-19 2-15,19-2 16,-17-17-16,-1 18 0,1-18 15,0 0-15,-2 17 0,2-17 0,-1 0 16,1 0-16,17 19 0,-19-19 0,2 0 16,0 0-1</inkml:trace>
  <inkml:trace contextRef="#ctx0" brushRef="#br0" timeOffset="9047.99">6067 10155 0,'-34'18'16,"16"0"0,1 0-1,17-1-15,-19 0 16,19 2-1,0-2-15,0 1 16,19-18-16,-2 17 16,1-17 15,-1-17-31,0 17 0,2 0 31,-2 0-15,1 17-1,-1-17-15,2 0 32,15 0-17,-34-17-15,18 17 0,-18-18 0,17 18 16,-17-17-16,19-2 16,-2 2-16,-17 0 0,0-19 15,0 18-15,17 1 0,-17 0 0,0-1 0,0 0 16,0 0-16,0 1 15,18-19-15,-18 19 16,0-1-16,0 53 31,0-16-15,0 15 0,0 2-16,0-1 15,18-35-15,-18 17 0,18 1 16,-1-18-16,0 0 15,2 0-15,-2 0 16,1 0-16,-1 0 0,0 0 31,2 18 1,-2-18-1,1 0-16,-1 0 1,36 18 0,-17-18-1,-36 17-15,18-17 0,-1 17 16,-17 2 0,-17-2-1,-1 1 1,18-1-16,-18-17 0,18 19 15</inkml:trace>
  <inkml:trace contextRef="#ctx0" brushRef="#br0" timeOffset="9949.08">7391 10067 0,'52'18'46,"19"-18"-30,-35 0-16,16 0 0,1 0 16,18 0-16,0 0 15,-1 0-15,-18 0 0,19 0 0,0 0 0,-1 0 16,-16 0-16,-20 0 0,2 0 0,-1 0 16,1 0-16,-19 0 0,1 0 15,-1 0-15,2 0 0,-2 0 0,0 0 16,1 0-16,0 0 31</inkml:trace>
  <inkml:trace contextRef="#ctx0" brushRef="#br0" timeOffset="10228.04">8273 9874 0,'53'17'0,"-18"1"0,-18-18 0,2 17 16,-2 0-16,18 2 0,-17-2 15,0-17-15,-1 18 0,0-1 0,-17 2 16,19-2-16,-2 0 0,-17 1 15,18 0-15,-18 0 0,0 16 0,-18-16 16,18 0-16,-17 17 0,-2-18 16,2 19-16,-18-18 0,17-1 15,0 2-15,1-2 0,0 0 0</inkml:trace>
  <inkml:trace contextRef="#ctx0" brushRef="#br0" timeOffset="11146.75">9102 9891 0,'0'35'31,"0"-18"-15,0 2-16,0-2 0,0 1 31,17-1-15,1-17 31,0-17-47,0 17 15,-1 0 16,0 0-31,1 0 0,0 17 32,0 2-32,-18-2 15,17-17-15,-17 17 16,17-34 15,2 0-15,-2 17-1,-17-19-15,18 19 16,-1 0-16,2 0 16,15 0-1,-16 19 1,-1-19-16,2 0 16,-2 0-1</inkml:trace>
  <inkml:trace contextRef="#ctx0" brushRef="#br0" timeOffset="11469.37">9702 9874 0,'-53'0'15,"53"17"-15,0 1 0,-18-18 16,18 17-16,0 0 0,0 19 15,18-18 1,-18-1-16,34 19 16,-15-36-1,-2 0-15,18 0 16,-16 0 0,-19-17-16,17 17 15,-17-36 1,-17 18-16,17 1 15,-19-2-15,2 19 16,-1-17-16,1 17 16</inkml:trace>
  <inkml:trace contextRef="#ctx0" brushRef="#br0" timeOffset="11781.72">9825 9891 0,'36'35'16,"-72"-70"-16,89 70 0,-36-18 15,-17 2-15,18-19 16,-18 17-16,18-17 16,-18 18-16,0-1 0,18 2 15,-1-38 48,-17-16-48,17 18-15,-17-2 16,19 19-16,-19-17 16,17 17-1</inkml:trace>
  <inkml:trace contextRef="#ctx0" brushRef="#br0" timeOffset="12061.07">10195 9943 0,'18'-52'0,"-53"70"47,35-1-47,-17-17 0,17 17 15,0 19 1,0-18 0,17-1-16,18 2 31,-17-19-31,0 0 15,-1 0 1</inkml:trace>
  <inkml:trace contextRef="#ctx0" brushRef="#br0" timeOffset="12992.04">11095 9679 0,'-17'-17'0,"-2"34"0,-15-17 16,16 18-1,0-18-15,0 17 0,1 2 0,0-2 16,-2 0-16,2 1 15,17 0 1,17-18-16,-17 18 16,19-1-16,-2-17 0,0 17 15,1-17-15,-18 19 0,36-2 16,-19-17-16,0 18 0,2-18 16,-2 17-16,1 0 15,-1 2-15,-17-2 16,-17 1-16,-1-1 15,1-17-15,-2 19 16,2-19-16,-18 0 16,35 17-16,-18-17 15,0-17-15,1 17 16</inkml:trace>
  <inkml:trace contextRef="#ctx0" brushRef="#br0" timeOffset="13366.57">11254 9645 0,'0'52'15,"0"-35"-15,17 2 0,-17-2 0,0 0 16,0 1-16,-17 0 0,17 0 15,0-1-15,0 0 0,0 2 0,0-2 16,0 1-16,0-1 16,-17 0-16,34 2 31,0-38-15,1 19-16,-1 0 15,2-17 1,-2 34-16,0-17 0,1 0 15,18 19 1,-19-2-16,0 1 16,19-1-1,-1-17 1</inkml:trace>
  <inkml:trace contextRef="#ctx0" brushRef="#br0" timeOffset="13765.92">11783 9891 0,'-18'-17'15,"18"-2"-15,-35 19 16,18 0 0,-1 0-16,18 19 15,-18-19-15,18 17 0,-18-17 16,18 18-16,-17-18 0,17 17 15,0 0-15,17-17 16,-17 19 0,18-19-16,0 0 15,17-19 17,-18 2-17,1 0 1,0 17-1,0 17 1,-1 0 0,-17 2-1,17-2 1,2 1 0</inkml:trace>
  <inkml:trace contextRef="#ctx0" brushRef="#br0" timeOffset="14143.77">11906 9838 0,'36'17'16,"-19"19"-1,-17-18 1,0 16 0,0 2-16,0-18 15,0-1 1,18-17-1,-1-35 17,2-1-17,-2 19-15,-17 0 16,17 17-16,-17-18 16,0 1-16,18-2 15</inkml:trace>
  <inkml:trace contextRef="#ctx0" brushRef="#br0" timeOffset="14391.2">12330 9521 0,'0'0'15,"0"53"1,0-36-1,0 1-15,0-1 0,0 2 0,0 15 16,-17-16-16,17 18 0,0-19 16,0 18-16,-19-17 0,19 0 0,0 16 15,0-15-15,-17-2 0,17 1 16,0-1-16,0 0 0,17 2 16,-17-2-16,19-17 15</inkml:trace>
  <inkml:trace contextRef="#ctx0" brushRef="#br0" timeOffset="14634.58">12594 9785 0,'-17'-18'0,"-1"18"16,-35 18 15,36 0-31,-19 0 0,18-1 16,1 0-16,0 19 15,17-18 1,34-1 0,-16 0-1,0-17-15,17 0 16,-18 0-16,2 0 0,-2 0 16,1 0-16</inkml:trace>
  <inkml:trace contextRef="#ctx0" brushRef="#br0" timeOffset="15342.95">13229 9662 0,'-35'0'16,"0"35"-1,17-35-15,18 17 0,-18 19 16,1-36-16,17 17 0,0 1 0,-17 0 16,17 0-16,0 16 15,17-34 1,-17 19-16,17-19 0,1 0 15,0 0 1,0-19-16,-1 19 0,0-17 16,-17 0-16,18 17 15,-18-18-15,18 18 0,0-18 16,-1 36 15,0 0-15,-17-1-16,0 0 15,19 2-15,-19-2 16,0 1-16,17-1 16</inkml:trace>
  <inkml:trace contextRef="#ctx0" brushRef="#br0" timeOffset="15764.89">13565 9486 0,'0'35'31,"0"-18"-15,0 19-16,0-1 16,0-18-16,0 36 0,0-35 15,-18 18-15,18-19 0,0 0 16,0 19-16,0-18 0,0-1 0,0 0 16,-18 2-16,18-2 0,0 1 15</inkml:trace>
  <inkml:trace contextRef="#ctx0" brushRef="#br0" timeOffset="15924.8">13441 9891 0,'0'-36'31,"17"36"-15,2 0-16,-19-17 0,17 17 15,0 0-15</inkml:trace>
  <inkml:trace contextRef="#ctx0" brushRef="#br0" timeOffset="16160.25">13741 9609 0,'0'-18'0,"0"36"16,17-36-16,-17 1 15,0-2-15,0 55 31,0-18-15,0-1-16,0 2 0,0 15 16,0-16-16,0-1 0,0 54 15,0-53 1,0 0-16,19 16 0,-19-15 16,0-2-16,0 1 15,0-1-15,0 0 16</inkml:trace>
  <inkml:trace contextRef="#ctx0" brushRef="#br0" timeOffset="16349.08">13670 9909 0,'-17'-18'15,"51"1"1,2-2-1,-1 19 1,-16-17-16,-2 17 16,18 0-16,-17-17 0,0 17 0,-1 0 15,0 0-15</inkml:trace>
  <inkml:trace contextRef="#ctx0" brushRef="#br0" timeOffset="17779.34">14023 9803 0,'-17'0'0,"-2"0"15,2 18 17,0-18-17,17 17-15,0 0 16,0 19-1,17-36 1,0 0 0,2 0-16,33 0 15,-52-17-15,17 17 0,2 0 16,16-19 0,-18 2-16,2 17 31,-19 17-16,17 2-15,-17-2 16,17 1-16,1-1 16,0-17 15,0 17-31,-1-34 16,0 17-16,19-35 15,-36 18 1,18-2-16,-18 2 15,17 0-15,-17-1 0,0 0 16,0 0-16,0 1 0,0 0 16,17-2-16,-17 2 0,0-1 0,0 1 15,0 0-15,0-2 0,0 2 16,0 53 31,-17-2-32,34-16 1,-17-1-16,0 2 0,0-2 0,0 0 16,19 1-16,-19 0 0,17 0 15,1-1 1,-1-17-16,2 17 16,-2-17-16,0 0 15,-17-17-15,18 17 0,-1 0 16,-17-17-16,19 17 0,-2-18 15,0 0-15,-17 0 0,18 1 16,-18 0-16,0-2 0,18-33 16,-18 16-16,0 19 0,0-18 15,0-1-15,0-16 16,0 33-16,0 2 16,0 0-16,-18 17 15,0 17 16,18 0-31,-17 2 0,0 33 16,17-35 0,0 2-16,-19-19 0,19 17 15,0 1-15,0-1 16,19-17 0,-2 0-1,0 0 1,1 0-16,0 0 15,0 19-15,-1-19 16,0 34 0,-34-16-1,0-1-15,-1-17 16,18 19-16,-18-19 16,18 17-16,-18-17 0,18 17 15,-17-17-15,17 18 16,17 0-1,1-18 1,0-18 0,0 18-16,-1 0 0,0 0 15,1-18-15,0 1 16,0 17-16,-1 0 0,0-17 16,2-2-1,-2 19-15,1 0 16,-1 0-1,2 0-15,-19 19 16,0-2-16,17-17 16,-17 17-1,-17 1-15,-2-18 16,2 18-16,-1 0 16,1-18-16,-2 0 0,-15 17 15,-54 0-15,34 2 0</inkml:trace>
  <inkml:trace contextRef="#ctx0" brushRef="#br0" timeOffset="18866.09">899 11426 0,'71'-19'0,"-54"19"0,19 0 0,-1 0 16,1 0-16,-1 0 15,18 0-15,0 0 0,-1 0 0,160 0 16,-141-17-16,-18 17 15,18 0-15,-19 0 0,36 0 16,-35 0-16,-17 0 0,-18 0 16,52-17-16,-52 17 15,-1 0-15,0-18 16,2 18-16,-2 0 0</inkml:trace>
  <inkml:trace contextRef="#ctx0" brushRef="#br0" timeOffset="19057.68">2275 11179 0,'-17'52'0,"17"-34"16,0 0-16,0 17 0,-17 1 16,17-1-16,0-18 15,0 0-15,0 2 0,0-2 16,-19 18-16,38-16 15</inkml:trace>
  <inkml:trace contextRef="#ctx0" brushRef="#br0" timeOffset="19276.72">2575 11249 0,'0'0'0,"0"18"16,0 0 0,0-1-16,0 0 0,0 2 15,0-2-15,0 1 0,0 35 16,0-36-16,0 1 16,0-1-16,0 2 15,0-2-15</inkml:trace>
  <inkml:trace contextRef="#ctx0" brushRef="#br0" timeOffset="19790.05">4181 11461 0,'53'0'0,"-18"-18"16,-18 18-16,2 0 0,15 0 0,1 0 15,18 0-15,71-17 0,-36 17 16,0 0-16,18-19 16,-17 19-16,16 0 0,1 0 0,0-17 15,194 17-15,-106 0 16,-124-17-16,18 17 15,54 0-15,-72 0 0,1 0 16,0 0-16,-19-18 0,1 18 0,18 0 16,-37 0-16,-15 0 15,16 0-15,-18 0 0,2-17 16,-2 17-16,0 0 16,1 0-16</inkml:trace>
  <inkml:trace contextRef="#ctx0" brushRef="#br0" timeOffset="20237.84">7973 11231 0,'106'0'0,"-54"0"16,-16 0-16,-18 0 15,16 0-15,2 0 0,-1 0 16,36 0-16,-35 0 0,-19 0 15,0 0-15,19 0 0,-18 0 16,-1 0-16,0 0 0,2 0 0,-2-17 16,1 17-16,-1 0 15,0-17-15</inkml:trace>
  <inkml:trace contextRef="#ctx0" brushRef="#br0" timeOffset="20509.06">8414 11002 0,'35'17'32,"-17"2"-32,0-19 0,-1 0 0,0 17 15,2-17-15,-2 18 0,18-1 0,-18-17 16,19 36-16,-18-19 15,-1 1-15,2 0 0,-19 0 16,17-1-16,0 18 0,-34-17 16,17 0-16,0-1 0,-17 19 15,-37 16 1,37-35-16,-19 19 0,1-36 16</inkml:trace>
  <inkml:trace contextRef="#ctx0" brushRef="#br0" timeOffset="21348.8">9331 11161 0,'0'53'0,"0"-36"15,0 1 1,18-36 15,-1-16-15,2 34-16,-19-18 15,17 18-15,18 0 16,-18 0 0,2 0-16,-2 0 15,-17 18-15,17-18 16,-17 17-16,18 0 15,-18 1 1,18-36 31,0 18-31,-18-17-16,17 17 0,0-17 15,1 17-15,0 0 16,0 0-16,-1 0 15,0 17-15,2 0 16,-2-17 0,1 18-16,-1-18 15</inkml:trace>
  <inkml:trace contextRef="#ctx0" brushRef="#br0" timeOffset="21671.24">9949 11126 0,'0'-17'16,"-18"17"0,0 17-1,0 0 1,18 1-16,0 0 16,18 0-16,-18-1 0,18-17 15,0 17 1,-1-17-16,0 0 15,2 0-15,-2 0 16,-17-17-16,18 17 16,-18-17-16,0-1 0,0 0 15,-18 18-15,18-18 0,-17 1 16,-2 0 0,2-2-1</inkml:trace>
  <inkml:trace contextRef="#ctx0" brushRef="#br0" timeOffset="21951.81">10002 11090 0,'17'0'0,"-53"0"0,55 0 0,16 0 0,-18 0 16,0 19-16,2-19 16,-2 17-16,1-17 15,-1 17-15,-17 1 0,19-18 16,-2 18-16,-17 0 15,17-18-15,-17 17 16,18-34 15,0-19 1,-18 18-32,18 18 0,-18-17 15,17 17-15,-17-17 0,17-2 16,1 19-16,0-17 15,0 17-15,-1 0 16,0 0-16,2 0 16</inkml:trace>
  <inkml:trace contextRef="#ctx0" brushRef="#br0" timeOffset="22244.55">10619 11161 0,'0'-52'15,"-18"52"1,0 17 0,1-17-16,17 17 15,-17 1-15,17 0 16,0 0-16,0-1 15,17-17-15,0 0 16,-17 17-16,18-17 0,0 0 16,0 0-16,-1 0 0,0-17 15,19 17-15,-18 0 0,-1 0 16</inkml:trace>
  <inkml:trace contextRef="#ctx0" brushRef="#br0" timeOffset="22916.82">11606 10809 0,'19'34'16,"-19"-16"-16,0 0 15,0 34 1,17-33-16,-17-2 0,0 1 16,0-1-16,0 0 15,0 2 1,35-38 15,-17 19-31,-18-17 0,18 17 16,16-17-1,2 34 1,-18 0 0,-18 2-16,17-19 15,-17 17-15,17-17 16,19 18-16</inkml:trace>
  <inkml:trace contextRef="#ctx0" brushRef="#br0" timeOffset="23216.73">12013 10967 0,'-19'-17'0,"2"52"15,17-18 1,0 0-16,0 2 15,17-2-15,-17 1 16,19-1-16,-2-17 0,0 19 16,1-19-16,0 0 0,0 0 15,-1 0 1,0 0-16,-17-19 0,19 19 0,-19-17 16,0-18-1,-19 16-15,2 2 16,17 0-16,-17 17 0,-1-18 15,0 18-15,0 0 0,1-17 16,0 34-16,-2-17 16</inkml:trace>
  <inkml:trace contextRef="#ctx0" brushRef="#br0" timeOffset="23779.78">12313 10967 0,'17'18'0,"-17"-1"15,0 0 1,0 2 0,17-2-16,-17 1 31,18-36 16,18 18-32,-19-17 1,0 17 0,1 0-1,0 17 1,0-17-16,-1 18 31,0-36 0,2 1-15,-2 17 0,1 0-1,-1 17 1,0-17 0,2 0-1,-2 18-15</inkml:trace>
  <inkml:trace contextRef="#ctx0" brushRef="#br0" timeOffset="23935.78">12789 11002 0,'17'17'16,"-17"2"-1,0-2 1,0 1-1,0-1-15</inkml:trace>
  <inkml:trace contextRef="#ctx0" brushRef="#br0" timeOffset="24069.76">12806 10843 0,'0'-17'16</inkml:trace>
  <inkml:trace contextRef="#ctx0" brushRef="#br0" timeOffset="24515.13">13018 10931 0,'-19'19'0,"2"-19"16,0 35-16,-1-35 16,1 34-16,17-15 15,-19-2-15,38 1 32,-19-1-32,17-17 0,18 0 15,1 0-15,-19-17 16,18 17-1,1 0-15,-19-18 16,1 36-16,0-18 16,-18 17-1,18-17-15,-18 19 0,17-2 16,-17 0 0,0 1-16,17-18 15</inkml:trace>
  <inkml:trace contextRef="#ctx0" brushRef="#br0" timeOffset="24656.94">13265 10897 0</inkml:trace>
  <inkml:trace contextRef="#ctx0" brushRef="#br0" timeOffset="25372.09">13494 10755 0,'17'-17'15,"-17"34"1,0 18 0,0-16-16,-34 51 15,34-52-15,0 16 0,-19-15 16,19 16 0,0-18-16,0 0 0,0 2 15,0-2 1,19-34 15,-38-2 16,-16 38-31,35-2-16,-17-17 15,17 18-15,0-1 16,0 2-1,17-2 1,18-17-16,-35-17 16,19 17-16,-2 0 0,0 0 0,-17-19 15,18 19-15,0 0 0,0-17 16,-1 17-16,0-18 0,2 18 16,-19-17-1,17 34 48,1-17-48,-1 0 1,0 0 0,2 0-1,-2 0-15,1 0 16,-1 18-1,-17-1 1,0 2 0,-17-19-1,-1 17-15,1-17 16,-2 17-16</inkml:trace>
  <inkml:trace contextRef="#ctx0" brushRef="#br0" timeOffset="26118.35">1535 12661 0,'70'17'0,"-34"-17"0,-2 0 16,56 17-16,-56-17 0,20 0 16,-20 0-16,2 0 0,16 0 0,-16 0 15,16 0-15,2-17 0,-18 17 16,-2-17-16,1-1 0</inkml:trace>
  <inkml:trace contextRef="#ctx0" brushRef="#br0" timeOffset="26287.72">2470 12519 0,'0'0'0,"17"18"32,-17-1-32,-17 36 15,17-35 1,0 0-16,0 17 0,0-18 16,-19 1-16,19 0 0,0 17 15,-17 1-15,17-19 16,0 1-16</inkml:trace>
  <inkml:trace contextRef="#ctx0" brushRef="#br0" timeOffset="26488.83">2611 12537 0,'0'53'31,"0"-36"-31,0 1 0,0 0 0,0 0 16,0-1-16,0 0 0,-18 1 0,18 0 16,0 0-16,0-1 0,0 0 15,0 2-15,0-2 0,0 1 16</inkml:trace>
  <inkml:trace contextRef="#ctx0" brushRef="#br0" timeOffset="26901.93">4357 12783 0,'124'0'15,"69"0"1,-52 0-16,71 19 15,-124-19-15,-17 0 16,34 0-16,-15 17 0,-2-17 16,-18 0-16,36 0 0,-36 0 15,18 0-15,0 0 0,-17 0 0,0 0 0,17 0 16,53-17-16,-70 17 0,-1 0 16,-18 0-16,2 0 15,-1 0-15,-18 0 0,1 0 0</inkml:trace>
  <inkml:trace contextRef="#ctx0" brushRef="#br0" timeOffset="27372.69">8626 12573 0,'35'0'16,"-18"0"-16,19 0 15,-1 0-15,-17 0 0,17 0 16,-18 0-16,1 0 0,0 0 16,17 0-16,-18-19 0,2 19 15,16 0-15,-18 0 16,0 0-16</inkml:trace>
  <inkml:trace contextRef="#ctx0" brushRef="#br0" timeOffset="27637.04">8907 12325 0,'19'0'15,"16"18"-15,-18-18 0,0 18 16,37-1-16,-18 0 0,-19 2 15,18-2-15,18 18 16,-36-18-16,1 2 0,0-2 0,0 1 16,-18-1-16,0 19 0,0-19 15,-18 1-15,0 18 0,18-19 16,-35 18-16,18-17 0,-1 0 0,0-1 16,0 0-16,1 2 0,0-19 0</inkml:trace>
  <inkml:trace contextRef="#ctx0" brushRef="#br0" timeOffset="28498.22">10037 12395 0,'-18'54'0,"18"-37"0,0 0 0,0 2 15,0-2-15,-17 18 0,17-16 16,0-2-16,0 0 15,0 1-15,0 0 16,17-36 15,-17 0-31,18 18 16,-18-17-16,17 0 0,0-2 16,-17 2-16,19 17 0,-2-18 15,1 18-15,-1 0 16,-17 18-16,19-18 15,-19 17-15,0 2 16,17-19-16,-17 17 16,0 0-16,17 1 15,1-36 32,0-16-31,0 34-16,16-19 0,2 19 15,-1 19 17,-18-19-32,-17 17 0,19 0 0,-19 1 31,17 0-31</inkml:trace>
  <inkml:trace contextRef="#ctx0" brushRef="#br0" timeOffset="28823.86">10654 12449 0,'-17'0'0,"-1"17"31,0 0-31,18 2 16,0-2-16,0 1 15,0-1-15,18-17 0,-18 19 0,0-2 0,18 0 16,16 1-1,-16-18-15,0 0 16,0 0-16,-1 0 16,-17-18-1,17 1-15,-34 0 16,17-2-16,-17-16 0,-1 18 16,18-2-16,-18 19 15,18-17-15,-18 0 16</inkml:trace>
  <inkml:trace contextRef="#ctx0" brushRef="#br0" timeOffset="29087.88">10901 12554 0,'0'53'0,"17"-35"16,-17 0 0,19-36 15,-19 0-31,17-35 31,0 18-15,-17 18-16,18 17 0,-18-19 15,18 19-15,0-17 16,16 34 0</inkml:trace>
  <inkml:trace contextRef="#ctx0" brushRef="#br0" timeOffset="29345.71">11325 12537 0,'0'-18'0,"17"1"15,-53 34 17,19-17-32,17 18 15,-18-1-15,1 2 0,17-2 16,0 0-16,0 1 0,0 0 15,35 0 1,-18-18 0,2 0-16,-2 0 0,0 0 0,1 0 15</inkml:trace>
  <inkml:trace contextRef="#ctx0" brushRef="#br0" timeOffset="33295.76">12382 12273 0,'0'-18'0,"-17"0"15,-1 18 1,1 0-16,0 18 0,-2-18 16,2 0-16,-37 18 15,37-1-15,0-17 0,17 17 16,-18-17-16,18 18 0,0 0 16,0 0-1,18-18-15,-1 17 0,36 0 16,-35 2-16,18 16 15,-19-35 1,0 17-16,1 0 0,-18 2 16,-18 16-1,1-18-15,0 2 0,-2-19 16,2 17-16,-1-17 0,1 17 0,-2-17 16,2 18-16,0-18 0,-1 0 15,1 0-15,-2 0 0,2 0 0,0 0 16,-1-18-16</inkml:trace>
  <inkml:trace contextRef="#ctx0" brushRef="#br0" timeOffset="33756.35">12453 12343 0,'-18'18'47,"18"16"-32,0 2-15,18-18 16,0 16-1,-18-15-15,18-19 0,-1 17 16,0-17-16,19 0 31,-18-36-15,-1 19 0,-17 0-1,17-1-15,-17 1 16,19 52 15,-19-18-15,0 0-1,17 2 1,-17-2-16,18-17 16</inkml:trace>
  <inkml:trace contextRef="#ctx0" brushRef="#br0" timeOffset="34124.58">12789 12361 0,'-18'34'0,"0"2"16,18-18 0,0 16-1,18-34 32,0 0-31,-1-17-16,0 17 0,1 0 15,0 17 1,0 2 0,-18-2-16,17 1 0,-17-1 15,0 2 1,17-2 0</inkml:trace>
  <inkml:trace contextRef="#ctx0" brushRef="#br0" timeOffset="34583.83">13194 12185 0,'17'34'16,"-17"2"0,0-18-16,0-1 0,0 0 0,0 19 15,0-18 1,-17-1-16,17 0 16,35-17 30,-17 0-30,0 0 0,-1 0-16,0 0 15,-17 19-15,19-19 0,-19 17 16,0 1-16,0-1 0,0 0 16,-19-17-16,19 19 0,-17-2 0,0 1 15,-1-18-15,-18 36 16,19-36-16,0 0 0,-1 17 15,0-17-15,0 0 16,1-17-16</inkml:trace>
  <inkml:trace contextRef="#ctx0" brushRef="#br0" timeOffset="34956.68">13458 12307 0,'0'-17'0,"0"52"15,0-17-15,-17-18 0,17 18 16,0-1-16,0 0 0,0 2 15,0-2-15,17 1 16,-17-1 0,19-17-16,-2 0 0,18-17 15,-17 17 1,-18-18 0,18 18-16,-18-17 0,17-2 15,-17 2 1,17 0-1,-17-1 1</inkml:trace>
  <inkml:trace contextRef="#ctx0" brushRef="#br0" timeOffset="35267.87">13670 12307 0,'36'54'15,"-36"-37"-15,0 0 16,0 2-16,0-2 16,0 1-16,17-1 15,1-34 32,-18-1-31,17 1-1,2-2-15,-2 19 32,-17-17-17</inkml:trace>
  <inkml:trace contextRef="#ctx0" brushRef="#br0" timeOffset="35630.87">14006 12290 0,'0'35'16,"0"-17"-16,0 0 15,0-1-15,-19 0 16,19 2-16,0-2 16,0 1-1,36-36 17,-18 1-17,-1 17-15,0 0 16,-17-19-16,19 19 15,-2 0-15,1 0 16,-18 19 0,17-19-1,-17 17 1,19-17 0</inkml:trace>
  <inkml:trace contextRef="#ctx0" brushRef="#br0" timeOffset="35895.35">14375 12325 0,'-17'18'31,"17"0"-15,0-1-1,0 0-15,0 2 16,0-2-16,0 1 0,-17-1 16,-1 0-1,0 2-15,-34-2 16,34-17-16,-35 18 16,36-1-16,-19-17 0,18 0 15,-18 0-15</inkml:trace>
  <inkml:trace contextRef="#ctx0" brushRef="#br0" timeOffset="37126.65">14729 9045 0,'17'-54'0,"0"37"0,2 17 16,-2 0-16,18-17 15,1 17-15,-19 0 0,1 0 0,-1 0 16,2 0-16,-2 0 16,0 0-16,-17 17 0,18-17 15,0 17-15,-18 1 0,18 18 16,-1-19-16,-17 0 0,0 19 16,17-18-16,-17 16 0,0 20 15,19-18-15,-19 16 0,17 54 0,-17-54 16,0 2-16,18 16 0,-18-16 0,0 51 15,0-52 1,0 70-16,0-70 0,0 18 16,-18 34-16,18-34 0,0-18 15,-17 18-15,17-19 0,0 1 16,0 1-16,0-1 0,0 70 16,0-18-16,0-52 0,0 1 15,0 51-15,0-52 16,0 1-16,-19-2 0,19 1 15,0 0-15,-17-1 0,17 36 0,-17-34 16,17-1-16,-18 0 16,18-1-16,-18 36 0,0-34 15,1 34-15,0-35 0,-2 0 16,19-18-16,-17 18 16,-1-1-16,-16 38 0,15-2 15,2-54-15,17 20 0,-18-20 16,1 54-16,-2-52 15,19-1-15,-17 1 0,17-19 0,0 19 0,-17-18 16,17 16-16,0-16 0,0 0 16,-18 0-16,18-1 0,0 0 0,0 2 15,0-2-15,0 1 0,0-1 16,0 2-16,18-2 31,-36-17 0,-18 17-31,19-17 16,-71 35-16,17-16 0,-34 15 16,-178 72-16,125-36 15,-54 1-15,-370 106 16,264-89-16,-34 0 0,-19 0 0,-34 0 16</inkml:trace>
  <inkml:trace contextRef="#ctx0" brushRef="#br0" timeOffset="39451.71">6191 9662 0,'0'-36'94,"0"19"-79,0-1-15,18 18 16,-18-17-16,0-2 0,0 2 16,0 0-16,0-1 0,0 1 0,0-2 15,0-15-15,0-2 0,0 1 16,0 18-16,0-2 0,0-16 16,0 18-16,0 0 0,0-2 15,0 2 1,0-1-16,0 1 15</inkml:trace>
  <inkml:trace contextRef="#ctx0" brushRef="#br0" timeOffset="39888.94">6174 9115 0,'-36'18'0,"19"-18"0,17 17 15,-35 0-15,35 2 0,-19-19 16,2 17-16,17 1 0,-17-1 16,-1 2-16,18-2 0,-17 0 0,-2-17 0,19 18 15,-17-1-15,17 2 16,-17-19-16,17 17 0,-18 0 0,0 1 16</inkml:trace>
  <inkml:trace contextRef="#ctx0" brushRef="#br0" timeOffset="40230.19">6103 9150 0,'35'17'15,"-35"2"-15,19-19 0,15 17 16,-34 1-16,18-1 0,-1 2 16,2-2-16,-2-17 0,0 17 15,1 1-15,0-1 0,17 2 16,-35-2-16,17-17 0,2 17 15,-2-17-15,-17 18 0,18-18 16,-1 0-16,-17 18 0,17-18 16,2 18-1</inkml:trace>
  <inkml:trace contextRef="#ctx0" brushRef="#br0" timeOffset="41291.86">10054 9609 0,'0'-71'0,"0"54"15,0-1-15,0 1 0,0-2 0,0 2 16,0 0-16,0-1 0,0 0 15,0-34-15,0 16 0,0 18 16,0-16-16,0 15 0,0-33 16,0 33-16,0-15 15,0 16-15,0 0 16,0 0-16,0 1 16,17 17-16</inkml:trace>
  <inkml:trace contextRef="#ctx0" brushRef="#br0" timeOffset="41849.68">10054 9097 0,'-35'18'32,"35"0"-32,-17-1 15,-2 0-15,19 2 0,-17-2 16,17 1-16,-17-1 0,-1 2 0,18-2 15,-18 0-15,0 1 0,18-1 16,-17-17-16,17 19 0,-17-2 0,17 0 16,-19-17-16,19 18 15</inkml:trace>
  <inkml:trace contextRef="#ctx0" brushRef="#br0" timeOffset="42127.78">10037 9027 0,'70'35'0,"-52"-35"0,-1 17 16,2 1-16,-2-18 0,0 18 16,1 0-16,18-1 0,-19 0 15,-17 2-15,17-19 0,1 17 0,0 1 16,0-1 0</inkml:trace>
  <inkml:trace contextRef="#ctx0" brushRef="#br0" timeOffset="44411.95">6386 9009 0,'-36'-71'0,"36"54"0,0-1 15,-17 18-15,17-17 16,0 0-16,-18 17 15,18-19-15,0 2 16,0-1 0,35 1-1,-18 17-15,19-19 16,52 2 0,-34 17-16,16-17 0,0 17 15,71-18-15,-70 0 16,-1 18-16,1 0 0,17-18 0,0 18 0,0-17 15,1 17-15,-1 0 0,0-17 16,18 17-16,-18 0 0,18-18 16,-18 18-16,18 0 0,-18 0 0,18 0 15,70-18-15,-88 18 0,0 0 16,72 0-16,-72 0 16,-17 0-16,17 0 0,-17 0 0,17 0 15,-18 0-15,-18 0 0,2 0 0,-1 0 16,-18 0-16,1 0 0,-19 0 15,18 0-15,-17 0 0,0 0 0,-1 0 16,0 0-16,1 0 0,0 0 16,0 0-1,16 0 1,-15 0-16,-2 0 16,-17-18-1,18 18 1,-1 18 15,-17 0-15,-17 0-16,17-1 0,0 18 15,-18-17-15,18 0 16,-17 16-16,17-15 0,-19-2 0,19 1 0,0-1 16,0 2-16,0-2 0,0 0 15,19 1 1,-19-1-16</inkml:trace>
  <inkml:trace contextRef="#ctx0" brushRef="#br0" timeOffset="49109.6">6474 11090 0,'0'-17'0,"0"-1"16,17 1 31,-17-2-32,0 2 17,0 0-17,0-1-15,0 1 16,0-2 0,0 2-1,0 0 1,0-1 15,18 0 16,-1 18-31,19 0-1,-19 0 1,37 0-1,-37 0-15,18 0 0,-17 0 16,0 0-16,16 0 0,2 0 16,-1 0-16,-16 0 0,33 0 0,-16 0 15,-2 0-15,20 0 0,-20 0 0,20 0 16,-20 0-16,20 0 0,-18 0 16,33 0-16,-16 0 0,18 0 0,0 0 15,-1 0-15,1 0 0,0 0 16,-19-18-16,18 18 0,72 0 15,-72 0-15,1 0 0,0 0 0,-1-17 16,-16 17-16,51 0 0,-52 0 16,-1 0-16,2 0 0,-20 0 15,20 0-15,-18 0 0,-2 0 16,2-17-16,-1 17 0,0 0 0,-17 0 16,17 0-16,1 0 15,-19 0-15,18 0 0,-18 0 0,2 0 0,16 0 16,-18 0-16,2 0 0,-2 0 0,0 0 15,1 0-15,0 0 16,0 0-16,-1 0 16,0 0-16,1 0 15,0 0-15,0 0 16,-1 0-16,0 0 31,2 0-15,-2 0-16,1 0 15,-1 0 1,2 0 0,-38 17 46,2 18-46,17-17-1,-18 0 1,18-1-16,0 0 16,0 2-1</inkml:trace>
  <inkml:trace contextRef="#ctx0" brushRef="#br0" timeOffset="49993.89">7462 11143 0,'17'0'16,"-17"18"-16,0 0 16,0 0-16,0-1 0,0 0 15,0 19-15,0 16 16,0-33-16,18-2 0,-18 1 15,0-1-15,0 0 0,0 2 16,0-2-16,0 1 0,0-1 16,0 2 15</inkml:trace>
  <inkml:trace contextRef="#ctx0" brushRef="#br0" timeOffset="50260.13">7514 11214 0,'-35'35'15,"18"-35"1,17 18-16,-19-18 0,2 18 16,17-1-16,-35 0 0,17 2 15,0-2-15,1 1 0,0-1 0,-2 0 16,2-17-16,-1 19 16,18-2-16,-17-17 0</inkml:trace>
  <inkml:trace contextRef="#ctx0" brushRef="#br0" timeOffset="50479.71">7409 11197 0,'17'17'0,"0"0"0,2-17 16,-2 18-16,18 18 15,1-2 1,-19-34-16,-17 19 0,18-19 16,-18 17-16,17-17 0,2 18 15</inkml:trace>
  <inkml:trace contextRef="#ctx0" brushRef="#br0" timeOffset="53360.79">11147 11497 0,'19'-19'0,"16"19"15,18 0-15,-18 0 0,1 0 16,16 0-16,54 0 0,-35 0 16,0 0-16,-1 0 0,0 0 15,-17-17-15,88 17 0,1 0 16,-89 0-16,-18 0 15,-1 0-15,2 0 0,18 0 16,-37 0-16,0 0 0,1 0 16,-1 0-16,2 0 0,-2 0 15,0 0 1</inkml:trace>
  <inkml:trace contextRef="#ctx0" brushRef="#br0" timeOffset="53591.61">11959 11619 0,'54'0'15,"-37"0"1,0 0-16,19 0 0,-18 0 0,-1 0 15,19 0-15,-19 0 0,35 0 16,-33 0-16,-2 0 0,18-17 16,-16 17-16,-2 0 0,0 0 0</inkml:trace>
  <inkml:trace contextRef="#ctx0" brushRef="#br0" timeOffset="55493.72">7902 10402 0,'17'0'0,"-51"0"78,16 0-63,1 19 1,-2-19 31,2 17 15,17 0 17,-17-17-64,-1 18 1,18 0-16,-18-18 15,0 18-15,1-1 0,0 0 16,-1-17-16,0 19 0,0-19 16,-16 17-16,15-17 0,2 0 15,-1 0-15,1 0 0,-2 0 16,2 0-16,0 0 0,17-17 16,-18 17-16,18-19 15,0 2-15,18 17 16,-1 17-1,0-17-15,2 19 16,-2-2-16,1-17 0,18 18 0,16 16 16,-16-34-16,-2 19 15,2-19-15,-1 17 0,1-17 16,-1 0-16,18 0 0,-18 18 0</inkml:trace>
  <inkml:trace contextRef="#ctx0" brushRef="#br0" timeOffset="58608.83">5874 13261 0,'0'52'0,"0"-35"0,0 2 15,0 33 1,17-34-16,-17 0 15,18-18-15,0 17 0,0-17 0,-1 17 16,0-17-16,19 0 0,35 19 16,-36-19-16,1 0 15,-2 0-15,20 0 0,-2 0 16,1 0-16,18 0 0,-1 0 16,160 0-16,-142 0 15,0 0-15,0-19 0,-18 19 0,18 0 16,2 0-16,-21 0 0,38 0 15,-2 0-15,-17 0 0,1 0 0,-1 0 16,0 0-16,18 0 0,-18 0 16,-18 0-16,37 19 0,-19-19 0,88 0 15,-105 17-15,17-17 0,88 0 16,-106 0-16,18 0 0,-17 0 16,18 0-16,-1 0 15,0 0-15,-17 0 0,0 0 0,17 0 0,-18 0 16,72 0-16,-90 0 0,-16 0 15,52 0-15,-35 0 16,-36-17-16,18 17 0,1 0 16,-19 0-16,1 0 0,-1 0 0,2 0 15,-2-19 1,0 19-16,-17-17 16,18 17-1,-18-17 1,0-1-1,0 0 1,0 0 0,0 1-16,18 0 15,-18-19-15,0 1 0,0 18 0,0-2 16,18-33 0,-18 16-16,0 19 0,0-1 15,0 0-15,0 0 0,0 1 16,17 0-16,-17-1 15,0 0 1,-35 18 15,17 18-31,0-18 16</inkml:trace>
  <inkml:trace contextRef="#ctx0" brushRef="#br0" timeOffset="59255.68">7902 14037 0,'0'-19'16,"0"55"-1,0-19-15,0 1 16,0 18-16,-17-2 0,-1 37 15,1-35 1,17-19-16,-19 1 0,19 18 0,-17-19 16,17 0-16,-17 1 0,17-1 15,-18 2-15,18-2 16,-18-17 0</inkml:trace>
  <inkml:trace contextRef="#ctx0" brushRef="#br0" timeOffset="59565.68">7990 14001 0,'0'-18'0,"-35"18"32,18 18-32,-2-18 0,19 17 15,-17 2-15,0-19 0,-1 17 16,18 0-16,-17-17 0,-2 18 16,-15 18-16,16-19 15,0 0-15,0 1 0,1 0 16,0 0-16,17-1 15,-18-17-15</inkml:trace>
  <inkml:trace contextRef="#ctx0" brushRef="#br0" timeOffset="59808.82">7831 14001 0,'19'0'15,"33"0"-15,-52 17 0,36-17 16,-19 19-16,18-19 0,-16 17 16,15 0-16,20 1 15,-37 0-15,18-18 16,1 18-16,-19-18 0,19 0 0,35 17 15,-37-17-15,-16 17 0</inkml:trace>
  <inkml:trace contextRef="#ctx0" brushRef="#br0" timeOffset="61845.57">7391 12978 0,'-18'17'0,"0"1"0,18 0 16,-17-18-16,17 18 0,0-1 0,0 0 16,-17 19-16,17-18 15,0-1-15,0 0 0,0 2 16,0-2-16,0 1 0,0-1 15,17-17-15,0 19 16,1-19 0,18 0-16,-36-19 15,17 19-15</inkml:trace>
  <inkml:trace contextRef="#ctx0" brushRef="#br0" timeOffset="62099.84">7567 13154 0,'-17'17'31,"17"2"-31,0-2 16,0 1-16,0-1 0,17 2 31,1-2-31,-1-17 16,2 0-16,-2 0 16,0 0-16,1-17 15,-18-2 1,0 2-16,0-1 15,-18 18-15,18-17 0,-17 17 16,0-19-16,-2 19 16,2 0-16</inkml:trace>
  <inkml:trace contextRef="#ctx0" brushRef="#br0" timeOffset="62407.24">7691 13154 0,'52'53'0,"-52"-35"16,18-1-16,-18 2 15,0-2-15,0 0 16,18-17-16,-18 18 15,18-36 17,-18 1-32,17 0 15,-17-2 1,17 19-16,-17-17 0,19 17 0,-19-18 16,17 18-16,1-17 0,-1 17 15,0 0-15,2 0 16</inkml:trace>
  <inkml:trace contextRef="#ctx0" brushRef="#br0" timeOffset="63096.65">8185 13278 0,'0'-17'0,"-36"34"47,36 0-47,0 1 15,0-1-15,18 19 31,-18-19-31,18-17 0,-1 0 16,19 0 0,-19 0-16,37-34 15,-37 34-15,0-19 16,1 2-16,-18-1 16,17 1-16,19-36 0,-19 18 15,1-1-15,-18 19 0,0-1 16,18 0-16,-18 0 15,0 1-15,18 17 0,-18-17 16,0 51 15,-18-16-31,18 0 0,0 17 16,0-18-16,0 2 0,-18 33 16,36 1 15,0-35-16,16-36 1,-34 1-16,19 17 16,-2-17-16,-17-2 0,18 2 15,-1-1-15,-17 1 0,17 17 16,-17-19-16,19 19 0,-19-17 0,17 34 31,-34 37 0,17-37-31,0 2 16,0-2-16,0 0 0,17-17 16,-17 18-16,18-1 15</inkml:trace>
  <inkml:trace contextRef="#ctx0" brushRef="#br0" timeOffset="63601.72">8961 13225 0,'-54'0'0,"37"17"15,17 2-15,-17-2 16,34 0 15,0-17 1,2 0-17,-2 0-15,18-17 31,-18 0-31,-17-2 0,19 19 16,-19-17-16,0-1 0,17 18 16,1-36-16,-18 19 0,17 17 0,-17-17 15,19 17-15,-19-18 0,0 0 16,17 18 0,-17 18 15,0 17-31,0-18 15,0 2-15,0-2 0,-17 1 16,17 35 0,0-36-1,0 1-15</inkml:trace>
  <inkml:trace contextRef="#ctx0" brushRef="#br0" timeOffset="63920.02">9049 13261 0,'0'0'0,"17"-19"32,36 2-17,-35 17 1,0-18-16,0 18 0,-1 0 15,0-17-15,1 17 16,0 0-16,0 0 0,-1 17 16,-17 1-1,17-1 1,-17 2-16,0-2 16,0 0-16,19 1 15,-19-1 1</inkml:trace>
  <inkml:trace contextRef="#ctx0" brushRef="#br0" timeOffset="64757.56">9543 13171 0,'-36'36'0,"36"-1"16,0-16-1,18-2 17,-18 0-32,18-17 0,0 0 15,-1 0-15,0 0 16,1-17 0,18 17-1,-36-17 1,17-2-1,0 19 17,-17-17-1,19 17 78</inkml:trace>
  <inkml:trace contextRef="#ctx0" brushRef="#br0" timeOffset="65230.8">9314 13207 0,'0'-36'0,"-19"36"15,2 19 1,0-2-1,-1 18 1,18-16-16,0-2 16,0 18-16,18-35 15,-18 17-15,17-17 0,0 0 0</inkml:trace>
  <inkml:trace contextRef="#ctx0" brushRef="#br0" timeOffset="65689.64">9825 12942 0,'0'36'47,"-18"35"-32,1-37 1,17 2-16,-17-1 0,17 1 16,-19-1-16,19-18 15,-17 19-15,17-1 16,0-18-16,17-34 62,-34-18-46,-1 35-16,-18 0 16,19 0-16,-54 35 31,54-35-31,-18 17 0,35 2 16,-18-2-16,18 0 15,0 1-15,18 0 16,0-18-1,-1 0-15,0 0 16</inkml:trace>
  <inkml:trace contextRef="#ctx0" brushRef="#br0" timeOffset="67795.06">15558 8233 0,'0'-18'0,"17"53"62,-17 1-46,0-19-16,0 19 15,0-18-15,0 16 0,0-15 16,0 16-16,0-18 16,0 19-16,0-1 0,18 18 0,-18-18 15,0 1-15,0-2 0,0 2 16,0 35-16,0 17 16,0-53-16,0 1 15,0-2-15,0 2 0,0 16 0,0 2 16,0-20-16,0 2 15,0-1-15,0 18 0,-18 18 16,18-36-16,0 1 0,-17-2 16,17 37-16,-17-35 15,17-1-15,-19 18 0,19-18 0,-17 1 16,17-2-16,-18 37 0,1 0 16,17-54-16,0 19 15,-19 35-15,19-37 0,-17 2 16,17 34-16,-17-34 15,17-2-15,-18-15 0,18 16 16,0 1-16,-18 33 0,18-33 16,-18-1-16,18 35 0,-17 1 15,17-35-15,-17-1 16,17 1-16,-18 33 0,18 2 16,0-35-16,-18-2 0,18 2 15,0-1-15,0 1 0,-18-1 16,18 53-16,-17 0 15,17-52-15,0-2 0,0 2 16,-17 35-16,17-36 16,0 1-16,-19 16 0,19-16 0,0 16 15,-17 37-15,-1-37 0,18 36 16,-17-35-16,17-17 16,-19 16-16,19 2 0,-17 34 15,0 18-15,-1-54 0,18 2 16,-17-1-16,17-1 0,-19 1 15,2 53-15,17-53 0,-17 0 16,17-1-16,-18 2 0,0-1 16,18 18-16,-18-19 0,1 1 15,0 71-15,-2-19 0,2-34 16,-1 34-16,1-34 0,0-18 16,-2 18-16,19 0 15,-17-1-15,-18 53 0,16 18 16,2-70-16,0 0 0,-1 70 15,-18 0 1,19-70-16,0-2 0,-1 2 0,0 70 16,-17 18-16,-1-18 15,19-53-15,-1 54 16,1-54-16,17-18 0,-17 18 16,-2-17-16,2 88 0,17-89 15,-18 18-15,1 90 16,-2-20-16,2-70 15,0 88-15,-19 0 16,18-86-16,18-2 0,-17-18 16,0 18-16,17-17 0,-36 88 15,18-89-15,-16 70 0,15-16 16,-16 0-16,18-72 16,-2 38-16,-15-2 15,16-54-15,18-16 0,-17 18 16,-2-19-16</inkml:trace>
  <inkml:trace contextRef="#ctx0" brushRef="#br0" timeOffset="69289.97">22613 8427 0,'18'18'0,"-18"-1"0,18 19 16,-18-1-16,0-18 15,0 19-15,0 17 0,0-1 0,0 2 16,0 70-16,0-19 16,-18-52-16,18 35 15,0-53-15,0 1 0,-18 35 16,18-54-16,0 18 0,-18 1 16,18-19-16,0 0 15</inkml:trace>
  <inkml:trace contextRef="#ctx0" brushRef="#br0" timeOffset="70718.85">22719 8427 0,'18'0'16,"-1"-17"0,0 17-1,19 0-15,-18 0 0,18 0 16,-2 0-16,2-19 0,70 2 15,52 0-15,-70-1 16,0 18-16,107-36 0,34 19 16,1-19-16,-108 36 15,2-17-15,123-1 16,-123 1-16,105 0 0,1-2 16,-125 2-1,0 17-15,73-18 0,-108 1 16,-18 17-16,72-19 0,-89 2 0,36 17 15,-35-17 1,-2 17-16,-16 0 16,0 0-16,-18-18 0,35 18 15,-18 0 1,-17 18 0,0-1-16,0 19 15,0 16-15,0-33 16,-17 15-16,17 1 0,0 1 0,0-19 15,0 19-15,0-1 0,17 53 16,-17 0-16,19-52 0,-2 17 16,-17-18-16,18 53 15,18-35-15,-19 18 16,0-19-16,18 37 31,-35-37-31,0-34 0,0 18 16,0-19-16,0 0 15,-17 2-15,17-2 0,-18 18 16,1-16 0,0-2-16,-2 0 15,2-17-15,-1 18 16,1-18-16,-19 17 16,1-17-16,17 0 15,-34 19-15,16-19 0,-35 0 16,2 17-16,15-17 15,-87 0-15,53 17 16,-53-17-16,35 0 0,17 18 16,-104-18-16,-19 18 15,18-18-15,124 18 0,-1-18 16,-88 0-16,-53 0 16,71 17-1,89-34-15,-1 17 0,-35 0 16,-19 0-1,55 0-15,16 0 16,1 0-16,17 0 16,0 0-16,1 0 0,0 0 15,-1 0-15,-18 0 16,19 0-16,-19 17 16,1-17-1,18 0-15,-2 0 0,2 0 16,0 17-16,-1-17 15,-18 0-15,19 19 0,0-19 16,-19 0-16,36 17 16,-35-17-16,18 0 15,-1 0 1,0 0-16,0 0 0,1 0 16,0 0-1,-2 0 1,2 0-1,-1 0-15,1 0 16,-2 18-16,-15-18 16,16 0-16,-18 0 15,19 0-15,0 0 32,-1 0-17,18-18 1,0 1-1,18-2 1,-18-15 0,0 16-16,17 0 15</inkml:trace>
  <inkml:trace contextRef="#ctx0" brushRef="#br0" timeOffset="71556.62">23037 8586 0,'-18'17'16,"0"37"15,18-20-31,-18-16 16,1 35-1,17-36-15,0 2 32,0-2-32,35-34 31,-17-2-16,0 19 1,-1 19 0,0-19-1,-17 17 1,19 1-16,-19-1 16,17 2-1,1-2 1,-1-34-1</inkml:trace>
  <inkml:trace contextRef="#ctx0" brushRef="#br0" timeOffset="71725.64">23230 8762 0,'0'0'32,"19"17"-1,-38 2-16,19 16 1,0-18-16,0 2 16,0-2-16</inkml:trace>
  <inkml:trace contextRef="#ctx0" brushRef="#br0" timeOffset="71877.12">23301 8639 0</inkml:trace>
  <inkml:trace contextRef="#ctx0" brushRef="#br0" timeOffset="72309.47">23566 8639 0,'-36'0'0,"19"0"16,70 0-16,-124 18 0,54-1 15,-2-17-15,-15 35 16,16-17-16,0 0 0,18-1 16,0 0-16,0 2 15,18-2 1,17-17 0,1 0-1,-19-17-15,18 17 16,-16 0-1,-2 0 1,0 17-16,1 1 16,-18-1-16,0 2 15,0-2-15,0 0 16,-18 1-16,1-1 16,0 2-16,-2-2 0,2 0 15,-1 1-15,1-18 16,-2 0-16</inkml:trace>
  <inkml:trace contextRef="#ctx0" brushRef="#br0" timeOffset="72685.19">23759 8498 0,'19'17'31,"-19"1"-31,-19 18 0,19-2 16,0 2-1,0-18-15,-17-1 0,17 0 16,0 19-16,0-18 15,0-1-15,0 0 16,0 2 15,17-19-31,2 0 16,-2 17 0,1-17-16,-1 18 15,0-1 1,2-17-1,-2 0-15</inkml:trace>
  <inkml:trace contextRef="#ctx0" brushRef="#br0" timeOffset="72946.17">24289 8339 0,'17'35'31,"-17"-18"-31,0 19 0,19-18 16,-19 16-16,0-15 0,0 33 15,0-16-15,0 17 16,0-18-16,0-18 0,0 1 15,0 0-15,-19 34 16</inkml:trace>
  <inkml:trace contextRef="#ctx0" brushRef="#br0" timeOffset="73148.74">24183 8709 0,'18'-18'16,"-1"1"0,36 17-1,-18-17-15,-16 17 0,-2 0 16,54-18 0,-37 18-16,-16 0 0,0 0 0,0 0 15,-1 0-15</inkml:trace>
  <inkml:trace contextRef="#ctx0" brushRef="#br0" timeOffset="73471.87">24713 8674 0,'17'-35'16,"-17"17"0,0 0-16,-17 18 15,-2 18 1,2 18 15,17-19-31,0 18 16,0-17-16,17 0 15,2-1 1,-2-17-16,18 0 16,-17 0-16,0 0 15</inkml:trace>
  <inkml:trace contextRef="#ctx0" brushRef="#br0" timeOffset="74006.71">25013 8550 0,'-19'19'15,"19"-2"1,0 0-16,-17 19 15,17-18 1,0-1-16,-18-17 16,18 17-1,18 1 1,-1-36 0,19 1 15,-19 17-16,1 0 1,-1 17 0,2-17-1,-19 18 1,17-18 0,0-18-1,19 18 1,-36-17-1,18 17-15,-1 0 16,0 0 0,2 0-1,-2 0-15,1 0 16,-1 0-16,19 0 16</inkml:trace>
  <inkml:trace contextRef="#ctx0" brushRef="#br0" timeOffset="74397.78">26194 8691 0,'159'0'16,"-142"-17"-16,19 17 16,-19 0-16,1 0 0,18 0 0,-2 0 15,-16 0-15,-1 0 0,2 0 16,15 0-16,-16 0 16,0-17-16,0 17 15</inkml:trace>
  <inkml:trace contextRef="#ctx0" brushRef="#br0" timeOffset="74656.75">26546 8479 0,'19'19'0,"15"-19"0,-34 17 15,18-17-15,18 35 16,-19-16-16,0 15 0,19 2 16,-36-18-16,18-1 15,-18 0-15,0 19 0,0-18 16,0 16-16,0-15 0,-35 33 16,-1-16-16,19-19 15,-1-17-15,18 18 16</inkml:trace>
  <inkml:trace contextRef="#ctx0" brushRef="#br0" timeOffset="75269.57">27375 8357 0,'-52'0'0,"16"0"15,36 17-15,-17-17 16,0 17 0,17 19-16,17-1 15,18 1-15,-17-19 16,17 1-16,1 18 16,33 16-16,-50-16 15,16-2-15,-35 2 31,0-1-31,-35-18 16,35 2-16,-19-19 16,-15 17-16,-1-17 15,-1 18-15,1-18 16,17 0-16,0-18 0,1 18 16,0 0-1</inkml:trace>
  <inkml:trace contextRef="#ctx0" brushRef="#br0" timeOffset="75721.56">27622 8533 0,'0'36'47,"0"-19"-47,0 36 15,0-18 17,19-35-32,-19 17 0,17-17 15,0 18-15,1-18 16,18-18-1,-19 18-15,-17-17 0,17 17 16,2-17-16,-19-1 16,17 18-16,1-18 15,-18 0-15,17 36 47,-17 0-47,0 0 16,0-1-1,17 0-15,-17 1 16,19-18-16,-2 18 16,1-18-1</inkml:trace>
  <inkml:trace contextRef="#ctx0" brushRef="#br0" timeOffset="76319.09">28063 8550 0,'-17'36'16,"17"-19"-1,0 1-15,0 0 16,0 0-1,0-1-15,17 0 32,19-34-17,-36 0 1,18-1-16,-1 18 16,0-18-16,2 18 15,-2 0-15,1 0 16,-18 18-1,17-18 1,-17 18-16,17-1 16,-17 0-1,19 1 1,-2-36 31,1 1-32,-1 17-15,-17-17 16,19 17 0,-2 0-16,0 0 0,1 0 15,0 0 1,0 0-16,-1 0 16,-17 17-16,17-17 15,-17 17 1,18-17-1</inkml:trace>
  <inkml:trace contextRef="#ctx0" brushRef="#br0" timeOffset="76926.52">28610 8586 0,'0'35'15,"-17"-17"1,17 0-1,17-36 32,2 18-47,-2-18 16,18 0 15,-18 36-15,2 0-1,-19 0 1,0-1 0,17 0-1,-17 1 1,17-36 31,1 18-32,-18-17-15,18 17 16,-18-17 0,18 17-1,-1 0-15,0 0 16,2 0 0,-2 0-1,1 17-15,-1-17 16,0 0-16,2 0 0,16 0 15</inkml:trace>
  <inkml:trace contextRef="#ctx0" brushRef="#br0" timeOffset="77456.64">29175 8674 0,'35'-53'16,"-35"35"-1,0 54 48,17-18-47,-17-1-1,19-17-15,-19 17 16,17-17-1,1 18 17,-1-36-17,0 18 1,-17-17 0,19 17-16,-2 0 15,1-17-15,-18-1 0,17 0 16,2 18-16,15-18 15,-16 1-15,0 0 0,0 17 16,16-36-16,-16 18 16,0 1-16</inkml:trace>
  <inkml:trace contextRef="#ctx0" brushRef="#br0" timeOffset="78940.57">22754 9486 0,'-123'17'15,"87"-17"-15,19 18 16,-19-18-16,1 17 0,1 0 0,-73 19 16,-52 35-16,89-54 15,-106 54-15,70-36 16,-123 35-16,88-34 16,-283 70-16,-52 18 15,317-90-15,0 20 16,-141 16-16,142-52 0,-72 35 15,125-36-15,-2 18 0,2-16 16,-2-2-16,19 0 0,-17 1 16,-71 18-16,52-19 15,53 0-15,18 2 0,18-19 16,1 0-16,-20 17 0,18 1 16,19-18-16,0 0 0,-1 17 15,0-17 1</inkml:trace>
  <inkml:trace contextRef="#ctx0" brushRef="#br0" timeOffset="79328.58">18450 10279 0,'-88'54'15,"71"-37"1,-1 0-16,-18 37 16,2-2-16,-2-34 0,18 17 15,1-18-15,17 2 0,-17 16 16,-2-18-16,19 19 16,0-19-16,0 1 0,0-1 15,19-17-15,15 19 16,-16-2-16,35-17 0,-36 17 15,54-17-15,0 0 16,-1 0-16,-35 0 16</inkml:trace>
  <inkml:trace contextRef="#ctx0" brushRef="#br0" timeOffset="80049.22">15893 11019 0,'17'90'31,"-17"-56"-31,0 2 0,19-1 16,-19 70-16,0-34 0,0-18 15,0 71-15,0-54 16,0 54-16,0-54 0,0-16 16,0 34-16,0-54 0,0 2 15,0-18-15,0-1 0,0 36 16</inkml:trace>
  <inkml:trace contextRef="#ctx0" brushRef="#br0" timeOffset="81237.66">15963 11090 0,'54'0'15,"-20"0"-15,2 0 16,-18 0-16,16 0 0,20 0 16,-20 0-16,37-17 0,88-1 15,53 1-15,0-2 0,-88 2 16,-2 0-16,20-1 16,-1 18-16,282-36 15,-282 19-15,124 17 16,-142-17-16,124 17 0,-141-18 15,17 18-15,-16 0 0,103 0 16,-68-18-16,-1 18 16,-88 0-16,-18 0 0,36 0 15,-54 0-15,19 0 0,-19 0 16,1 0-16,18 0 0,-19 0 16,18 0-1,-17 0-15,0 0 16,-1 0-1,-17 18-15,0 0 16,0-1-16,0 19 16,-17-19-16,17 18 0,0 1 0,-18-1 15,18 53-15,-18-52 16,18-2-16,0 20 0,0-20 0,0 2 16,0-1-16,0 18 0,0-18 15,0 18-15,18 35 16,-18-34-16,0-20 0,18 20 15,-18-18-15,0 16 0,0-35 16,0 2-16,0 15 0,0-16 16,0 0-16,-18 17 15,0-18-15,0-17 0,1 19 16,-18-2-16,-18-17 16,-18 18-16,37-18 15,-37 17-15,-53-17 16,53 17-16,-105 2 0,88-19 15,-124 17-15,88 1 16,19-18-16,-107 17 0,89 2 16,-1-2-16,0 0 0,-105 1 15,106 0-15,17 0 0,-17-18 16,16 17-16,19-17 0,-105 17 16,105 1-16,17-18 15,1 0-15,-1 0 0,18 18 0,-70-18 16,52 0-16,18 0 0,36 0 15,-19 18-15,1-18 16,-1 0-16,1 0 0,18 0 0,-19 0 16,19 0-16,-18 0 15,16 0 1,2 0-16,0-18 16,-1 18-16,0 0 15,0-18-15,1 18 16,0-18-1,-2 1 1,2 17 0,17-17-1,-18 17 1,1-18 0,17 0-1,-17 18-15,17-18 16,0 1-1,0-19-15,0 19 16,0-1-16,0 1 0,0-2 16,0 2-16,17 0 15,-17-1-15,0 1 0,17-2 16</inkml:trace>
  <inkml:trace contextRef="#ctx0" brushRef="#br0" timeOffset="81568.58">16439 11549 0,'-34'106'16,"34"-71"0,0-18-16,-19 2 15,19-2-15,0 1 0,0-1 16,-17 2-16,17-2 15</inkml:trace>
  <inkml:trace contextRef="#ctx0" brushRef="#br0" timeOffset="82048.75">16705 11567 0,'-71'18'16,"52"-1"-16,-15 36 15,34-35 1,-18 16 0,18 2-16,0-18 15,18-1 1,-1 2-16,0-19 16,19 0-1,-1 0 1,-16 0-16</inkml:trace>
  <inkml:trace contextRef="#ctx0" brushRef="#br0" timeOffset="82396.83">16986 11778 0,'19'-17'0,"-2"-18"15,-17 16 17,0 2-32,-36 17 15,19 17 16,-1 19-31,1-36 16,17 18-16,0 18 16,17-36-16,-17 17 15,35-17-15,1 17 16,-19-34 0,1 17-1</inkml:trace>
  <inkml:trace contextRef="#ctx0" brushRef="#br0" timeOffset="83179.98">17691 11478 0,'-52'19'0,"35"-19"16,-2 17-16,2 0 0,0 1 16,17 0-16,-18 0 0,18-1 0,0 0 15,-18 1-15,18 0 0,0 0 16,0-1-16,0 0 0,18 2 16,0-2-16,-18 1 0,17-18 15,0 17-15,2-17 0,-2 0 16,1 0-16,-1 0 0,0 0 0,2 0 0,16 0 15,-18 0-15</inkml:trace>
  <inkml:trace contextRef="#ctx0" brushRef="#br0" timeOffset="83499.97">17921 11567 0,'36'35'16,"-36"-18"-16,0 1 16,17 0-16,-17 0 0,0-1 15,0 0-15,0 2 16,-17-19-16,17 17 0,0 1 16,0-1-1,0-52 16,17 18-31,-17-2 0,0 2 16,17 17-16,-17-17 0,19-1 16,-2 0-16,1 0 15,-1 1-15,0 17 16,2 0-16,-2-17 0</inkml:trace>
  <inkml:trace contextRef="#ctx0" brushRef="#br0" timeOffset="83936.8">18274 11690 0,'0'-17'31,"17"-1"-15,-17 0 0,-17 0-16,0 18 31,-1 18-16,18 0 1,-18 0 0,18-1-16,0 19 15,0-19-15,18-17 16,-18 18-16,18-18 16,-18 17-16,34-17 0,-16 19 15,0-19-15,0 0 16,-1 0-16,0 0 0,19-19 15,-18 19-15,-1 0 0</inkml:trace>
  <inkml:trace contextRef="#ctx0" brushRef="#br0" timeOffset="84667.12">18662 11602 0,'-17'-17'0,"-1"17"0,0 17 15,0-17 1,18 17-16,-17-17 0,17 18 16,-17 0-16,17 0 0,-19-1 15,19 0 1,19 2-1,-2-2-15,0-17 32,19-17-17,-18-2-15,-1 2 16,0 0 0,-17-1-16,19 0 15,-19 0 32,17 36-16,1 0-15,-1-18-16,-17 18 16,17-18-1,2 0 1,-2 0 15,1 0-15,-1 0-1,2 0 1,-2 0 15,-17 17-15,17 0 31,1-34-32,0 17 1,0 0 0,-1-17-1</inkml:trace>
  <inkml:trace contextRef="#ctx0" brushRef="#br0" timeOffset="85377.84">16793 10526 0,'34'71'16,"-16"-37"-16,-18-15 0,0-2 15,18 37 1,-18-37-16,18 0 0,-18 18 16,17 1-16,19-1 31,-1-35-15,1-35-1,-19-1 1,-17 19-16,17-18 15,1-1-15,-18 19 0,17-18 0,-17 16 16,19 2-16,-19-35 16,17 33-16,-17 2 0,0 0 15,0-1 1,0 0 0</inkml:trace>
  <inkml:trace contextRef="#ctx0" brushRef="#br0" timeOffset="85880.74">16845 10543 0,'160'-34'0,"-126"34"16,-16-18-16,-1 18 0,2 0 0,-2 0 16,0 0-16</inkml:trace>
  <inkml:trace contextRef="#ctx0" brushRef="#br0" timeOffset="86816.23">16722 10562 0,'-17'-19'15,"34"38"-15,-53-38 0,19 2 16,17 0-16,0-1 16,0 0-16,0-17 15,0 18 1,17 17-16,-17-19 0,19 19 16,-19-17-16,17 17 15,0 0-15,1 0 16,-18 17-1,18-17-15,-18 19 32,18-55 15,-36 18-47,36-35 31,-18 1-16,17 33-15,-17 2 16,17 17-16,1-17 31,0 17-31,0 0 16,-1 0 0,0 0 15,-17-18-16,19 18-15,-2 0 16,1 0-16,-1 0 16,36 0-1,-35 18 1,-1-1-16,2-17 16,-19 17-1,0 2 1,17-19 15,0 17-15,1-17-16,0 18 0,0-18 15,-1 17 1,-17 2-16,17-19 16,-17 17-16,0 0 15,0 1-15,-17-18 0,17 17 16,0 2-16,-35 15 0,35-16 15,-18 0-15</inkml:trace>
  <inkml:trace contextRef="#ctx0" brushRef="#br0" timeOffset="88911.72">22949 9503 0,'0'35'16,"0"-18"-1,-18 19-15,18-1 0,0 18 16,0 1-16,-18 68 16,0 37-16,1 0 15,0-70-15,-19 70 0,1-1 16,16-87-1,-15 52-15,16 1 16,-18-36-16,36-18 0,-17-35 16,17-16-16,0-2 15,-17 0-15,17 1 0,0 0 16</inkml:trace>
  <inkml:trace contextRef="#ctx0" brushRef="#br0" timeOffset="89372.73">22525 10843 0,'17'54'16,"2"-37"-16,-19 0 16,0 37-16,0-1 15,0 18 1,17-19-16,-17-16 16,17-2-16,-17-16 15,18 0-15,0 0 16,0-36-16,35 18 15,-36-18-15,18 0 16,1 1-16,35-36 0,-37 35 16,2 1-16,-1 0 0,18-19 15,-35 18-15,52-18 16,-35 19-16</inkml:trace>
  <inkml:trace contextRef="#ctx0" brushRef="#br0" timeOffset="91002.2">21273 11690 0,'105'0'0,"-86"0"16,33 0-16,1-17 0,88 17 15,-35-18-15,-18 0 0,18 18 16,0-18-16,123-16 0,335-54 16,-405 69-1,-18 2-15,18-18 0,-35 16 16,34 2-16,106-35 16,-140 33-16,123-15 0,-140 16 15,-2 18-15,-17-18 0,36 0 16,-19 1-1,-69 17-15,-18 0 0,-1-17 16,0 17-16,1 0 16,0 0-16,-18 17 15,0 18 1,-18-17 0,18 17-16,-18 1 0,18-19 0,-17 18 15,17 18-15,-35 89 16,35-37-16,0-52 15,0 1-15,0-2 0,-18 1 16,36 35-16,-18-35 0,0 18 16,0-19-16,0 1 0,0 1 0,0 51 15,18-34 1,-18-18-16,0-18 0,0 1 0,0 16 16,0-16-16,0-19 0,0 18 15,0-17-15,-18 17 16,18 1-16,-18-19 15,18 1-15,-18-18 0,18 17 0,-53 19 16,-16-19 0,15-17-1,-34 0-15,18 18 0,16-18 16,1 0-16,1 0 16,-89 0-16,-177 17 15,212-17-15,0 0 16,-335 19-1,318-19-15,-125 17 16,2-17-16,-18 17 16,-2-17-16,144 0 15,-2 0-15,18 0 0,-18 18 16,-105-18-16,17 0 0,143 0 16,-21 0-16,20 0 15,0 18-15,0-18 0,-54-18 16,36 18-16,34 0 15,20 0-15,16 0 0,-18 0 16,2-18 0,15 1-16,19 0 15,-17 17 1,17-19-16,0-16 0,0 18 16,0-19-16,0-52 15,0 53 1,0-18-16,-18-52 0,36 34 15,-18-17-15,0 52 16,0-35-16,0 37 0,0-73 16,17 90-1,-17-1-15,0-18 0,0 2 16,0-20-16,19 20 16,-19 16-16,0-18 15,17-17-15,-17 18 16,0 18-16,17 0 15,-17-2-15,0 2 16,18-1-16,-18 1 16,53-2-1,-36 19-15,1 0 16,35 0-16,18-17 16,34 17-16,-34 0 0,-18 0 15,18 0-15,158-17 16,-105 17-16,-55-18 15,2 18-15,17 0 16,-17 0-16,-35 0 16,-2 0-16,2 0 0,-1 0 15,-18 0 1,2 0-16,-2 0 16</inkml:trace>
  <inkml:trace contextRef="#ctx0" brushRef="#br0" timeOffset="91700.7">21043 11937 0,'0'53'0,"0"-36"15,0 2-15,0 16 0,-17-18 0,17 19 16,0-1-16,-17 1 0,17-2 15,-19 2-15,19 16 0,-17 2 16,17-1-16,-18-36 16,18 1-16,0-1 0,0 0 15,0 2 1,18-55 15,-1 19-31,2-1 16,-2 18-16,18-17 15,-18-2-15,2 19 0,15 0 16,-16 0-16,18 19 16,-19-19-16,-17 17 0,17-17 15,-17 18-15,-17-1 16,0 0-16,-19 2 16,18-19-16,1 0 15,-19 17-15,19-17 0,-18 0 16,18 0-16,-2 0 15,2-17-15</inkml:trace>
  <inkml:trace contextRef="#ctx0" brushRef="#br0" timeOffset="92069.25">21414 12414 0,'52'-71'0,"-52"53"0,0 0 31,0 1-16,0 0-15,-17 51 32,-1-34-32,18 18 15,0 0-15,-17-18 0,17 18 0,0 35 32,17-36-32,18 1 15,-16-18 1,-2 0-16,0 0 0,1 0 15,52 0-15,-51 0 16,33-18-16</inkml:trace>
  <inkml:trace contextRef="#ctx0" brushRef="#br0" timeOffset="92526.64">22049 12255 0,'-35'0'15,"16"0"-15,2 0 16,0 18-16,-1-18 0,0 17 15,0 0-15,18 1 16,-17-18-16,17 18 0,-17 0 16,17-1-16,0 0 15,17 2-15,0-19 32,19 0-32,-36-19 0,18 19 15,-1-17-15,0 17 16,-17-17-16,19 17 0,-19-18 15,17 18-15,1 0 16,-1 18 15,-17 16-15,0-15 0,19-2-1</inkml:trace>
  <inkml:trace contextRef="#ctx0" brushRef="#br0" timeOffset="93155.45">22383 12290 0,'0'0'16,"-17"0"-16,0 0 15,-1 17-15,18 1 16,-17-18-16,17 18 0,-19 0 16,19-1-16,0 0 15,0 2-15,0-2 16,19 1-16,-2-1 16,1-17-1,-1 0-15,0 0 16,2 0-16,-2 0 0,-17-17 15,35-1 1,1 18-16,-36-17 0,17 17 16,1-19-16,-1 2 0,2 0 15,-19-1-15,17 0 16,-17 0-16,17 1 16,-17 0-16,0-19 0,0 18 15,18 1-15,-18 0 16,0-2-16,0 2 15,-18 34 17,1 2-17,17-2-15,-17 0 16,17 1-16,0 0 16,-19 0-16,19-1 15,0 0 1,0 1-16,0 0 15,19 0 1,-2-18 0,0 0-16,1 0 15,35 0 1,-36 0 0,2 0-16,16 0 0,-18 0 15,0 0 1</inkml:trace>
  <inkml:trace contextRef="#ctx0" brushRef="#br0" timeOffset="94141.53">23001 12185 0,'36'0'31,"17"0"-15,-36 0 0,1 0-16</inkml:trace>
  <inkml:trace contextRef="#ctx0" brushRef="#br0" timeOffset="94399.14">23142 12026 0,'17'-19'0,"-34"38"0,53-19 16,-1 0-1,-35 17-15,17 1 16,2-18-16,-19 34 0,17-15 16,-17 33-1,0-33-15,0-2 16,-17 0-16,17 1 16,0 0-16</inkml:trace>
  <inkml:trace contextRef="#ctx0" brushRef="#br0" timeOffset="94828.75">23618 11761 0,'-52'17'0,"52"2"0,-17-19 15,86-36-15,-157 89 0,88-36 16,0 18-1,0-16-15,0-2 16,19 0-16,-2 1 0,-17 0 16,17 0-16,1-1 15,-18 0-15,17 2 0,-17-2 0,19 1 16,-19-1 0,-19 0-16,19 2 15,-17-2-15,-1-17 16,1 18-16,0-18 15,-2 0-15,2 0 16,-18 0-16</inkml:trace>
  <inkml:trace contextRef="#ctx0" brushRef="#br0" timeOffset="95189.15">23725 11707 0,'17'36'15,"-17"-1"-15,-17-16 16,17-2-16,0 18 0,0-18 16,0 2-16,0 15 0,-18-16 15,18 0-15,0 0 0,0-1 0,0 0 16,-18-17-16,18 19 0,0-2 15,0 1 1,36-36 15,-19 18-31,0-17 16,2 17-16,-2 0 16,1 17-1,-1-17-15,-17 18 16,17-18-16,2 0 15,-2 17-15,1-17 16</inkml:trace>
  <inkml:trace contextRef="#ctx0" brushRef="#br0" timeOffset="95583.01">24077 11885 0,'0'-19'0,"-18"19"16,-16 19 0,16-2-1,18 0-15,-18 1 16,18 0 0,-18-18-16,18 18 0,18-1 15,0-17 16,17-17-15,-18-1 0,1 18-16,0 0 15,0 0 1,-1 0-16,0 18 16,-17-1 15,0 0-31,0 2 15,0-2 1,0 1 0</inkml:trace>
  <inkml:trace contextRef="#ctx0" brushRef="#br0" timeOffset="95947.26">24271 11902 0,'18'17'47,"-18"1"-47,0 0 16,-18 0-16,18-1 15,0 0 1,0 2-16,0-2 0,0 1 31,18-36 1,-1 18-32,-17-17 15,0-2-15,19 2 16,-2 0-16,-17-1 0,0 0 15,17 18-15,-17-18 16</inkml:trace>
  <inkml:trace contextRef="#ctx0" brushRef="#br0" timeOffset="96177.59">24554 11602 0,'17'17'16,"-17"1"-16,-17 18 15,17-19-15,-19 36 16,-15 1-16,87-249 0,-106 424 0,35-211 16,-18 35-1,19-36-15,17 1 0,-17 0 0,-1 0 16,18-1-16</inkml:trace>
  <inkml:trace contextRef="#ctx0" brushRef="#br0" timeOffset="96431.92">24747 11743 0,'-122'71'47,"86"-54"-47,18 1 16,1-1-16,-2 2 0,-15 15 15,16-34-15,18 18 0,264-212 16,-528 406-16,282-194 31,-1-18-31,0 0 0,2 0 16,-2 0-16,1 17 15,-1 0-15</inkml:trace>
  <inkml:trace contextRef="#ctx0" brushRef="#br0" timeOffset="97974.61">25330 9467 0,'0'19'15,"0"-2"-15,0 1 16,0-1-16,17 19 0,-17 16 16,35 107-1,-16-106-15,-19 0 0,17-1 16,-17 19-16,17 53 0,1-53 15,-18-18-15,0 18 0,0-2 0,0 20 16,0-1-16,-18-17 0,18 17 16,-17 88-16,17-88 0,-17-17 15,-2 105-15,-16-18 16,-1 20-16,19-108 16,0 18-16,-18 142 15,-1-72-15,19-87 0,-1 0 16,0 51-16,0-68 15,18-1-15,-17 70 16,0-17-16,-2-54 0,19-16 16,0 18-16,-17 15 0,17-33 15,-18-19-15,18 19 0,-17 34 16,17-52-16,-17 34 16,17-16-16,0-18 0,0-1 15,-19 2-15,19-2 0,0 0 16,0 1-16,-17-1 15,17 2-15,17-2 16</inkml:trace>
  <inkml:trace contextRef="#ctx0" brushRef="#br0" timeOffset="98375.45">24818 13261 0,'0'34'0,"0"-16"16,0-1-16,0 36 16,0-35-16,0 0 15,0 0-15,0-1 16,17 0-16,-17 2 0,18-19 15,0 0-15,0 0 0,16-19 16,-15 19-16,-2 0 16,18-17-16,1 0 0,-1 17 0,89-36 15,-90 18 1,2 1-16,-18 17 0,16-17 0,-15 17 16</inkml:trace>
  <inkml:trace contextRef="#ctx0" brushRef="#br0" timeOffset="99973.76">23230 13807 0,'53'0'16,"-17"0"-16,70 0 0,-36 0 16,89 0-16,-71-18 15,17 18-15,125 0 0,-1-18 16,-105 1-16,105 17 15,-105-17-15,228 17 16,-245-18-16,86 18 16,-17-18-16,-122 0 15,16 18-15,-35 0 0,1-17 16,-1 17-16,1 0 0,-2-17 16,20-2-16,-20 19 15,-15-17-15,-2 17 16,1-18-1,-1 36 1,-17-1 0,0 2-16,0-2 0,0 0 15,0 19-15,-17-1 0,17 36 16,0-37-16,0 20 0,17-1 16,-17 52-16,19 71 15,-2-69 1,18 52-16,18-1 15,-18-16 1,-17-54 0,17 0-16,-35-54 15,17 20 1,-17-37-16,19 36 16,-19-17-16,0-18 15,-19-1-15,2 0 16,-18 19-1,17-18-15,-70 16 0,53-34 16,-1 19-16,-175 16 16,70-18-1,53-17-15,-212 0 16,193 0-16,2 0 16,-388-17-1,369 17-15,-282-35 16,248 35-16,34-19 0,-140 2 15,140 17-15,-264-35 16,53 17 0,140 0-1,125 18-15,-89 0 0,-34-17 16,139 17-16,-70-17 16,54 17-1,18 0-15,-2-18 16,37 0-1,-2 0-15,-15-35 16,16-35 0,-18-35-1,19 34 1,-18-70-16,-1 1 16,2-1-1,-2 71 1,1-35-16,18 34 15,-2 1 1,2 53 0,17 18-16,17-36 31,2 35-31,15 0 16,1 18-1,-16 0-15,122 18 16,-18-18-1,-53 0-15,72 18 0,-18-1 16,-55-17-16,143 17 16,-141-17-16,-1 0 0,54 0 15,-18 19 1,-53-19-16,106-19 16,-54 19-1,-17-17 1,-71 17-16,19 0 0,18-17 15,-37 17-15,36-18 16,-18 18-16,0-18 16,-17 18-16,34-18 15,-33 18 1,-2 0-16,1-17 16,-1 17-1,-17 17 16,19-17-15,-2 18 0</inkml:trace>
  <inkml:trace contextRef="#ctx0" brushRef="#br0" timeOffset="101876.49">22119 14283 0,'-17'35'0,"0"-35"0,17 19 16,0 15-16,-19-16 0,19-1 16,0 2-16,-17 33 0,17-34 15,0 17-15,0-18 0,-18 2 16,18 16-16,0-18 0,-17 19 16,17-19-16,-19 1 15,19-1-15,0 2 16,19-55 15,-19 18-31,35 1 16,-35-2-16,17 2 0,2 17 15,-19-17-15,17 17 0,18-18 16,-18 18-16,2 0 16,-2 0-16,0 18 15,-17-1-15,-17 0 16,17 2-16,-17-2 15,-19 1-15,18-1 16,1 2-16,0-19 0,-2 17 16,-16-17-16,18 0 0,-2 17 15,2-17-15,0-17 16</inkml:trace>
  <inkml:trace contextRef="#ctx0" brushRef="#br0" timeOffset="102248.17">22295 14671 0,'36'-36'0,"-18"2"15,-18 16 1,0 1 0,-18 34 15,1 1-15,17 35-1,-19-36 1,38 18-1,-2-35 1,1 19-16,-1-19 0,19 0 16,-19 0-16,37 0 15,-2-19-15,-16 19 16,-19 0-16</inkml:trace>
  <inkml:trace contextRef="#ctx0" brushRef="#br0" timeOffset="102620.59">22807 14547 0,'-36'0'15,"19"0"-15,0 19 16,-1-19-16,-18 17 16,19 1-16,0-18 15,-1 17-15,0 0 0,247-86 0,-458 157 16,229-71-16,194-141 0,-388 266 15,212-142 1,-18 17-16,52-34 31,-16 17-31,-18-18 16,-1 1-16,0-2 16,2 19-16,-2 0 15,-17-17-15,18 34 31,-18 2-31,0-2 16,0 1 0,0-1-1</inkml:trace>
  <inkml:trace contextRef="#ctx0" brushRef="#br0" timeOffset="103059.81">23019 14583 0,'-36'0'16,"36"18"-1,-17-1-15,0 36 16,17-18 15,17-35-31,-17 19 16,17-19-16,1-19 15,0 19-15,0-17 16,-1-1-16,0 1 16,2-19-16,-2 19 15,-17-1-15,18 1 0,-1-2 16,0 2-16,-17 0 31,19 34-15,-38 19-1,19-1-15,0-18 16,0 0-16,0 2 16,0-2-16,0 1 15,0-1-15,19-17 16,-2 0-16,18 19 15,-16-19-15,-2 0 16</inkml:trace>
  <inkml:trace contextRef="#ctx0" brushRef="#br0" timeOffset="103552.54">23513 14283 0,'0'-17'15,"-35"105"1,35-71-16,-36 37 16,19 16-1,-19 1-15,18-54 0,-16 54 16,16-54-16,0 37 16,0-20-16,1 1 15,17-16 1,17-2-16,1-17 15</inkml:trace>
  <inkml:trace contextRef="#ctx0" brushRef="#br0" timeOffset="103908.83">23707 14530 0,'-36'17'32,"72"-34"-32,-72 53 15,36-19-15,-17 18 16,17 1 0,17-19-16,1 1 31,18-18-31,-19 0 15,0-18-15,2 1 16,-19-2 0,17 19-16,-17-17 0,0 0 15,-17-1-15,17 1 16,-19-2-16,2 19 16,17-17-16,-17 17 15,-1 0-15</inkml:trace>
  <inkml:trace contextRef="#ctx0" brushRef="#br0" timeOffset="104272.78">23937 14477 0,'-19'36'16,"19"-19"-1,0 19 1,0-19-16,0 1 16,19-1-1,-2-17 1,0 0-16,1 0 15,0-17 1,0-1 0,-1 1-1,0 17-15,-17-19 32</inkml:trace>
  <inkml:trace contextRef="#ctx0" brushRef="#br0" timeOffset="104535">24306 14354 0,'0'0'16,"-17"35"15,17-18-31,-18 19 0,1-19 16,17 1-16,-19 0 0,19 17 15,-17 1 1,17-19-16,0 1 16,-17-1-16,34 0 15</inkml:trace>
  <inkml:trace contextRef="#ctx0" brushRef="#br0" timeOffset="104728.87">24147 14477 0,'-17'-18'15,"53"18"1,-1 0-16,-18 0 16,19-17-16,-1 17 15,-18-17-15</inkml:trace>
  <inkml:trace contextRef="#ctx0" brushRef="#br0" timeOffset="106994.64">24483 14618 0,'35'-17'15,"1"17"1,-19 0-16,18 0 16,-16 0-1,-2 0-15,0 0 16,1 0-16,-18-18 0</inkml:trace>
  <inkml:trace contextRef="#ctx0" brushRef="#br0" timeOffset="107200.94">24765 14425 0,'18'17'16,"34"18"0,-34 18-1,0-53 1,-18 36-16,0-1 0,0-18 15,0 0-15,-18 2 16,18-2-16,0 1 0</inkml:trace>
  <inkml:trace contextRef="#ctx0" brushRef="#br0" timeOffset="108213.61">23937 14954 0,'0'-19'0,"-36"38"32,18-19-32,18 17 15,0 1 1,0 16-1,18-15-15,-1 16 16,2-18 0,-19 19-16,17-19 15,-34 1 1,-2 18 0,2-36-16,17 17 15,-18-17-15,-18 0 0,2 17 16,16-17-1,1 0-15,-2 0 16</inkml:trace>
  <inkml:trace contextRef="#ctx0" brushRef="#br0" timeOffset="108659.33">24025 15042 0,'-18'17'47,"18"18"-32,0-16-15,18-2 16,-18 0-16,0 1 15,17-18-15,0 0 16,1 0 0,0 0-16,0 0 15,-1 0-15,-17-18 16,17 18-16,2-17 0,-19 0 16,17 17-16,-17-19 31,18 19-31,-18 36 31,0-19-15,-18 1-1,18 0-15,18 0 16,-18-1 0,17-17-1,0 0 1</inkml:trace>
  <inkml:trace contextRef="#ctx0" brushRef="#br0" timeOffset="109081.6">24359 15059 0,'18'35'0,"-18"-16"15,0-2-15,0 0 16,0 1-16,0 0 31,18-18-15,17-18-1,-18 18 1,1-18-16,18 36 31,-19 0-15,0-18-16,-17 18 0,19-1 31,-2-17-31,-17 17 0,18-17 16</inkml:trace>
  <inkml:trace contextRef="#ctx0" brushRef="#br0" timeOffset="109587.52">24747 14901 0,'0'53'16,"0"-18"15,-17-18-31,17 0 0,0 2 0,0-2 16,0 1 0,-17-1-16,17 2 15,17-19 16,18-19-15,-17 19-16,0 0 16,-1 0-1,0 0-15,1 0 16,0 19 0,-18-2-1,-18 0-15,18 1 16,-18-18-16,1 18 0,0-18 15,17 18-15,-18-18 0,0 0 0,18 17 16,-18-17-16</inkml:trace>
  <inkml:trace contextRef="#ctx0" brushRef="#br0" timeOffset="110113.09">25030 14971 0,'-36'35'0,"36"-18"0,0 19 16,0-18 0,19-1-16,-19 2 15,17-19-15,-17 17 0,17-17 16,1 0-16,-1 17 16,2-34-16,-2 17 15,0-17 1,1-2-16,-18 2 15,18-1 1,0 1 0</inkml:trace>
  <inkml:trace contextRef="#ctx0" brushRef="#br0" timeOffset="110429.03">25311 14954 0,'0'0'0,"0"17"0,19 1 16,-19-1-16,0 0 15,0 19 1,0-1-1,0-16-15,17-2 32,1-34-17,-1 17 17,2-19-32,-2 19 0,-17-17 0,17 17 15,1-18 1,0 18-1,0 0-15</inkml:trace>
  <inkml:trace contextRef="#ctx0" brushRef="#br0" timeOffset="110808.87">25611 14989 0,'19'17'16,"-19"0"-1,0 2 1,0-2 0,0 1-16,0-1 15,0 2 17,17-38-1,-17 2-16,18 17-15,-18-18 16,17 18-16,-17-17 0,19 17 16,-2-19-16,0 2 15,1 17 1,-1 0 0,2 0-1,-19 17-15,17-17 16</inkml:trace>
  <inkml:trace contextRef="#ctx0" brushRef="#br0" timeOffset="111067.55">25965 14935 0,'-18'19'16,"18"-2"0,0 1-1,0 16-15,0-15 16,-18-2 0,-17 37-1,-18-20 1,18-16-1,-1-18-15,19 18 16,-1-18-16,1 0 0</inkml:trace>
  <inkml:trace contextRef="#ctx0" brushRef="#br0" timeOffset="112760.78">25382 9467 0,'36'36'0,"-19"-36"0,1 18 0,0-1 16,17 19-16,0-1 16,1 1-16,-2-2 0,73 54 15,16 0-15,18 19 16,-70-55-16,105 72 0,-70-53 15,-18-1 1,18 1-16,0 0 0,0 17 0,123 53 16,0-1-16,-105-69 0,123 87 15,-124-68-15,1-20 16,0 0-16,-2 0 0,-15-16 16,122 87-16,-35-36 15,-18-17-15,-106-34 0,1-1 16,53 18-16,-89-37 15,18 2-15,-18-1 16,-17-18-16,-18 2 0,0-2 16,-18-17-1,0 0-15,-16 0 16,16 0-16,0 0 16,0-17-16</inkml:trace>
  <inkml:trace contextRef="#ctx0" brushRef="#br0" timeOffset="113168.48">28875 11619 0,'18'36'16,"-1"-36"-16,-17 18 15,17-1-15,2 0 0,16 2 0,-18-2 16,2 1-16,33 35 15,-34-36-15,17 18 0,0 18 16,1-17-16,-19-18 0,0-1 0,2 19 16,-19-19-16,17 1 0,1 16 15,-18-15-15,0 16 16,-35-18 0,-1 2-16,19-2 0,-19 0 0,1-17 15,0 18-15,-1 0 0,-34 0 16,-1-18-16</inkml:trace>
  <inkml:trace contextRef="#ctx0" brushRef="#br0" timeOffset="113868.6">29017 12395 0,'0'54'16,"0"-37"-1,17 19-15,-17-1 0,0 1 0,0 16 16,-17 1-16,17 0 0,0-1 0,0 2 15,-19-1-15,19-1 0,0 1 16,-17 18-16,17-36 0,0 1 16,0-19-16,-18 0 0,18 19 15,0-18 1</inkml:trace>
  <inkml:trace contextRef="#ctx0" brushRef="#br0" timeOffset="114817.56">28946 12449 0,'71'-18'0,"-37"18"16,20-17-16,16 17 0,70 0 15,-33 0-15,-2 0 0,19 0 16,-1 0-16,1 0 0,140-19 16,-123 19-16,37 0 0,-56-17 0,56 0 15,-56 17-15,20-18 16,-18 18-16,122-18 0,-35 0 16,-70 1-16,-87 17 0,-1-17 15,-18 17-15,18 0 16,-36 0-16,19-18 0,-18 18 15,-1 0-15,0 0 16,1 18 0,-18-1-16,18-17 15,-18 17-15,0 1 0,-18 0 0,18 34 16,0-33-16,-18 69 16,18-36-16,0 1 0,0 1 15,-17-2-15,17 1 0,0 0 16,0 18-16,0-19 0,0 1 0,0 1 15,0 68-15,0-86 16,0 52-16,0 0 16,0-52-16,0-1 0,0-18 0,0 19 15,17-18-15,-17 16 0,0 2 16,0-18-16,-17 18 16,17-19-16,-17 0 15,-1 1-15,0-18 0,-17 18 16,-18-18-16,18 0 15,-1 0-15,-16 0 0,-19 0 16,-70 0-16,70 0 16,-34 0-16,-90-18 0,71 18 0,19-18 15,0 18-15,-2-17 0,2 17 16,-19 0-16,-87-17 0,104 17 16,2 0-16,-2 0 0,37 0 15,0 0-15,0 0 0,-1 17 16,-36-17-16,73 0 0,-2 0 15,18 0-15,-16 17 0,16-17 0,0 0 16,0 0-16,1 0 16,0 0-16,-2 18 0,2-18 15,-1 0 1,1 0 0,-2-18-1,19 1 1,0-19-1,0 19-15,0-1 16,0-18-16,0 19 16,0 0-16,19-1 0,-19-18 15,0 19-15,17-54 16,-17 18-16,0 36 0,18-18 16,-18 18-16,17-19 15,-17 18-15,19 1 0,-2-2 16,-17 2-16,17 17 15,1-17-15,18 17 16</inkml:trace>
  <inkml:trace contextRef="#ctx0" brushRef="#br0" timeOffset="116370.85">29669 12661 0,'17'-18'15,"-52"53"17,18 18-17,-2-35 1,19-1-16,0 0 0,0 2 15,0-2-15,0 1 0,0-1 16,19 2-16,-19-2 0,17 0 16,1-17-16,-1 18 15,19-18-15,-19 0 16,1 0-16,-1-18 0,2 18 0,-19-17 16,17 17-16,-17-17 15,17-2-15,-17 2 0,0-1 0,0-18 16,0 19-16,0 0 0,0-1 15,-17 0-15,17 0 0,-17 1 16,-2 0-16,2-1 0,-1 0 16,1 18-1,0 18-15,-2-18 16,2 18-16</inkml:trace>
  <inkml:trace contextRef="#ctx0" brushRef="#br0" timeOffset="116706.87">29969 12695 0,'0'36'15,"0"-1"1,0-18-1,0 2-15,17 16 16,0-35 0,-17 17-16,19-17 0,-2 19 15,1-19-15,-1-19 16,2 19 0,-19-17-16,17-1 0,-17 1 15,17-2 1,-17 2-16,0 0 15,0-1 1</inkml:trace>
  <inkml:trace contextRef="#ctx0" brushRef="#br0" timeOffset="116928.82">30286 12607 0,'0'0'16,"0"36"0,0-18-16,-17-1 0,17 0 15,0 1-15,0 0 0,0 0 16,0-1-16,0 0 0,0 2 16,0-2-16,0 1 0,17-1 15,-17 2-15,17-19 16,2 17-16</inkml:trace>
  <inkml:trace contextRef="#ctx0" brushRef="#br0" timeOffset="117092.44">30251 12766 0,'0'0'16,"35"0"-1,1 0 1,-19 0 0,1 0-16,-1 0 0,0 0 0</inkml:trace>
  <inkml:trace contextRef="#ctx0" brushRef="#br0" timeOffset="117581.08">30798 12819 0,'35'0'0,"-18"0"15,2 0-15,-2 0 0,0 0 16,1 0-16,0 0 0,0 0 15,-1 0-15,0 0 0,1 0 16,0 0-16,0-17 16</inkml:trace>
  <inkml:trace contextRef="#ctx0" brushRef="#br0" timeOffset="117822.11">31009 12661 0,'18'0'0,"17"17"15,-18 0 1,2-17-16,-2 18 0,18 35 31,-35-36-31,0 2 0,0-2 16,0 1-16,0-1 0,-17 2 0,17-2 15,-18 0-15,18 1 0,-17-1 0,-19 2 16,19-2-16</inkml:trace>
  <inkml:trace contextRef="#ctx0" brushRef="#br0" timeOffset="122304.5">30162 13278 0,'-17'17'0,"17"1"0,-18-18 16,18 17-16,0 2 0,-17-2 0,17 0 15,-17 1-15,17 0 16,0 0-16,0-1 0,-19-17 0,19 17 16,0 2-16,0-2 15,-17-17-15,34 18 16,2-36 15,-2 18-31,-17-17 0,17 17 0,-17-19 16,18 19-16,-1 0 0,2-17 15,15 17 1,-16 17-16,0-17 16,0 36-1,-18-18-15,17-18 16,-17 17-16,17-17 0,-17 17 15,19-17-15</inkml:trace>
  <inkml:trace contextRef="#ctx0" brushRef="#br0" timeOffset="122599.06">30498 13401 0,'-17'0'0,"-2"18"15,2 0-15,17-1 16,0 0 0,0 2-16,36-2 15,-36 1-15,17-18 0,0 0 16,1 0-16,0 0 16,-18-18-16,18 18 15,-18-17-15,0-2 16,0 2-1,-18 0-15,18-1 0,-18 18 16,0-18-16,1 18 16,0 0-1</inkml:trace>
  <inkml:trace contextRef="#ctx0" brushRef="#br0" timeOffset="123065.08">30603 13366 0,'-17'0'0,"34"0"0,1 0 15,0 17-15,-18 1 16,0 0 0,0 17-1,18-18 1,-18 2-1,17-19 17,0 0-17,2 0-15,-2-19 16,1 19-16,-1 0 31,2 19-15,-2-19-16,0 0 15,-17 17 1,18-17 0,-1 0 15,2 0-15,-2 0-1,-17 18-15,17-18 16,-17 17-16,18-17 15</inkml:trace>
  <inkml:trace contextRef="#ctx0" brushRef="#br0" timeOffset="123209.57">31009 13490 0,'18'0'15,"-18"17"1,0 1-16,0-1 15,-18 0 1,18 2-16,0-2 16,0 1-16</inkml:trace>
  <inkml:trace contextRef="#ctx0" brushRef="#br0" timeOffset="123335.94">31062 13366 0</inkml:trace>
  <inkml:trace contextRef="#ctx0" brushRef="#br0" timeOffset="123708.7">31150 13471 0,'-17'19'0,"-1"-19"15,18 17-15,-17-17 0,17 18 16,0-1-16,-19-17 16,19 17-16,0 2 15,0-2-15,0 1 16,19-18-16,-2 0 15,1 0-15,18 0 16,-19 0-16,0 0 0,1 0 16,-18-18-16,17 18 0,2 0 0,-2 0 15,0-17-15,1 17 16,0 17 0,-18 1-1,0-1-15,0 2 16,0-2-1,0 0 1,-18-17-16</inkml:trace>
  <inkml:trace contextRef="#ctx0" brushRef="#br0" timeOffset="124477.75">31733 13313 0,'17'36'15,"-34"-19"-15,17 0 0,-18 19 16,18-18-16,0-1 16,0 19-16,-18-19 0,18 1 15,0-1-15,0 0 16,0 2-1,-35-19 17,18 0-17,-2 0 1,2 0 0,-1 17-16,1 1 15,0-18-15,17 17 16,-19-17-1,55 19 1,-19-19-16,18-19 31,-16 19-31,-2 0 0,0-17 0,1 17 16,-18-18-16,18 18 0,0-17 16,-1 17-16,0 17 62,2-17-31,16 0-15,-18 0-16,0 0 16,2 0-1,-2 18 1,1-18-16,-18 17 31,-35 2-15,16-2-1</inkml:trace>
  <inkml:trace contextRef="#ctx0" brushRef="#br0" timeOffset="124595.8">32033 13630 0</inkml:trace>
  <inkml:trace contextRef="#ctx0" brushRef="#br0" timeOffset="130889.44">16705 12554 0,'17'19'0,"-17"-2"0,17-17 16,-17 35-1,0-17 1,18-18-16,-18 35 16,0-18-1,18 19 1,-18-18-16,0-1 0,0 0 0,18 2 15,-18-2-15,0 18 0,17-16 16,0 33-16,1-35 0,-18 19 0,18-19 16,0 37-16,-1-20 15,0 2-15,2-1 0,16 1 0,-18-1 16,2 1-16,-2-2 0,18 20 0,-18-20 0,19 2 16,-19-1-16,19 1 0,-18-1 15,16-18-15,2 19 0,-1-1 16,1 1-16,-1-2 0,1-16 0,52 52 15,-54-52-15,20 18 16,-20-19-16,2 19 0,16-19 0,-16 18 16,-1-16-16,18 15 0,-17 1 15,-1-16-15,18-2 0,53 71 16,-72-53-16,20-17 0,-18 17 16,-2-18-16,2 19 0,-1-18 0,18 18 15,-18-19-15,1 0 16,-1 18-16,1-16 0,16 15 0,-16-16 15,-2 18-15,2-19 0,-1 19 0,1-19 16,-1 1-16,18 16 16,-18-15-16,1-2 0,16 18 0,1-16 0,-18-2 15,18 0-15,0 1 0,18 18 0,34-2 16,-17-16-16,-34 0 16,16 17-16,18-18 0,-34 2 0,16-2 15,-18 1-15,19-1 0,-18-17 0,1 17 16,15 2-16,-16-2 0,-17 1 15,16-18-15,-16 17 0,-1-17 16,1 19-16,16-19 0,-33 17 16,-2-17-16,0 0 0,19 17 15,-18-17-15,-1 0 16,0 0-16,-17 18 16,18-18-16,0 0 15,0 0 16,-1 0 1,-17-18-1,0 1-15</inkml:trace>
  <inkml:trace contextRef="#ctx0" brushRef="#br0" timeOffset="131716.99">20338 14865 0,'35'18'31,"1"0"-15,-36-1-16,17 0 0,0 2 0,1-19 16,0 17-16,0 1 0,-1-1 15,0 0-15,2 2 0,-2-19 0,1 17 16,-1 1-16,19 18 0,-19-19 15,1 0-15,-1 1 16,-17 0-16,19-18 16,-19 18-16,17-1 0,-17 0 15,-17 1 1,-2 0 0,2-18-16,17 18 15,-18-18-15,1 17 0,0-17 0,-2 17 16,-16-17-16,18 19 0,-19-2 15,-17 1-15,18-1 0,0-17 16,-1 19-16,-17-19 0,18 17 16,-18 0-16,18-17 0,18 0 15</inkml:trace>
  <inkml:trace contextRef="#ctx0" brushRef="#br0" timeOffset="132938.29">16581 12907 0,'0'-17'16,"0"0"-16,0-2 15,0-33 1,17 33-16,-17 2 0,0-18 15,17-18-15,-17 36 16,0-1-16,19 0 0,-19 0 0,0 1 0,17 0 16,-17-2-16,18 2 0,-1-1 15,-17 1-15,19-2 16,-2 19-16,0-17 16,1 17-16,18 0 15,-19 17 1,0 2-16,1-19 0,0 17 15,0 1-15,-1-1 0,36 2 16,-35-2-16,-1 0 16,2 1-16,-2 0 0,0-18 0,1 18 0,-1-18 15,36 17 1,-53 0-16,18-17 0,0 0 16,0 0-16,-18 18 31,17-36-31,0 18 15,-17-17-15,19 17 0</inkml:trace>
  <inkml:trace contextRef="#ctx0" brushRef="#br0" timeOffset="145281.35">16386 14671 0,'-88'35'0,"71"-35"16,-1 19-16,1-2 0,-2 0 0,2 18 15,0-16-15,-1-2 0,-18 36 16,19-1-1,0-33-15,17-2 0,-18 35 16,18-33-16,18 16 16,-1-35-16,-17 17 0,17-17 15,2 0-15,-2 19 0,1-19 16,-1 0-16,0 0 0,2 0 0,16 0 16,-18 0-16,19 0 15,-19-19-15,1 19 0,-1 0 0,2 0 16</inkml:trace>
  <inkml:trace contextRef="#ctx0" brushRef="#br0" timeOffset="145828.44">16651 14901 0,'-17'0'0,"34"0"0,-70 17 16,36 0 0,17 2-1,-18-19-15,18 17 0,0 1 0,-17-18 16,17 34 0,0-15-16,17-2 15,18-17 16,-18-17-15,-17-2-16,19 2 0,-19 0 16,17 17-16,1-18 31,-1 36-15,-17-1-1,0 0-15,0 2 0,0-2 16,19-17-16,-19 18 0,17-1 15,0-17 1,1 19-16</inkml:trace>
  <inkml:trace contextRef="#ctx0" brushRef="#br0" timeOffset="146167.47">16951 14935 0,'-17'36'47,"17"-18"-31,0-1-16,17 0 16,-17 2-1,18-2-15,-1-17 0,2 0 31,-2 0-31,0-17 0,1 17 0,-1-19 16,2 2 0,-19 0-1,17-1-15,-17 1 16,0-2 0</inkml:trace>
  <inkml:trace contextRef="#ctx0" brushRef="#br0" timeOffset="146525.44">17357 14830 0,'-18'0'15,"1"17"1,17 1-16,17 0 16,-17 0-16,0-1 0,0 0 15,18-17-15,-18 19 0,0-2 16,17 1-16,-17-1 0,0 0 15,0 2 1,0-2-16,-35 1 16,-18-1-1,18-17 1,18 19 0,-2-19 15</inkml:trace>
  <inkml:trace contextRef="#ctx0" brushRef="#br0" timeOffset="146967.1">17710 15077 0,'52'-54'0,"-52"37"0,0 0 16,0-1 0,-17 18-16,17-17 15,-18 34-15,1 1 16,-2-18-16,19 17 16,-17-17-16,17 17 0,0 2 15,0-2-15,0 1 0,17-18 16,-17 17-16,19 2 0,-2-19 0,1 17 15,-1-17-15,2 17 0,15-17 16,-16 18-16,18-18 0,-19 0 16,0 0-16,19 0 0,-18 0 0</inkml:trace>
  <inkml:trace contextRef="#ctx0" brushRef="#br0" timeOffset="147275.57">18433 14830 0,'-35'0'31,"-1"53"-15,19-35-16,-1-1 0,-18 36 16,2-18-16,16 1 0,0-1 0,-17 1 15,18-2-15,-2-16 0,2 0 16,-1 17-16,1-18 0,-19 19 16,36-18-16,-17-1 15</inkml:trace>
  <inkml:trace contextRef="#ctx0" brushRef="#br0" timeOffset="147508.67">17921 14918 0,'36'0'0,"-19"17"0,36 19 16,18-1 0,-36-18-16,1 2 0,16-2 15,-16 1-15,140 70 16,-123-70-16,-18 0 0,1-1 16,-2 0-16,2 1 0</inkml:trace>
  <inkml:trace contextRef="#ctx0" brushRef="#br0" timeOffset="149293.38">17833 13242 0,'18'-17'0,"-54"53"16,19-19-16,-19 35 15,36-16-15,-17-19 16,17 1-16,-18 18 0,18-19 16,-17 0-16,17 2 0,0-2 0,-19 1 15,19-1-15,0 0 0,0 2 16,19-2-16,-2 1 16,18-18-1,-16 0-15,33 0 16,-34-18-16,0 18 15,-1-17-15,0-2 0,1 19 0,0-17 16,-18 0-16,18-1 0,-1 1 16,0-2-1,-17 2-15,0 53 47,0-19-47,0 18 16,36 1-1,16-36 1,-52 17 0,19-17-1,-2-17-15,1 17 0,-18-19 16,17 2-16,-34 0 16,-1-1-1,1 18 1</inkml:trace>
  <inkml:trace contextRef="#ctx0" brushRef="#br0" timeOffset="149620.57">18186 13419 0,'17'0'15,"-34"0"-15,52 18 0,-17-1 16,-18 0-16,18 2 16,-18-2-16,0 1 0,0-1 15,0 0-15,0 2 32,17-55 14,0 1-30,1 18-16,0 17 16,-18-19-16,18 19 15,-1 0 1,0 0-16</inkml:trace>
  <inkml:trace contextRef="#ctx0" brushRef="#br0" timeOffset="150152.62">18469 13578 0,'17'-19'47,"0"19"-31,1-17-1,-18 0-15,17-1 16,-17 1-16,19-2 31,-2 2-15,0 17 46,1 17-46,0 2-16,-18-2 16,18-17-16,-18 18 0,17-1 15,0 19 1,-17-19-16,0 1 0,19-18 16,-19 17-16,0 2 15,17-19 1,1-19 15,-18 2-31,17-1 16,-17 1-16,17-2 15,-17 2-15,0 0 0,19-1 0,-19 1 16,0-2-16,17 19 0,-17-17 16,18 17-1</inkml:trace>
  <inkml:trace contextRef="#ctx0" brushRef="#br0" timeOffset="151200.32">18962 13613 0,'0'-35'16,"0"16"0,0 2 15,-17 53-15,-1-19 15,18 1-31,0-1 0,0 2 15,0-2 1,18 0 0,-1-17-16,0 0 15,1-17-15,0 17 0,0-17 16,-1-19 0,0 18-16,2 1 0,-19-2 15,17 2-15,1 0 0,-18-1 0,17-18 16,-17 19-16,17 0 15,-17-1-15,0 0 16,19 0-16,-19 1 16,-19 52 15,19-17-31,0 17 16,0 18-1,-17-35-15,17-1 0,0 0 16,0 2-16,0-2 15,17 1-15,2-18 16,-19 17-16,17-17 0,1 0 16,18 0-16,-19 0 15,0-17-15,1 17 16,0 0-16,-18-18 0,18 18 16,-1-17-1,-17 52 32,-17-18-31,34 2-1,0-19 17,19-19-17,-18 2-15,-1-1 31,0 18-15,-17 18 0,0-1-1,0 2 1,0-2 0,19-17-1,-2-17 1,1 17-16,-18-19 0,17 2 15,2-1-15,-19 1 0,17-2 16,-17 2-16,17-18 0,-17 18 0,18-2 16,-1-33-16,2 34 15,-19 0-15,17 36 32,-17 0-17,0 0-15,0-1 0,0 0 16,0 2-16,-17-2 0,17 1 15,0-1-15,0 0 0,0 2 0,-19-2 16</inkml:trace>
  <inkml:trace contextRef="#ctx0" brushRef="#br0" timeOffset="151372.45">19562 13595 0,'0'-17'15,"17"-2"1,1 19-16,-1-17 0,2 17 16,15-17-1,-16 17-15,0 0 0,0 0 16,-1 0-16,0 0 0</inkml:trace>
  <inkml:trace contextRef="#ctx0" brushRef="#br0" timeOffset="151928.29">19967 13613 0,'18'0'16,"-18"-18"-1,0 1-15,-18 17 16,1 17 0,0 18 15,17-16-31,-19-19 0,19 17 16,19-17-16,-19 17 15,17-17-15,0 0 0,1 0 16,-1-17-16,2 17 15,-2 0-15,0-17 16,1-2-16,0 19 16,-18-17-16,18 17 15,-18 36 17,0-19-17,34-17 16,-34-17-31,19 17 0,33-36 16,-35 18-16,2 1 16,-2-2-16,-17 2 0,18 0 0,-1 17 15,-17-18-15,19 18 0,-19-17 16,0 34 15,-36 54-15,36-54-16,-18 1 0,18-1 15,-17 2-15</inkml:trace>
  <inkml:trace contextRef="#ctx0" brushRef="#br0" timeOffset="152481.43">19138 14089 0,'17'36'16,"-17"-2"-16,0-16 16,0 0-16,0 0 0,19-18 15,-2 17 1,18-17 0,18-17-16,18-19 15,-36 18-15,54-16 16,-18-2-16,-37 18 15,1 1-15,-16 0 0,15 17 0,-16-19 16,18 2-16,-19 17 0,0 0 16,1 0-16,0 0 15</inkml:trace>
  <inkml:trace contextRef="#ctx0" brushRef="#br0" timeOffset="154300.64">16546 15447 0,'123'18'15,"-87"-1"-15,-2-17 0,20 19 16,-2-19-16,18 17 0,-16 0 0,16-17 16,18 18-16,0 0 0,0 0 15,2-1-15,-2 0 0,0 2 0,0-2 16,0 1-16,106-1 0,-106-17 15,0 0-15,0 0 0,-17 17 16,0-34-16,70 17 0,-70-17 16,-19 17-16,54-18 15,-71 1-15,1 17 0,-19-19 0,18 19 16,-16-17-16,-2 0 0,0 17 0,1-18 16,0 0-16,0 18 0,-1-18 15,-17 1-15,17 17 0,-17-17 0,18-2 16,-18 2-16,18-1 0,-18 1 15,0-19-15,0 19 0,18-1 0,-18-18 16,0 19-16,0-18 0,0 17 16,17-17-16,-17 18 0,0-19 15,0 18-15,0-16 0,0 15 0,0-16 0,0-1 16,0 19-16,0-35 16,0 16-16,-17 19 0,17-1 0,0-18 15,-18 19-15,18 0 0,-18-2 16,0 2-16,1-1 15,0 1-15,-1 17 0,0-17 0,0 17 16,-16 0-16,15-19 0,2 19 16,-1 0-16,1 0 0,-2 0 15,-15 0-15,16-17 0,1 17 0,-19 0 16,1 0-16,-18 0 0,17 0 16,1 0-16,1 0 0,-2 0 15,-18-18-15,20 18 0,-2 0 0,-52 0 16,0-17-1,34-2-15,-68 2 0,68 0 16,-16 17-16,-1-18 0,19 18 0,-19-17 16,1 17-16,16-19 0,-16 19 15,-1-17-15,0 17 0,2 0 16,-2-17-16,1 17 0,-1 0 0,0-18 0,1 18 16,-1 0-16,18 0 0,18 0 15,-18-18-15,18 18 0,-1 0 16,1 0-16,-1 0 0,2 0 0,16 0 15,-71-18-15,72 18 16,-1 0-16,1 0 0,0 0 16,-2 0-16,-16 0 0,18 0 0,-2-17 15,2 17-15,0 0 0,-1 0 16,1 0-16,-19 17 0,19-17 0,-1 0 16,0 0-16,-17 0 0,18 0 15,-2 18-15,2-18 0,-1 0 0,1 18 16,0-18-16,-2 0 0,2 18 15,-1-18-15,1 0 16,17 17-16,-19-17 16,2 0-1,17 17-15,0 2 16,0-2-16,-17-17 0,17 18 16,0 16-16,0-15 0,0 16 15,0 1-15,-18 16 0,18 18 0,-18-16 16,18-1-16,-18-1 0,18 1 0,0 18 15,-17-18-15,17-1 0,0-16 16,0-1-16,0 1 0,0-1 16,17 1-16,-17-2 0,18-16 0,0-1 15,17 19-15,124-1 16,-89-17-16,1-18 0,17 18 16,19-18-16,-2 0 0,19 17 0,-19-17 15,19 0-15,16 0 0,126 0 16,-125-17-16,-18 17 15,18-18-15,-17 18 0</inkml:trace>
  <inkml:trace contextRef="#ctx0" brushRef="#br0" timeOffset="156732.94">19738 11214 0,'35'-35'0,"-17"35"16,0 0-16,-1 0 0,0 0 15,2 0-15,-2 0 0,18 0 0,1 0 16,-1 0-16,18 0 0,-18 18 16,18-18-16,0 0 0,-1 17 0,2 0 15,-1 1-15,-18-18 0,1 18 0,-2 0 16,2-18-16,-1 17 0,-18 0 16,19 2-16,-18-2 0,-1-17 0,2 18 15,-2-1-15,0 0 0,1 2 0,-1-2 16,-17 1-16,19-18 15,-19 17-15,17 2 0,-17-2 16,17-17 15</inkml:trace>
  <inkml:trace contextRef="#ctx0" brushRef="#br0" timeOffset="157043.89">20761 11267 0,'18'71'31,"-18"-54"-16,18 1-15,-18-1 0,0 0 0,0 2 16,0-2-16,17 1 0,-17-1 16,0 2-16,0-2 0,-17 0 0,17 1 15,0 0-15,-18 0 0,0-1 16,0 0-16,1 1 16,0-18-16,-19 0 0,18 18 15,-16-18-15,15 0 0,-16 0 16,18 0-16,-2 0 0,2-18 15</inkml:trace>
  <inkml:trace contextRef="#ctx0" brushRef="#br0" timeOffset="157796.25">19950 11019 0,'0'-17'16,"-17"17"-1,-2 0 1,-16 36-1,18-36-15,-2 0 16,19 17-16,-17-17 0,0 18 16,-1-1-1,0 2 1,18-2 0,-18 0-1,18 1 1,0 0-1,0 0-15,0 16 16,0 2 0,18-18-1,-18 16 1,0-15-16,0-2 0,18-17 0,-18 18 16,0-1-16,18 0 0,-1 2 15,0-19-15,19 17 16,-18 1-16,-1-18 0,19 17 0,-19-17 15</inkml:trace>
  <inkml:trace contextRef="#ctx0" brushRef="#br0" timeOffset="159183.16">20673 10526 0,'0'-17'0,"-18"51"16,1 2-1,0-18 1,17-1-16,0 0 0,-19 2 16,19-2-16,0 1 0,-17-1 0,17 19 15,0-19 1,17 1-16,-17-1 16,19-17-16,-2 0 15,0 19-15,1-19 16,-1 0-16,2 0 0,-2 0 15,-17-19-15,17 19 0</inkml:trace>
  <inkml:trace contextRef="#ctx0" brushRef="#br0" timeOffset="159496.32">20867 10631 0,'0'0'0,"-18"19"31,0-2-15,18 1-16,18 35 16,0-53-1,0 17-15,35-17 16,-36 0 0,1 0-16,-1-17 15,-17 0 1,0-2-1,0 2-15,-17 17 0,17-18 0,-18 1 16,1-2 0,-2 19-1,2-17-15</inkml:trace>
  <inkml:trace contextRef="#ctx0" brushRef="#br0" timeOffset="159764.44">21061 10614 0,'17'0'0,"2"0"0,-19 17 16,17-17-16,-17 19 15,17-19-15,-17 17 0,18-17 0,-18 18 16,0-1-16,18-17 0,-18 19 16,0-2-1,18-17-15,-1 0 31,0-17-15,-17-2-16,19 19 0,-19-17 16,17 17-16,1-18 15,-1 18-15,-17-17 16,17 17-16</inkml:trace>
  <inkml:trace contextRef="#ctx0" brushRef="#br0" timeOffset="160103.85">21378 10721 0,'36'-19'15,"-19"2"1,1-18-16,-18 16 15,0 2 1,17 17 0,-52 17 15,18 2-15,17-2-1,0 18 1,17-16-16,1-19 15,-18 17 1,17-17-16,2 0 16,-2 0-1,0 0-15</inkml:trace>
  <inkml:trace contextRef="#ctx0" brushRef="#br0" timeOffset="161253.44">17622 10509 0,'17'-54'0,"-17"20"16,0 15-16,0 2 15,0-35-15,0 16 0,0 1 0,0 16 16,0 2-16,0-18 0,0 17 0,0-17 15,0 18-15,0-19 0,0 18 16,0 1-16,0 0 0,-17-2 16,17 2-16,0-1 0,0 1 15,-19 17-15,2-19 16</inkml:trace>
  <inkml:trace contextRef="#ctx0" brushRef="#br0" timeOffset="161447.74">17586 9926 0,'0'36'16,"-17"-19"-16,17 1 16,-18-1-16,0 2 15,18-2-15,-18 0 0,18 1 16,-17-18-16,17 18 0,-17 0 15,-2-1-15,19 0 0,-17 1 16</inkml:trace>
  <inkml:trace contextRef="#ctx0" brushRef="#br0" timeOffset="161634.32">17533 10033 0,'18'0'15,"0"0"-15,-1 17 16,0-17-16,2 0 0,-2 17 0,1-17 16,16 18-16,2-18 0,-18 18 15,18 0-15,-2-18 0,20 34 16,-20-34-16,2 18 0,-1-18 16,18 18-16,-1 0 0</inkml:trace>
  <inkml:trace contextRef="#ctx0" brushRef="#br0" timeOffset="162564.53">24113 11285 0,'0'-18'16,"0"-18"-1,0 19-15,17 0 0,-17-19 16,0 18-16,0-16 16,0-2-16,0 1 0,17-1 0,-17 1 15,0-1-15,0 2 0,19-2 0,-19 18 0,0-16 16,0 15-16,0 2 0,17-1 16,-17 1-16,0 0 0,0-2 15,0 2-15,-17 17 16,17-18-1</inkml:trace>
  <inkml:trace contextRef="#ctx0" brushRef="#br0" timeOffset="162802.54">24147 10667 0,'-34'0'16,"34"18"-1,-18-1 1,0-17-16,18 19 0,-18-19 0,-16 34 16,34-16-16,-18-1 15,0 2-15,18-2 16,-18-17-16,18 17 0,-17-17 15</inkml:trace>
  <inkml:trace contextRef="#ctx0" brushRef="#br0" timeOffset="163007.44">24183 10721 0,'71'88'16,"-54"-71"-16,1 0 0,-1 1 15,2-18-15,-2 18 16,18 17 0,-17-35-16</inkml:trace>
  <inkml:trace contextRef="#ctx0" brushRef="#br0" timeOffset="163944.51">21749 10367 0,'0'54'0,"0"-37"16,-18 54-1,18-54-15,0 0 0,0 37 16,-17-1-1,17-36-15,-19 1 0,19-1 16,0 2-16</inkml:trace>
  <inkml:trace contextRef="#ctx0" brushRef="#br0" timeOffset="164160.29">21873 10385 0,'-18'36'31,"18"-19"-31,0 0 0,0 37 16,-18-37-16,18 0 16,0 2-16,0-2 0,0 1 15,0-1-15,0 0 0,0 2 0,0-2 16</inkml:trace>
  <inkml:trace contextRef="#ctx0" brushRef="#br0" timeOffset="164687.46">21995 10614 0,'0'-17'16,"0"-1"-16,0 1 15,-34 17 17,34 17-17,-18-17-15,0 18 0,18-1 16,-18 0 0,18 2-1,18-19-15,0 0 16,0 0-1,-1 0-15,0 0 16,2 0-16,-2 0 16,1-19-1,-1 19-15,2 0 16,-2 0-16,18-17 16,-35 0-1,17 17-15,-17-18 0,19 18 16,-2-36-16,0 2 15,1 16-15,-18 0 16,0 0-16,18 1 0,-18 0 0,18-2 16,-18 2-1,0 70 17,-18-18-17,18-17-15,0 0 0,0-1 0,0 0 16,0 2-16,18-2 15</inkml:trace>
  <inkml:trace contextRef="#ctx0" brushRef="#br0" timeOffset="164814.46">22243 10543 0,'52'-34'0,"-52"16"0,19 18 0,-2-18 16</inkml:trace>
  <inkml:trace contextRef="#ctx0" brushRef="#br0" timeOffset="177175.19">19791 10897 0,'0'-18'15,"0"0"16,-18 0 32,0 18 31,18-17-63,0 0-15,18-2 15,-18 2-31,18 17 0,0-18 15,-1 1-15,36-19 16,-35 19-16,-1-1 16,2 18-16,15-17 0,1-19 0,1 19 15,-1-1-15,1 1 0,17-2 16,-18-15-16,35 16 16,-35-18-16,18 19 0,1 0 0,-2-2 15,1 2-15,0-1 0,35-16 0,-34 15 16,16 2-16,141-18 15,-140 16-15,-1 2 0,18 0 16,0 17-16,-17-18 0,0 0 16,17 18-16,1-18 0,-1 1 0,53 0 15,-71 17-15,0-18 0,20 18 16,-2-18-16,0 18 0,17-18 16,-17 18-16,0-17 0,19 17 0,-19-17 15,0 17-15,0-19 0,18 19 16,-18 0-16,0-17 0,18 17 0,-18 0 15,1 0-15,-1 0 0,17 0 0,-34 0 16,141 0-16,-124 0 16,17 0-16,2 0 0,-19 17 0,17-17 15,-17 0-15,19 19 0,-2-19 16,1 17-16,-17-17 0,16 17 0,1-17 0,0 18 16,0-18-16,0 18 0,-18 0 15,18-18-15,-1 17 0,2 0 16,-19 1-16,17 0 0,90 17 15,-107-18-15,17 2 0,-17-2 16,19 1-16,-2-18 0,2 36 0,-2-19 16,0 0-16,2 1 0,-19-1 15,17 19-15,2-19 0,-2 1 0,19 18 16,-18-2-16,-1-15 0,-16 16 0,17-1 16,-1 2-16,2-1 0,-2 1 15,124 35-15,-141-37 0,19 2 16,-19-1-16,0 1 0,0-1 15,0-1-15,-17 20 0,17-18 0,-18-2 16,18 2-16,-17-1 0,0 0 0,-1 1 16,1-2-16,-36 2 0,18-18 15,18 35-15,-37-36 0,-15 1 16,16-1-16,-18 19 0,2-19 16,-19 1-16,17 0 0,-17 0 15,17-1-15,-17 0 0,18 1 16,-18 0-16,0 0 15,17-18-15,-17 17 0,19 0 16,-2 2-16,-17-2 16,17-17-16,-17 18 0,18-18 0,-18 17 15,18 2-15,0-2 16,-1 0-16,0-17 16,2 0-1,-2 0 1,1-17-1,-1 17-15</inkml:trace>
  <inkml:trace contextRef="#ctx0" brushRef="#br0" timeOffset="177553.05">30427 11443 0,'18'18'16,"-1"-1"-16,-17 19 15,19 35 1,-2-54-16,-17 0 0,0 1 0,17 18 15,-17-19-15,18 0 0,-18 19 16,18-18-16,-18-1 16,0 2-16,18 15 0,-18-16 15,-18-1-15,0 2 16,0-19 0,-16 17-16,15-17 0,-69 35 15,17-17-15,19 0 0,-1-1 0,-18 0 16,18-17-16,1 19 0,-19 16 15,35-35-15</inkml:trace>
  <inkml:trace contextRef="#ctx0" brushRef="#br0" timeOffset="189285.59">18645 8498 0,'0'-19'16,"-18"19"-16,-18 19 16,2-2-1,15 1-15,2 18 0,-1-19 0,1 18 16,-19 53-16,19-70 16,17 17-16,-18-18 0,1 54 15,17-52-15,0-2 16,17 0-16,-17 1 0,0-1 0,35 2 15,-16-2 1,-2-17 0,0 0-16,1-17 0,-1 17 15,2-19-15,-2 19 0,0 0 0,-17-17 16,18-1-16,0 18 0,-18-17 16,18 17-16,-18-17 0,17-2 15,0 2-15,-17-1 0,19 1 16,-19-2-1,17 2-15,1 34 47,-1 2-31,-17-2-16,17-17 0,-17 18 16,19-18-16,-2 0 0,18 17 15,-16-17-15,-2 0 0,0 0 16,1 0-16,0 0 0,17-17 15,-18 17 1,-17-18-16,0 1 16,0-2-16,0 2 0,0 0 15,-17 17-15,17-18 0,-17 18 16,-19-18-16,-16 18 31,16 18-15</inkml:trace>
  <inkml:trace contextRef="#ctx0" brushRef="#br0" timeOffset="189608.89">18979 8586 0,'18'0'0,"-36"0"0,54 17 15,-18-17-15,-1 0 0,-17 18 16,17-18-16,2 36 16,-2-19-16,-17 0 15,18 1-15,-18 0 16,0 0 0,17-18-16,-17-18 31,17-18-16,-17 19-15,0 0 16,0-1-16,19 18 0,-19-18 16,17 18-16,-17-18 15,18 18-15</inkml:trace>
  <inkml:trace contextRef="#ctx0" brushRef="#br0" timeOffset="190292.47">19385 8674 0,'18'0'0,"0"-17"16,-18-1-16,0 0 16,17 18-1,-17-18-15,0 1 16,-17 52 31,17 1-32,17-19-15,-17 0 16,17-17-16,2 0 16,-2 0-1,1 0-15,-1-17 0,2 0 16,-2 17-16,-17-18 0,17 0 0,1 0 15,-1-87 1,2 86-16,-19 2 16,0-18-16,0 18 0,17-2 0,-17 2 15,0 0-15,0-1 0,0 53 47,0 18-31,0-35-16,-17 16 0,17-15 15,17-2-15,-17 1 0,0-1 0,0 2 16,17-2-16,-17 0 16,18-17-16,0 0 15,0-17-15,16-36 16,-16 35-16,-18 1 16,18-36-16,0-1 15,-18 37 1,17 17-16,-17-17 0,0 51 31,0 54-15,-17-69-1,34-2-15,-17 18 0,0-16 16,0-2-16,17 0 0,-17 1 0,19 0 16,-2-18-16,-17 18 0,18-18 15,-1 0-15,19 0 0,-19 0 0,37 0 16</inkml:trace>
  <inkml:trace contextRef="#ctx0" brushRef="#br0" timeOffset="191152.07">20250 8427 0,'-19'-17'0,"2"17"0,-18 17 16,18 1-1,-2-1-15,19 0 16,-17 2-1,34-2 1,2-17 0,-2 0-1,1 0-15,-1-17 16,0 17-16,2 0 16,-2 17-16,1-17 15,-1 0 1,2 0-16,-2 18 15,0-18-15,1-18 0,18 1 16,-19 17 0,0-36-16,1 19 15,0-1-15,-18 1 0,0-19 0,18 19 16,-18-1-16,0-18 0,17-34 16,-17 52-1,17 1-15,-17 0 0,0-2 0,0 2 16,0-1-16,-17 72 31,17-2-15,0-35-16,0 2 15,0-2-15,0 0 0,0 19 16,0-18-16,0-1 0,17-17 0,-17 17 16,19-17-16,-19 19 15,17-19-15,1 0 16,-1 0-16,2 0 15,-19-19-15,17 19 0,0 0 16,1 0-16,-1 0 16,2 19-1,15-19 1,-16 0 0,0 0-1</inkml:trace>
  <inkml:trace contextRef="#ctx0" brushRef="#br0" timeOffset="191307.55">20479 8321 0,'-18'0'15,"71"0"1,-36 0-1</inkml:trace>
  <inkml:trace contextRef="#ctx0" brushRef="#br0" timeOffset="191663.4">21061 8021 0,'17'-18'16,"-34"36"-16,53-53 0,-19 52 31,-17 37-15,0-37-16,0 0 0,0 2 15,0 16-15,0-18 0,0 2 0,0-2 16,0 0-16,0 1 0,0-1 0,17-17 16,-17 19-16,0-2 0,0 0 31,-34 1-16,15 0-15,-16 0 16,18-18 0,0 34-16,-2-15 15,19-2-15,-17 1 16,34-1-16,2-17 16,-2-17-16,0 17 15,1 0-15,18 0 16</inkml:trace>
  <inkml:trace contextRef="#ctx0" brushRef="#br0" timeOffset="192237.26">18645 9450 0,'0'36'15,"0"-1"1,0-18-16,17 0 0,-17 37 16,0-37-1,17 2 1</inkml:trace>
  <inkml:trace contextRef="#ctx0" brushRef="#br0" timeOffset="192872.55">18786 9345 0,'0'17'0,"17"18"15,-17-17 1,18 0 0,-18-1-1,17-17-15,-17 17 16,19-34 15,-2 17-15,-17-17-16,17 34 15,1-17 1,0 0-16,0 17 16,-1-17-1,-17 19 1,17-19 0,1 0-1,0-19 1,0 19-1,16-17 17,2 17-17,-18 0 1,-18-17-16,17 17 16</inkml:trace>
  <inkml:trace contextRef="#ctx0" brushRef="#br0" timeOffset="193286.31">19155 9167 0,'0'-17'0,"-17"17"15,17 36 17,0 52-17,17 17 1,-17-69-16,0-1 0,0 18 15,0-18-15,0 1 0,19-19 0,-19 37 16,0-37 0,0 0-16,17-17 0,-17 18 15,0-53 1,0 18 0,18-2-16,-18 2 0,17-54 15,-17 54-15,19-18 0,-19 16 16,17 2-16,-17 0 0,17-1 0,-17 0 15,18 18-15,-18-18 0,18 18 16,0 0-16,-1 0 16,-17 18-16,17 0 15,-17 0 1,0-1-16,0 0 0,-17 19 16,17-18-16,-17-18 15,17 17-15</inkml:trace>
  <inkml:trace contextRef="#ctx0" brushRef="#br0" timeOffset="194040.58">19438 9045 0,'17'0'16,"-34"34"31,17 2-31,0-18-16,0-1 15,0 19 1,17-36-16,-17 17 0,0 1 15,0-1 1,0 2-16,19-19 16,-19 17-16,0 0 15,17 1 1,1-18 0,-1 0-1,2 0 1,15-18-1,-34 1-15,35 0 16,-35-2 0,19 2-1,-19-1-15,17 53 47,-17-16-31,17-2-1,-17 0-15,36-34 32,-18 17-32,-1-17 15,0 17-15,1-19 16,0 38 0,17 15 15,-18 20-31,-17-37 0,19 0 15,-19 19-15,17-18 0,-17 70 16,18-71-16,-18 0 16,-18 19-16,18-1 0,0-16 15,-17-2-15,-2 0 16,2 1-16,0-18 16,-37-18-1,37 18-15,-18-17 0,-54 0 16</inkml:trace>
  <inkml:trace contextRef="#ctx0" brushRef="#br0" timeOffset="194364.75">18645 9274 0</inkml:trace>
  <inkml:trace contextRef="#ctx0" brushRef="#br0" timeOffset="195300.14">20514 9097 0,'-53'18'0,"35"0"0,18-1 0,-17 0 16,0 19-16,-1-18 16,18 18-16,-18-19 0,18 18 0,-18-18 0,18 54 15,0-53 1,0 0-16,0-1 0,18 0 16,0 19-1,0-36-15,-1 0 0,0 0 0,1 0 16,0 0-16,17-17 0,-18 17 15,19-19-15</inkml:trace>
  <inkml:trace contextRef="#ctx0" brushRef="#br0" timeOffset="196308.34">20779 9203 0,'-36'-17'15,"19"17"-15,0 0 16,17 17-16,-19-17 15,2 18-15,-1-1 16,18 2-16,-17 15 16,17-16-16,0-1 15,0 2-15,0-2 0,17-17 16,-17 17-16,18-17 16,-1 0-16,2 0 15,-2 0-15,-17-17 0,17 0 16,-17-2-1,0 2-15,18 17 16,-18-18-16,0 1 16,18 34 31,0 1-32,-1-1 1,-17 2-16,17-19 0,1 0 15,0 0 1,0-19-16,-1 19 0,0-17 16,2-18-1,-2 35-15,-17-17 16,18-2 0,-18 2-16,0-1 15,36 36 32,-19-18-31,0 17-1,1-34 1,-1 17-16,2-18 31,-2 18-31,-17-17 16,17 17-1,1 0 1,-18 17 0,18 1-1,0-18 1,-18 17-16,17-17 16,0 0-16,2 0 0,-2-17 15,1 17 1,-1-18-16,0 1 15,-17-2-15,19 19 16,-19-17-16,0 0 0,17-1 16,1 0-1,-18 0 1,17 1 15,2 34 0,-19 1-31,0 0 16,17-18-16,0 18 0,1-1 16,-18 0-16,17 2 15,-17-2 1,-17 1 0,-1-1-1,1 2 1,0-19-1</inkml:trace>
  <inkml:trace contextRef="#ctx0" brushRef="#br0" timeOffset="197269.26">21678 9009 0,'-17'0'0,"-18"18"16,16 0-1,19-1-15,-17-17 16,17 17-16,-17 1 16,17 0-1,0 0 1,0-1-16,17-17 15,0 0 1,2 0-16,-19-17 16,17 17-1,1-18-15,-18 0 16,17 18 0,-17-18-1,17 36 16,2 0-15,-2-18 0,1 0-1,-1 0-15,2 0 16,15-18 0,-34 0-16,18 1 15,-18 0-15,0-1 16,18 0-16,-18-17 0,0 18 15,0-2-15,0 2 0,0-1 0,0-16 16,0 15-16,0 2 16,0-1-16,0-18 15,0 19 1,-18 53 0,18 16-1,0-33 1,0-2-16,0 54 15,0-54-15,18 0 16,-18 1-16,18 0 16,-18 0-16,17-18 0,0 0 15,1 0-15,18 0 16,-36-18-16,17 18 16,0-18-16,19 0 15,-36 1-15,18 0 16,-1 17-1,2 17 1,-2 0 15,-17 1-31,0 0 16</inkml:trace>
  <inkml:trace contextRef="#ctx0" brushRef="#br0" timeOffset="197407.48">22190 8745 0,'0'-18'16</inkml:trace>
  <inkml:trace contextRef="#ctx0" brushRef="#br0" timeOffset="197586.27">21802 8903 0,'-17'0'0,"69"-17"31,-16 0-15,-19 17-16,18 0 16,-17 0-16</inkml:trace>
  <inkml:trace contextRef="#ctx0" brushRef="#br0" timeOffset="198159.13">22349 8815 0,'-35'18'15,"16"18"1,19-19-16,0 0 0,-17 18 16,17-16-1,0-2 1,0 0-16,0 1 0,17 0 15,2-18 1,-2-18 0,1 0-1,-1 18-15,-17-17 0,0 0 16,0-2-16,17 19 0,-34-17 16,17-1-16,0 1 15,0 0 1,0-2-16,-17 19 31,51 19 0,-15-2-15,-2 0 0,-17 1-1,18-18 1,-18 17-1,17-17 1,2 0 0,-2 0-1,0-17 1,1 17 0,-1 0-16,2 0 15,-2 0 1</inkml:trace>
  <inkml:trace contextRef="#ctx0" brushRef="#br0" timeOffset="198918.7">20426 9785 0,'35'-18'0,"-17"18"16,34-17-16,55-19 15,-55 19-15,1-1 16,1 1-16,16 0 0,53-19 15,-70 1-15,18 16 0,0 2 0,70-35 16,-89 33-16,1 2 16,-18 17-16,1-17 0,-1 17 0,-17-18 0,0 18 15,-1 0 1,-34 18 0,-54 35-1,18-36-15,18 1 0,-18-1 16,-1 19-16,-51 16 15,52-33-15,1-2 0,16 18 0,1-18 0,18-17 16,-2 19-16,-16-2 16,70-17-1,1-17-15,16-2 0,55-16 16,-37 18 0,-18 0-16,19-2 0,0 2 0,141-54 15,-159 54-15,-1-18 16,1 16-16,1 2 0,-2 0 15</inkml:trace>
  <inkml:trace contextRef="#ctx0" brushRef="#br0" timeOffset="-209522.09">1306 15147 0,'0'0'0,"123"18"0,-35-18 15,-35 0-15,35 18 16,-52-18-16,-19 0 16,18 0 15,-16 0-16,-2 35-15,54-18 16,-1 1-16,18-18 0,18 0 16,52 53-16,-34-36 15,18-17-15,51 19 16,19-19-16,17 0 16,1 0-1,-37 0-15,19 17 0,-17 18 16,34-16-1,-53 15-15,36 1 0,-53-16 16,17-2-16,-18 18 16,-34-17-1,-1-18-15,1 18 0,-1-1 16,-34 0-16,51 19 16,1-36-1,-53 0-15,54 18 0,-18-18 16,34 0-1,-52 0-15,52 0 16,37 0 0,-36 0-16,17 0 0,18 0 15,-52 0 1,51 0-16,-34 0 0,-1 0 16,-34 0-16,35 0 15,-54 0-15,37 0 16,-18 0-16,17 0 15,106 0 1,-125 0-16,37 0 16,-52 0-16,34 0 15,-18 0 1,-17 0-16,0 0 0,18 0 16,16 0-16,-51 0 15,-1 0-15,53 0 16,-18 0-1,36 0-15,18 0 0,-18 0 16,-37 0-16,37 0 16,36 0-16,-73 0 15,20 0 1,-54 0-16,1 0 16,34 0-16,-18 0 15,-16 0-15,-1 0 16,35 0-16,1 0 15,17 0-15,-18 0 16,196 0 0,-179 0-16,1 0 15,-17 0-15,-36 0 16,36 0-16,-55 0 16,-15 0-16,-18 0 15</inkml:trace>
  <inkml:trace contextRef="#ctx0" brushRef="#br0" timeOffset="-206714.49">5786 7315 0,'17'0'125,"1"0"-109,35 0-16,-36 36 15,19-36-15,35 0 16,-2 0-1,38 0-15,16 0 0,-17 0 16,70 0-16,-34 0 16,-1 0-16,35 0 15,-35 0 1,-18 0-16,-34 0 0,34 0 16,-16 0-1,-19 0-15,0 0 0,70 0 16,-70 0-16,18 18 15,-36-18 1,54 17-16,-18 0 0,52 19 16,-87-36-1,18 18-15,-1-1 16,-17-17-16,52 0 16,1 36-16,-2-36 15,-32 0-15,32 0 16,-34 0-16,-17 0 15,0 0-15,-1 0 16,-52 0-16,-1 0 16</inkml:trace>
  <inkml:trace contextRef="#ctx0" brushRef="#br0" timeOffset="-204691.75">12841 8074 0,'36'0'110,"34"0"-95,18 0-15,18 0 0,52 0 16,1 0-16,36 0 16,17 0-16,-2 0 15,20 0 1,-18 0-16,0 0 0,0 0 15,-2 0-15,2 0 16,0 0 0,-53 0-16,-18 0 0,18 0 15,-35 0 1,-55 0-16,-15 0 16,-37 0-16</inkml:trace>
  <inkml:trace contextRef="#ctx0" brushRef="#br0" timeOffset="-192801.43">29263 7686 0,'0'-17'125,"0"-1"-109,-36 0-16,-16 18 15,16-18-15,-34 1 16,18 17-16,-55-53 16,36 35-16,-34 1 15,0-19-15,-37 1 16,1 18-16,0-19 16,-18 19-1,0-1-15,-35 1 0,54-19 16,16 19-16,-35-1 15,-17 0 1,-36-34-16,53 34 0,-18 0 16,37 0-16,-196-16 15,248 34 1,-17 0 0,-19 0-16,53 0 15,-17 0-15,17 0 0,-34 0 16,-36 0-1,53 0-15,-36 0 16,-18 0-16,-16 0 16,18 0-16,-2 0 15,18 0-15,0 0 16,36 0-16,0 0 16,0 0-1,35 0-15,1 0 0,-1 0 16,35 17-1,-35-17 1,18 35-16,-1-17 16,19-18-16,-19 18 15,19 16-15,-35-34 16,33 18 0,2-18-16,-18 36 0,16-36 15,2 17-15,17 0 16,-17 2-1,17 16-15,0-18 16,0 0-16,0 2 16,0 16-1,0 35 1,0-16-16,0-2 16,0-16-1,0-19-15,0 0 16,0 19-1,0-1 1,0-16 0,17 15-16,0 1 15,2-16 1,-2-2 0,1 18-1,-1 1 1,2-36-16,-19 17 15,52-17-15,-16 35 16,16-17 0,-34-18-16,0 0 0,35 18 15,-18-18 1,35 17-16,-35 0 0,18-17 16,-17 0-1,34 19-15,-17-2 16,52-17-16,-34 0 15,0 0-15,53 0 0,-36 0 16,17 0 0,-16 0-16,-19 0 15,0 0-15,-16 0 16,16 0-16,-16 0 16,16 0-1,-35 0-15,-18 0 16,2 0-16,16 0 15,-1 0-15,20 0 16,-1 0 0,0 0-16,-18 0 0,36 0 15,-18 0-15,18 0 16,-19 0 0,18 0-16,-16 0 0,-20 0 15,20 0 1,16 0-16,1 0 0,0 0 15,-1 0-15,-18 0 16,19 0-16,-18 0 16,-18 0-1,18 0-15,1 0 0,16 0 16,-18 0 0,19 0-16,0 0 15,35 0-15,-36 0 0,19 0 16,16 0-1,37 0-15,-54 0 16,53 0-16,-36 0 16,2 0-16,16 0 15,-17 0-15,0 0 16,16 0-16,-32 0 16,-2 0-16,-18 0 15,1 0 1,0 0-16,-19 0 0,1 0 15,-18-17-15,18-2 16,-36 19 0,19-17-16,-1 17 0,1 0 15,-1-35 1,-18 35-16,19-18 0,52 18 16,-53-18-1,35 1 1,-34 0-16,-1-1 15,-18 18 1,2-18 0,-19 0-1,0-16-15,0 15 16,0 2 0,0-18-1,0 18-15,0-19 16,-19 18-16,19-18 15,-34 19 1,16 0-16,18-1 16,-17 0-16,-2 0 31,2 18 47</inkml:trace>
  <inkml:trace contextRef="#ctx0" brushRef="#br0" timeOffset="-169215.37">18821 1054 0,'0'53'16,"-18"-35"-16,18-1 0,0 0 15,0 2-15,0-2 0,0 18 16,0-18-16,0 2 16,0-2-16,0 1 0,0 18 15,0-19 1</inkml:trace>
  <inkml:trace contextRef="#ctx0" brushRef="#br0" timeOffset="-168578.22">18979 1107 0,'-17'0'0,"17"18"16,0-1 0,0 19-1,0-19-15,17 18 16,-17-18-16,18-17 0,0 0 16,0 19-1,-1-2-15,0-17 0,2 0 16,-2 0-1,-17-17-15,18 17 0,-18-19 16,17 19-16,-17-34 16,-17 16-1,17 1 1,-18-2-16,18 2 0,-17 0 16,-2-1-1</inkml:trace>
  <inkml:trace contextRef="#ctx0" brushRef="#br0" timeOffset="-168237.76">19209 1019 0,'0'18'0,"0"-1"15,0 0-15,0 1 0,0 0 0,17 0 16,-17 16 0,19-15-16,-2 16 15,0-35-15,1 17 16,0-17-16,17 0 16,-18 0-1,19-17 1,-36-1-16,0 1 0,0-2 15,0 2-15,0-18 16,-18 17 0,18 0-1,-35 1 1,35 0-16</inkml:trace>
  <inkml:trace contextRef="#ctx0" brushRef="#br0" timeOffset="-167981.59">19950 966 0,'-36'17'31,"19"19"-15,-1-18-16,18-1 0,-36 54 15,19-54-15,17 0 16,-17 2-16,-1-2 0,18 1 16,-18-18-16,18 17 0,-18 0 0</inkml:trace>
  <inkml:trace contextRef="#ctx0" brushRef="#br0" timeOffset="-167796.09">19685 1071 0,'36'0'47</inkml:trace>
  <inkml:trace contextRef="#ctx0" brushRef="#br0" timeOffset="-167665.77">19967 1178 0,'18'0'0,"-1"-19"16</inkml:trace>
  <inkml:trace contextRef="#ctx0" brushRef="#br0" timeOffset="-166862.39">21078 825 0,'0'-18'94,"-35"36"15,18 16-93,0-34-16,-2 19 0,-16 33 16,35-33-1,-17-19-15,17 17 0,-19 0 16,19 1-16,0 0 0,0 0 0,0-1 15,0 0 1,0 1-16,19 0 0,-2 0 0,18-1 16,-16-17-1,15 17 1,-16-17-16,-1-17 0,36 17 16,-35 0-16</inkml:trace>
  <inkml:trace contextRef="#ctx0" brushRef="#br0" timeOffset="-166599.67">21361 859 0,'0'-17'0,"0"70"46,0-18-30,0-16-16,0-2 0,0 0 0,0 1 16,0 0-16,-18 34 15,18-34-15,18 0 16,-18 0-16,17-18 16,2 17-1</inkml:trace>
  <inkml:trace contextRef="#ctx0" brushRef="#br0" timeOffset="-166261.61">21590 1019 0,'0'-18'16,"0"0"-16,-17 18 16,-1 0-16,-18 18 31,36 0-31,-17 0 15,17-1-15,-17 0 16,34-17 0,-17 18-16,17-18 15,1 0 1,0-18-16,0 1 16,-1 17-1,0-17 1,-17 34-1,0 0 1,19-17 0,-19 18-16,17-18 15</inkml:trace>
  <inkml:trace contextRef="#ctx0" brushRef="#br0" timeOffset="-165977.81">21907 949 0,'-17'0'16,"34"0"-16,-51 0 0,16 0 15,0 0 1,18 17-16,-18 0 16,18 1-1,18 0 1,-18 0-16,0-1 15,0 0 1,0 1-16,0 0 16,0 0-1,-18-1 1,1-17 0</inkml:trace>
  <inkml:trace contextRef="#ctx0" brushRef="#br0" timeOffset="-165645.65">22102 930 0,'-17'19'32,"-2"-19"-32,19 17 15,0 0-15,19 1 16,-19 0 0,17 17-16,-17-18 15,17-17-15,-17 18 0,0 0 16,0 0-1,-17-1 1,0-17 0,-2 0-1</inkml:trace>
  <inkml:trace contextRef="#ctx0" brushRef="#br0" timeOffset="-165258.45">22666 754 0,'0'36'15,"0"-19"1,0 1-16,0-1 0,0 0 0,0 2 15,0-2-15,0 1 0,0-1 0,0 2 16,0-2-16,0 0 16,0 1-16,0 0 0,0 0 15,0-1 1,17-17-16</inkml:trace>
  <inkml:trace contextRef="#ctx0" brushRef="#br0" timeOffset="-164877.72">22895 825 0,'36'0'16,"-18"0"-16,-1 17 0,0-17 15,1 36 1,-18-1 0,-18-35-16,18 36 15,-17-36-15,0 34 16,17-16-16,-18-18 0,18 18 0,-18 0 31,18-1-15,18 0-1,0-17 1,-1 0-16,36 0 16,-35 0-16,-1 0 15,0 0-15,19 0 0,-18 0 16,70-17-16</inkml:trace>
  <inkml:trace contextRef="#ctx0" brushRef="#br0" timeOffset="-163837.64">24306 878 0,'36'0'15,"-19"0"1,1 0-16,70 0 16,-35 0-16,-17 0 15,-1 0-15,70 0 16,-69 0-16,-1 0 0,-17 0 16,70 0-16,-70-19 15,-1 19-15,0 0 0,2 0 16,-19-17-16</inkml:trace>
  <inkml:trace contextRef="#ctx0" brushRef="#br0" timeOffset="-163529.29">24889 737 0,'34'17'15,"-15"-17"-15,-2 17 0,18 2 0,36-2 16,-54 1-16,2-18 16,-2 17-16,0 0 0,19 2 15,-18-2 1,-18 1-16,0-1 0,0 2 15,0-2-15,0 0 16,-18-17-16,18 18 0,-36 18 16,19-19-16</inkml:trace>
  <inkml:trace contextRef="#ctx0" brushRef="#br0" timeOffset="-162634.06">26387 578 0,'0'35'47,"0"1"-32,0-19-15,0 18 0,0-17 0,19 53 16,-19-54-16,0 1 15,0-1-15,0 0 0,0 37 16,0-37-16,0 2 16,0-2-16,0 0 15</inkml:trace>
  <inkml:trace contextRef="#ctx0" brushRef="#br0" timeOffset="-162349.53">26370 561 0,'-52'34'0,"33"-34"0,19 18 0,-34 18 16,16-36-16,18 17 15,-18 0-15,0 1 0,1 0 0,0 17 16,-2-18-16,2-17 16,17 19-1</inkml:trace>
  <inkml:trace contextRef="#ctx0" brushRef="#br0" timeOffset="-162114.55">26387 578 0,'0'0'0,"36"0"15,-18 17-15,-1-17 0,2 18 16,-2-18-16,18 36 16,-18-36-16,19 17 15,-19 0-15,1-17 16,0 18 0</inkml:trace>
  <inkml:trace contextRef="#ctx0" brushRef="#br0" timeOffset="-161403.77">27234 542 0,'-88'19'0,"71"-2"16,17 0-1,17 1-15,19 18 16,-36-19-16,17 0 0,1 1 16,35 18-16,-36-19 15,1 0-15,0 2 16,0 16-16,-18-18 16,-18 19-1,0-19-15,-34 1 16,33-1-1,2-17-15,-1 0 0,1 19 0,0-19 16,-2 0-16,2 0 16,-1 0-16</inkml:trace>
  <inkml:trace contextRef="#ctx0" brushRef="#br0" timeOffset="-160480.72">27553 701 0,'-19'-18'0,"2"54"31,17-18-16,-18-1-15,18 0 0,0 2 16,0-2-16,0 1 0,0 16 16,18-15-16,-18-2 15,36-17 1,-19 18-16,0-18 16,37-18-1,-54 1-15,17 17 0,18-36 16,-17 19-16,0-18 15,-1 35-15,-17-19 0,0 2 0,17 0 16,-17-1-16,19-35 16,-19 36-16,0-19 15,0 18-15,0 1 16,0 0-16,0-2 16,0 2-1,0 53 1,0-19-1,-19 35 1,19-33-16,0-2 0,0 0 0,0 1 16,0 0-16,0 34 15,-17-52-15,34 36 16,-17-18-16,19-18 31,-2 0-15,1 0-1,-18 17 1,17 0 0,-17 2-16,17-19 15,2 0 1,-2 17-16,1-34 0,18 17 16,-19-19-1,18 2 1,-17 0-16,0 17 15,-1 0 17,0 0-17,1 17-15,0-17 16,17 0 0,-18 0-16,19-17 15,-36-1 1,18 1-1,-18-2-15,-18 2 16,18 0-16,-17-1 0,-2 0 31,2 18-15,0 0-16,-1 18 0</inkml:trace>
  <inkml:trace contextRef="#ctx0" brushRef="#br0" timeOffset="-160179.54">28275 683 0,'18'0'0,"-1"0"0,-17 18 16,0 0-16,0 0 16,0-1-16,0 0 15,19 2 1,-2-19-1,-17 17-15,17-17 0,1 0 0,0 0 16,0-17-16,16 17 16,-34-19-1,0 2-15,0 0 16,0-1-16,-17 0 16,0 0-1,-19 18 16,18 0-15,18 18-16</inkml:trace>
  <inkml:trace contextRef="#ctx0" brushRef="#br0" timeOffset="-159965.08">28681 437 0,'0'34'32,"0"2"-17,0-18-15,-18-1 0,18 19 0,0-19 16,0 1-16,-17 52 16,17-52-16,0 0 0,0 0 0,0-1 15,0 19 1</inkml:trace>
  <inkml:trace contextRef="#ctx0" brushRef="#br0" timeOffset="-159677.62">27463 1107 0,'54'-18'16,"34"0"-1,-35 1-15,18 17 0,-18-17 16,70-1-16,-53 0 16,-16 0-16,16 18 0,-18-17 15,19 17-15,53-17 0,-89-2 16,1 19-16,-2 0 0,-16 0 15,35-17-15,-36 17 16</inkml:trace>
  <inkml:trace contextRef="#ctx0" brushRef="#br0" timeOffset="-159397.7">27287 1266 0,'107'-19'0,"-72"19"0,18 0 16,18-17-16,51 0 16,-51 17-16,0-18 0,-1 18 0,1-17 0,0-2 15,-19 19-15,160-34 16,-159 34-16,52-18 15,-69 18-15,-18 0 16,-1-18-16,0 18 0,19 0 16,-18 0-16,-1 0 15</inkml:trace>
  <inkml:trace contextRef="#ctx0" brushRef="#br0" timeOffset="-157349.9">19755 1583 0,'195'-17'15,"-124"17"-15,-19 0 0,125-19 16,-89 2-16,17 17 0,195-35 15,-176 17 1,87 0-16,1 1 16,-105 17-16,174-35 15,-210 35-15,-1-18 0,1 18 16,-18 0-16,18-18 16,-36 18-16,1 0 0,-19 0 0,18 0 15</inkml:trace>
  <inkml:trace contextRef="#ctx0" brushRef="#br0" timeOffset="-156924.48">20250 1742 0,'71'-17'0,"-142"34"0,194-34 0,71-19 16,-18 18-16,124-16 16,-212 15-1,19 19-15,-19 0 0,-17-17 0,-2 17 16,91-18-16,-108 18 16,19 0-16,-18 0 0,-18 0 0,18-17 15,-18 17-15,-17 0 16,0 0-16,-1 0 0,0 0 15,-17-19 1</inkml:trace>
  <inkml:trace contextRef="#ctx0" brushRef="#br0" timeOffset="-148833.3">22137 1671 0,'17'18'0,"-17"-1"0,0 2 16,0 15 0,0-16-16,0 0 15,0 0 1,0-1-16,19 0 0,-19 2 16,17-19-16,-17 17 0,17-17 15,1 0-15,0 0 0,0 18 16,-1-18-16,19 0 0,-1 0 0,-1 0 15,232-18 1,-178 18-16,0-17 16,18 17-16,212-36 15,-213 36-15,0-17 0,19 17 0,106-18 16,-106 18-16,122-18 16,-140 18-16,18 0 0,-2-18 0,108 1 15,-106 17-15,0 0 16,193-17-1,-212 17-15,-17-19 0,19 19 0,-36 0 16,87 0-16,-88 0 16,0 0-16,-16 0 0,-1 0 0,-1 0 15,-16 0-15,69-17 16,-86 17-16,16 0 0,-18 0 16,0 0-16,2 0 0,16 0 15,1 0 1,-19 0-1,0 0-15,1-18 16,-1 18 0,2 0 15,-19-17-15,17 0-1,-17-2-15,0-16 16,-17 18-1,17-2-15,0 2 16,0-18 0,0 17-16,0 0 15,0 1-15,0 0 16,0-1 0,-19 0-1,19 0 1</inkml:trace>
  <inkml:trace contextRef="#ctx0" brushRef="#br0" timeOffset="-148597.67">26477 1301 0,'-90'36'0,"73"-19"0,0-17 16,-1 17-16,-18 1 16,19 0-16,0-18 0,-1 18 15,0-1-15</inkml:trace>
  <inkml:trace contextRef="#ctx0" brushRef="#br0" timeOffset="-148387.74">26370 1337 0,'36'0'0,"-1"0"15,-18 0-15,2 0 16,-2 0-16,0 17 0,18-17 16,-16 0-1,-2 17-15,0-17 0,1 0 16</inkml:trace>
  <inkml:trace contextRef="#ctx0" brushRef="#br0" timeOffset="-140884.03">23759 1142 0,'71'-17'0,"-54"-1"0,19 0 0,-18 18 16,-1-18-16,2 1 0,-2 17 15,36-53-15,-53 35 16,18 1-16,-18 0 0,0-2 15,-18-52-15,0 54 16,-17-18-16,18-1 0,-73-16 16,56 34-16,-54-34 15,34 33-15,1 2 0,-16-1 16,15 1-16,1 0 0,-18-2 0,-141-33 16,2 16-1,122 19-15,-124-18 16,141 35-16,0-19 15,1 19-15,-230-17 16,229 0-16,0 17 16,1 0-16,-18-18 0,17 18 0,0 0 15,2-18-15,-2 18 0,1 0 16,-1 0-16,-17 0 0,17 0 0,-35 0 16,18 18-16,0-18 0,0 0 0,-88 18 15,105-1 1,0 0-16,1-17 0,-18 19 0,17-2 0,0 1 15,1 16-15,-72 20 16,72-37-16,-124 107 16,124-89-16,16 18 0,1-17 15,1 16-15,-1 1 0,-35 35 16,70-34-16,-18-20 0,2 2 16,16 16-16,-18-16 0,2 70 15,15-89-15,19 19 0,19 52 16,-19-71-1,17 19-15,18-1 0,71 36 16,-54-54-16,2 2 16,16-2-16,18 0 0,18-17 15,-17 18-15,16-18 0,1 0 0,0-18 0,17 18 16</inkml:trace>
  <inkml:trace contextRef="#ctx0" brushRef="#br0" timeOffset="-132677.58">26565 419 0,'17'0'31,"-17"18"-15,0-1-16,17-17 15,-17 17-15,0 2 0,0 16 0,18 70 16,-18-52-16,0 1 16,-18-1-16,18-1 0,0 1 15,0-18-15,18 1 0,-18-1 16,0 71-16,0-71 15,0 36-15,18-71 16,-18 17-16</inkml:trace>
  <inkml:trace contextRef="#ctx0" brushRef="#br0" timeOffset="-131978.05">26846 295 0,'248'-17'0,"-143"0"15,195-19-15,-194 36 16,0-18-16,0 1 0,-1 0 16,2 17-16,-19-19 0,17 19 0,-17-17 15,1 17-15,-1-18 0,0 1 0,-17 17 16,0 0-16,-1-19 0,1 19 15,-19 0-15,19-17 0,-35 17 0,-2 0 16,2 0-16,-1 0 0,-18 0 0,37 0 16,-37 0-1,0 0-15,2 17 0,-2-17 0,1 19 0,-1-19 16,19 35-16,-36-18 16,17 2-16,1-2 0,-18 0 15,17 1-15,2-1 0,-2 19 0,0-19 16,-17 19-16,18-1 0,35 53 15,-36-52-15,1 16 0,0-16 16,0 16-16,-1-16 0,19 52 16,-19-52-16,1-1 0,-1-1 0,-17 2 15,0-18-15,19 18 0,-19-19 16,-19 36 0,19-35-16,-17-1 0,-1 18 0,-18-17 0,2-18 15,-2 35-15,-16-18 0,-19 2 16,0-2-16,-299 35 15,264-33 1,0-2-16,0 1 0,-18-1 0,19 2 16,-19-2-16,1 0 0,-1-17 0,19 18 15,-2 0-15,2-18 0,17 18 0,17-18 16,1 17-16,16-17 0,20 0 16,16 0-16,1 0 0,-2 0 0,2 0 15</inkml:trace>
  <inkml:trace contextRef="#ctx0" brushRef="#br0" timeOffset="-93771.88">10371 2042 0,'-17'35'0</inkml:trace>
  <inkml:trace contextRef="#ctx0" brushRef="#br0" timeOffset="-90704.89">9507 2095 0,'-34'18'16,"15"-18"-16,2 17 16,-1 0-1,1 1 1,17 0-16,-17 0 0,17-1 0,0 0 15,-19 19-15,19-18 16,-17-1-16,17 19 0,0-19 0,0 1 16,-18 35-16,18-36 0,0 19 15,0-1-15,0-18 16,0 1-16,0 0 0,0 17 16,18-35-16,-18 17 0,17-17 15,2 19 1,-2-19-16,0 0 0,1 0 15,-1-19-15,2 19 0,-2 0 16,-17-17-16,17 17 16,-17-17-16,0-1 15,0 0 1,0 0 0,0 1-1,18 17 1,-18-17-16,18 17 15,0 0-15,16 0 16,-16 0-16,0 0 16,0 0-16,-1 17 0,0-17 15,-17 17-15,19-17 16,-19 18-16,17 0 16,-17 0-16,0-1 15,18-17-15,-18 17 0,0 2 16</inkml:trace>
  <inkml:trace contextRef="#ctx0" brushRef="#br0" timeOffset="-90069.05">9842 2394 0,'19'19'31,"-2"-19"-31,0 34 16,-17-16 0,0 0-16,18 0 0,-18-1 15,0 0-15,0 1 0,0 0 16,0 0-16,18-1 15,-18 0 1,0-51 15,18-2 1,-18 18-32,17 1 0,-17 0 0,17-1 15,2 0-15,-2 0 16,1 18-16,-1-17 15</inkml:trace>
  <inkml:trace contextRef="#ctx0" brushRef="#br0" timeOffset="-89719.71">10231 2342 0,'0'-19'16,"0"38"-16,-18-2 16,18 18-1,-18-16-15,18-2 16,18 36 0,-18-35-16,0-1 15,18 0-15,0-17 16,-1 18-16,0-36 15,1 18 1,-18-17-16,0 0 16,0-1-16,-18 0 15,18 0-15,-17 1 16,0 0 0</inkml:trace>
  <inkml:trace contextRef="#ctx0" brushRef="#br0" timeOffset="-89188.95">10425 2342 0,'0'-19'16,"-18"55"-16,36-53 0,-18 34 47,0 1-31,17-1-16,-17 2 15,0-2 1,0 0-1,19-17-15,-19 18 16,17-18 0,0-18-16,1 18 15,-1 0-15,-17-17 0,19 17 16,-2-17 0,0 17-16,1 0 15,-18 17 1,18-17-16,0 17 15,-1-17-15,0 0 16,1 0 0,0-17-16,0 17 15,-18-17-15,17 17 0,-17-19 16,17 2 0,2-1-1,-19 1-15,17-2 31</inkml:trace>
  <inkml:trace contextRef="#ctx0" brushRef="#br0" timeOffset="-89024.74">10866 2271 0,'35'88'62,"-35"-70"-62,17 70 47</inkml:trace>
  <inkml:trace contextRef="#ctx0" brushRef="#br0" timeOffset="-88867.98">10883 2113 0</inkml:trace>
  <inkml:trace contextRef="#ctx0" brushRef="#br0" timeOffset="-88543.76">11042 2306 0,'0'36'0,"-159"-248"15,318 441 1,-159-211-16,-159-282 16,335 510-1,-157-246 1,-19-17-16,-36-19 0,89 72 0,-35-55 31,-1 19-31,0 0 16,2 0-16,-2 19 31,1-19-31,-1 0 0</inkml:trace>
  <inkml:trace contextRef="#ctx0" brushRef="#br0" timeOffset="-87790.93">11554 2165 0,'-36'0'0,"36"-18"0,-35 36 32,35 35-17,18-36-15,-18 2 16,0 16-16,17 18 0,-17-36 15,0 1-15,17-1 16,-17 2-16,0 15 0,-17-16 16,17 18-16,-17-36 15,17 17-15,-18 0 16,1-34 15,34 0-15,-17-1-16,18 18 15,-1-18-15,0 0 16,2 18-16,-19-17 0,17 17 16,1 0-16</inkml:trace>
  <inkml:trace contextRef="#ctx0" brushRef="#br0" timeOffset="-87028.64">12206 2218 0,'0'-17'0,"0"51"32,0-15-32,0-2 15,0 1-15,0 35 16,0-36-16,0 18 0,0-16 15,0 15-15,0-16 16,0 0-16,0 0 0,0-1 16,17 0-16</inkml:trace>
  <inkml:trace contextRef="#ctx0" brushRef="#br0" timeOffset="-86652.45">12206 2147 0,'0'-17'16,"17"-18"-16,2 35 16,-2-18-16,1 18 0,-1 0 15,2 0-15,-2 18 16,0-18-16,1 0 0,-1 18 0,-17-1 16,36 0-16,-36 1 0,0 0 15,0 17 1,0 1-16,-17-19 15,-2 1-15,19-1 0,-17 0 16,-1-17-16,1 19 16,0-19-1</inkml:trace>
  <inkml:trace contextRef="#ctx0" brushRef="#br0" timeOffset="-86321.24">12506 2271 0,'53'123'31,"-53"-104"-15,18-19-16,-1 17 15,0-17-15,2-17 16,16-2 0,-35 2-16,0-18 15,0 16 1,0 2-16,0 0 16,-18-1-16,-18-18 15,19 36 1,0 0-16</inkml:trace>
  <inkml:trace contextRef="#ctx0" brushRef="#br0" timeOffset="-85851.73">12753 2095 0,'70'458'79,"-70"-334"-33,0-159-14,0-1-17,0-69 1,0 51-16,0 20 16,18 15-16,-18-33 15,18 33-15,0 2 0,-1 0 16,0-1-1,2 18-15,-443 0 0,883 0 16,-459 18 0,0-1-1,-18 0-15,18 2 16,-17-2-16,-2 1 0,2-18 16,17 17-16</inkml:trace>
  <inkml:trace contextRef="#ctx0" brushRef="#br0" timeOffset="-85084.22">13194 2201 0,'0'-18'16,"0"53"15,0 1 0,0-19-31,0 1 0,17-1 0,-17 0 16,0 2-16,18-2 15,-18 1 1,18-18-16,0 17 16,-1-17-16,0-17 15,2 17 1,-2-18-16,1 1 16,-18-2-1,17 2 1,2 34 15,-19 2-31,17 16 31,0-18-31,-17 2 16,18-19 0,-1 17-16,2-34 15,-2 17-15,-17-19 0,17 19 16</inkml:trace>
  <inkml:trace contextRef="#ctx0" brushRef="#br0" timeOffset="-84661.04">13653 1971 0,'0'35'15,"0"-16"1,0-2-16,17 18 0,-17-17 16,0 17-16,0-18 0,0 54 15,0-18-15,17-1 16,-17-16-16,0-18 15,0 18 1,0-19-16,19-17 16</inkml:trace>
  <inkml:trace contextRef="#ctx0" brushRef="#br0" timeOffset="-84149.97">14023 2201 0,'-17'-18'16,"-19"36"0,19-18-16,-1 17 15,0 0-15,0 2 0,1-2 16,17 1-16,-17-18 0,17 17 15,0 0-15,0 2 16,17-19 0,0 0-16,1-19 15,0 19 1,0-17-16,-1 17 0,-17-17 0,17 17 16,2 0-16,-2-18 15,1 36 1,-1-1-1,-17 0-15,0 2 16,0-2 0,17 1-16,2-1 15</inkml:trace>
  <inkml:trace contextRef="#ctx0" brushRef="#br0" timeOffset="-83892.81">14358 2006 0,'-17'36'32,"17"-1"-17,0-17-15,-18 17 16,18-18-16,0 19 0,0-18 0,0 16 15,-18 20-15,18-20 16,0-15-16,0-2 0,0 54 16,18-71-1,-18 17-15</inkml:trace>
  <inkml:trace contextRef="#ctx0" brushRef="#br0" timeOffset="-83544.55">14235 2306 0,'0'0'0,"18"0"16,34-35-1,-34 35-15,0 0 16,-1-17-16,0 17 0,19-19 15,-18 19-15,-1-17 0,2 17 0,-2-17 16,18 17-16,-18 0 16,2 0-1,-2 17 1,-17 0-16,0 2 16,0-2-16,17 1 15,-17-1-15,0 0 0,0 19 16,0-18-1,18-1 1,-18 2-16</inkml:trace>
  <inkml:trace contextRef="#ctx0" brushRef="#br0" timeOffset="-83395.94">14641 2059 0,'-18'0'15</inkml:trace>
  <inkml:trace contextRef="#ctx0" brushRef="#br0" timeOffset="-82757.7">14834 2218 0,'-17'36'15,"34"-72"-15,-34 89 0,17-18 0,0-18 16,0 2-16,0-2 0,0 1 16,0-1-1,17 2-15,2-19 16,-2 17-16,0-34 16,1 17-16,-1-19 0,2 19 15,-19-17-15,17-1 0,-17 1 0,0-2 16,17 2-16,-17 0 15,0-1-15,0 1 0,0-19 16,-17 19 0,0-1-1,-2 18 1,2 0-16,17 18 31,36 16-15,-19-34-1,-17 19-15,17-2 0,1-17 16,-18 18-16,18-1 16,0 0-16,-18 2 15,17-19-15,-17 17 16,17-17-16,2 0 16,-2 0-1,1 0 1,-1 0-16,19 0 15,-19 0 1,18 18 15,-16-18-31,-2 0 16</inkml:trace>
  <inkml:trace contextRef="#ctx0" brushRef="#br0" timeOffset="-73792.4">15629 2235 0,'34'-17'16,"-16"17"-16,18 0 0,-2 0 15,-16 0-15,0 0 0,17 0 16,1 0-16,-1 0 0,-18 0 16,2 0-16,-2 0 0,0 0 0,1 0 15,-1 0-15,2 0 0,-2 0 16,0 0-16,1 0 0,0 0 15,0-17 1,-1 17 0</inkml:trace>
  <inkml:trace contextRef="#ctx0" brushRef="#br0" timeOffset="-73455.76">15963 2059 0,'35'0'16,"-16"18"-16,-2-18 0,-17 18 15,17-18-15,19 18 0,-18-18 16,-1 17-16,0 0 0,2-17 0,-2 18 16,1 0-16,-1-18 0,0 18 0,2-1 15,-2 0-15,-17 2 0,18-2 16,-18 1-16,17-1 0,-34 0 16,17 2-16,0-2 0,-18 1 15,18-1-15,-17 19 0,-2-19 0,-15 1 16,16 0-16,1 0 0</inkml:trace>
  <inkml:trace contextRef="#ctx0" brushRef="#br0" timeOffset="-65614.84">16793 2006 0,'0'19'63,"0"-2"-48,0 0-15,0 1 16,0 0-16,17 0 0,-17-1 0,0 0 16,0 1-16,0 35 15,0-36-15,17 19 16,1-18-16,-18-1 15,18-17 1,0 0-16,-1 0 0,19-17 31,-19 17-31,-17-18 0,18 18 0,-18-17 16,17-2-16,2-15 16,-2 34-16,-17-18 0,0 0 15,17 0 1,1 36 31,-18 0-47,0 0 15,17-18-15,-17 17 0,0 0 16,19 2 0</inkml:trace>
  <inkml:trace contextRef="#ctx0" brushRef="#br0" timeOffset="-65157.15">17322 2059 0,'-19'54'0,"2"-20"15,17-16 1,0 0-1,0 0 17,17-36-17,2 0 1,-2 18-16,1 0 16,-1 18-1,2-18-15,-2 18 16,0-1-1,-17 0 1,18 2-16,-18-2 16</inkml:trace>
  <inkml:trace contextRef="#ctx0" brushRef="#br0" timeOffset="-64664.83">17622 2254 0,'35'-19'15,"-18"2"-15,0 17 16,2-35-1,-19 17-15,0 0 16,-19 36 47,2 18-48,34-19-15,-17 0 16,19 2-16,-19-2 15,17-17-15,18 18 16,-16-18 0,-2 0-16</inkml:trace>
  <inkml:trace contextRef="#ctx0" brushRef="#br0" timeOffset="-64204.08">17957 2183 0,'17'-18'15,"-34"54"-15,17-54 16,17 36 15,-17-1-15,0 0-16,0 2 16,17-19-1,19 0 16,-18-19-15,-1 19 0,0 19-1,2-19 1,-2 17 0,1-17 15,-1 0 0,2-17 0,-2 17-15,0 0 0,1 0-1,18 0 1</inkml:trace>
  <inkml:trace contextRef="#ctx0" brushRef="#br0" timeOffset="-63703.39">18450 2025 0,'0'52'15,"0"-104"-15,0 86 16,-17 54 0,17-52-1,0-1-15,0 1 0,0-1 0,-18-1 16,18-15-16,0 16 0,0 1 16,0-19-16,0 0 0,0 1 0,0 0 15,-17 34-15,17-34 16,0 0-16,0 0 15,0-1-15,17-52 32,1 17-17,-1-52 1,2 17-16,-2 0 16,0 18-16,-17 16 15,35-15 1,1 16-1,-19 18 1,1 0-16,-18 18 16,-18 16-1,-16 2 1,-2-1 0,18-35 15</inkml:trace>
  <inkml:trace contextRef="#ctx0" brushRef="#br0" timeOffset="-63264.05">19121 2359 0,'88'-17'16,"-71"17"0,2 0-16,15 0 0,20 0 15,-37 0-15,0 0 16,1 0-16,0 0 0,0 0 0,16 0 15,-15 0 1,-2 0 0,-17-19-1,18 19-15</inkml:trace>
  <inkml:trace contextRef="#ctx0" brushRef="#br0" timeOffset="-62925.9">19421 2201 0,'-18'0'0,"36"0"16,-1 0 15,19 17-16,-19-17-15,1 17 16,-1-17-16,2 19 0,15-2 16,-16-17-16,-1 18 0,2-1 15,-2 0-15,0-17 16,-17 19-16,18-19 0,-18 17 16,0 1-16,0-1 15,0 2-15,-18-2 16,1 0-16,0 1 0,-2 0 15,2 0 1,-18-1-16</inkml:trace>
  <inkml:trace contextRef="#ctx0" brushRef="#br0" timeOffset="-60975.59">15717 2818 0,'52'0'15,"-34"0"1,0 0-16,-1 0 0,0 0 16,37 0-16,-37 0 0,2 0 15,15-17-15,-16 17 0,-1 0 16,2 0-16,-2 0 0,18 0 16,-17 0-16,0-19 0,-1 19 15</inkml:trace>
  <inkml:trace contextRef="#ctx0" brushRef="#br0" timeOffset="-60708.79">16087 2694 0,'0'0'16,"35"0"-1,-18 19-15,19 15 32,-18-34-32,-18 18 0,17-1 15,-17 2-15,17-19 0,-17 17 0,19 18 16,-19-17-16,0 0 16,0-1-16,-19-17 0,19 17 15,0 1-15,0 0 16,0 0-16</inkml:trace>
  <inkml:trace contextRef="#ctx0" brushRef="#br0" timeOffset="-60074.87">16898 2677 0,'-35'17'0,"17"-17"15,0 19-15,-16-2 16,34 0-16,-18 1 16,0-1-16,0 19 15,18-19-15,0 1 0,-17 0 0,17 0 16,17-1-1,-17 0-15,18 1 0,0 0 16,17-18 0,-18 0-1,19 0 1,-18 0 0,-1 0-16,0 0 31,-17 18-31,19-18 0,-19 17 15,0 0 1,-19 19 0,2-18-16,17-1 15,-17-17-15,-1 19 0,0-19 16,0 17-16,1-17 0,0 17 0,-1-17 16,0 0-16,0 18 0,1-18 15,0 0-15,-2 0 16,2 0-16,17-18 15</inkml:trace>
  <inkml:trace contextRef="#ctx0" brushRef="#br0" timeOffset="-59745.83">17074 2730 0,'0'35'15,"0"-18"1,0 2-16,0-2 15,0 0-15,0 19 0,0-18 16,0-1-16,0 0 0,0 1 16,0 0-16,0 17 15,0-18 1</inkml:trace>
  <inkml:trace contextRef="#ctx0" brushRef="#br0" timeOffset="-59547.05">17005 2941 0,'0'-18'0,"0"36"0,17-36 15,0 1-15,1 17 16,-1 0-16,2 0 15,-2-17-15,0 17 0,1 0 16,0 0-16,0 0 0</inkml:trace>
  <inkml:trace contextRef="#ctx0" brushRef="#br0" timeOffset="-59076.63">17410 2835 0,'0'-17'0,"-53"52"15,35-17 1,18 0-16,-17-1 16,17 0-1,0 1-15,17-18 47,1 0-31,-1-18-1,2 18-15,-19-17 0,17 17 16,0 0 15,1 17-15,-1-17-16,-17 18 16,19-18-1,-19 18-15,17 0 16</inkml:trace>
  <inkml:trace contextRef="#ctx0" brushRef="#br0" timeOffset="-58755.72">17586 2889 0,'17'17'0,"2"-17"0,-19 17 15,0 1-15,17 0 16,-17 0-16,0-1 16,18-17-1,-18 17 1,17-34 15,0 0-15,2-1-16,-2 0 15,1 0 1,-1 1-16</inkml:trace>
  <inkml:trace contextRef="#ctx0" brushRef="#br0" timeOffset="-58318.67">17991 2889 0,'0'34'31,"0"2"-15,19-36-1,-19 18-15,17-1 0,-17 0 32,18-17-32,-1 0 15,-17-17 1,17 0 0,2 17-16,-19-18 0,17 0 15,-17 0 1,18 18-1</inkml:trace>
  <inkml:trace contextRef="#ctx0" brushRef="#br0" timeOffset="-57851.86">18327 2889 0,'0'0'0,"-36"0"32,36 17-32,-17-17 15,17 17-15,-17-17 16,17 18-16,0 0 16,17-18-1,-17 18 16,17-18-31,1 0 16,0 0 0,17 0-1,-18 0 1,2 0 0,16-18-16,18-18 15,-53 19 1,17 0-16,1 17 0,-1-18 15,2 0-15,-2 0 16,0 36 15,-17 0-31,18-18 16,-18 35-16,0-18 16,0 1-1</inkml:trace>
  <inkml:trace contextRef="#ctx0" brushRef="#br0" timeOffset="-57608.33">18574 2977 0,'35'-54'16,"-17"54"-1,17-17 1,-18 17-1,2 0 1,-2 17 0,-17 1-16,18-18 15,-18 18 1,0 0-16,17-1 16</inkml:trace>
  <inkml:trace contextRef="#ctx0" brushRef="#br0" timeOffset="-57480.86">18786 2818 0</inkml:trace>
  <inkml:trace contextRef="#ctx0" brushRef="#br0" timeOffset="-57220.88">18838 2835 0,'0'18'16,"0"-53"-16,0 52 0,0 19 0,0-18 16,0-1-1,19-17 16,33-17-15,-34 17 0,0 0 15,-1 0-15,0 0-16</inkml:trace>
  <inkml:trace contextRef="#ctx0" brushRef="#br0" timeOffset="-56660.9">15946 4123 0,'52'0'16,"1"0"15,-35 0-31,18 0 0,-19-17 0,0 17 15,19 0-15,-18 0 0,16 0 16,-15 0-16,33-19 0,-33 19 0,-2-17 16</inkml:trace>
  <inkml:trace contextRef="#ctx0" brushRef="#br0" timeOffset="-56421.83">16334 3982 0,'35'-17'0,"35"34"31,-52 0-31,0-17 0,0 18 0,-1 0 16,19 0-16,-19-1 0,1 0 0,16 19 15,-34-18-15,0-1 16,19 2-16,-38-2 0,19 0 0,-17 1 0,17-1 15,-17 19-15,-1-19 16,-18 37-16,19-37 0,0 0 16</inkml:trace>
  <inkml:trace contextRef="#ctx0" brushRef="#br0" timeOffset="-55064.82">17198 3911 0,'-35'36'16,"35"-18"0,-18-1-16,18 0 0,-18 1 15,18 18-15,0-19 0,-17 0 0,17 19 16,0-18-16,0-1 0,0 2 0,0-2 16,0 0-16,0 1 0,0-1 15,0 2-15,17-19 0,-17 17 0,18-17 16,18 0-1,-2-17 1,-15 17-16,-19-19 0,17 19 16,1-17-16,-18-1 15,17 18-15,-17-17 16,17 17-16,2 17 31,-19 1-15,17-1-1,-17 2 1,18-2 0,-1-17-1,2 0 1,15-17 0,-16-2-1,-1 19 1,2 0-1,-19 19 1,17-19-16,-17 17 16,17-17-16,1 17 15,0-17 1,0 0-16,-1 0 16,0-17-16,2 0 15,-2 17-15,-17-19 0,18 2 16,-1-18-16,19-36 15,-36 54-15,17-2 16,-17 2-16,0 0 0,18-1 0,-18 0 16,0 0-16,0 54 31,0 16-15,0-33-16,0 16 15,0-18-15,0 2 0,17 15 16,-17-16-16,19-1 15,-2 2-15,0-19 16,1 0-16,0 0 16,0-19-16,-1 2 15,0-1-15,1 1 0,-18 0 16,18-2-16,0-16 0,-18 18 16,17-2-16,-17-15 0,17 34 15,-17-18-15,0 0 0,19 0 16,-19 54 15,0-18-15,0-1-16,0 19 15,0-19-15,0 1 0,17 18 16,-17-19 0,0 0-16,0 1 0,18-1 15,-1-17 1,-17 19-1,17-38-15</inkml:trace>
  <inkml:trace contextRef="#ctx0" brushRef="#br0" timeOffset="-54888.17">18221 4087 0,'0'36'31,"0"-18"-31,0-1 16,0 2-16,0-2 16,0 0-1</inkml:trace>
  <inkml:trace contextRef="#ctx0" brushRef="#br0" timeOffset="-54676.89">17639 4106 0,'52'-19'15,"-33"19"1,16 0-16,35 0 15,-52-17-15,52 17 16</inkml:trace>
  <inkml:trace contextRef="#ctx0" brushRef="#br0" timeOffset="-54439.99">18379 3982 0,'-17'-17'16,"0"17"-16</inkml:trace>
  <inkml:trace contextRef="#ctx0" brushRef="#br0" timeOffset="-54052.43">18379 4035 0,'0'18'0,"0"-1"0,0 0 0,19 2 16,-19-2 0,0 18-1,0-16 1,0-2-16,0 0 15,17-17 1,18-17 0,-16 17-16,-2-17 15,0-2 1,18 19 0,-16 19-16,-2-19 15,-17 17 1,17-17-1,1 17-15,0-17 16</inkml:trace>
  <inkml:trace contextRef="#ctx0" brushRef="#br0" timeOffset="-53555.77">18786 4070 0,'-19'0'15,"38"0"1,-55 17-16,53 2 16,-17-2-16,0 1 15,19 35 1,-2-53-16,-17 35 0,0 1 15,0-19-15,0 0 0,0 1 16,-17-18-16,17 36 16,-19-36-16,19 17 0,-17 0 15,0-17 1,34-17 31,19-18-32,-19 35-15,-17-18 0,18 18 16,-1-18-16</inkml:trace>
  <inkml:trace contextRef="#ctx0" brushRef="#br0" timeOffset="-53195.35">19297 3877 0,'0'17'0,"0"0"0,0 19 16,0-18-16,0-1 15,0 18-15,0 1 16,0-2-16,0-15 0,18 16 16,-18-18-16,0 2 15,0-2-15,0 0 16,18-17-16,-18 18 15</inkml:trace>
  <inkml:trace contextRef="#ctx0" brushRef="#br0" timeOffset="-53011.09">19209 4177 0,'0'-19'0,"53"-16"31,-36 35-31,1 0 16,0 0-16,0-17 0,-1 17 15,0 0-15,1 0 0,-18-19 0,18 19 16</inkml:trace>
  <inkml:trace contextRef="#ctx0" brushRef="#br0" timeOffset="-52742.91">19491 4035 0,'18'18'16,"-1"35"15,2-36-31,-19 1 16,0-1-16,0 2 16,0-2-1,-54-176-15,125 318 16,-54-176 15,-17-2-31,18 2 16,18-1-1,-19 1 1,0 17-16,1 0 16</inkml:trace>
  <inkml:trace contextRef="#ctx0" brushRef="#br0" timeOffset="-52134.7">19826 4211 0,'17'-53'0,"2"36"15,-38 34 32,19 2-31,0-2 0,0 0-1,19-17-15,-19 18 16,17-18-16,1 0 15,18-18-15,-19 18 16,0-17-16,1 17 0,-1-17 0,2 17 16,-2-19-16,0 2 0,1 17 15,0-18-15,-18 1 0,18 17 16,-36 35 31,18-18-32,-18-17-15,18 19 32,36-19-32,-19-19 15,19 19 1,-19-17-16,1 17 16,-1 0-1,0 0-15,-17 17 0,19-17 16,-2 0-16,-17 19 15,18-2-15,-18 0 16,-18 18 0,1-35-1</inkml:trace>
  <inkml:trace contextRef="#ctx0" brushRef="#br0" timeOffset="-49529.16">17815 4582 0,'230'-17'0,"-160"17"16,18 0-16,0-19 0,19 19 0,-36 0 0,34-17 15,-17 17-15,-17 0 0,17-18 16,-18 18-16,1 0 0,0 0 0,-18 0 15,16-17-15,-15 17 0,-18 0 0,-2 0 16,20 0-16,-20 0 0,-16 0 16,18 0-16,-2 0 0,-15 0 15,-2 0-15,1-19 0,35 19 0,-36 0 16,1 0-16,-1 0 16,19 0-16,-19 0 0,1 0 15,18 0-15,-19 0 0,0 0 16,1 0-16,0 0 0,0 0 15,-1 0-15,0 0 0,2 0 0,-2 0 16,1 0-16,-1-17 0,2 17 0,-2 0 16,0 0-16,1-17 0,-1 17 15,2-18-15,-2 18 0,0-17 0,1 17 16,0-19-16,0 2 0,-18 0 16,17-1-16,0 18 0,2-18 15,-19-17-15,17 18 0,-17-2 0,0 2 0,18-1 16,-18 1-16,0-19 15,0 19-15,17-1 0,-17 1 0,0-19 16,0 19-16,0-1 0,0 0 16,0 0-16,0 1 0,0 0 15,0-1 1,0 0-16,0 0 16,-17 18 15,17-17-31,-18 17 0,1 0 15,-2-17 1,2 17-16,0 0 0,-1 0 0,0-19 0,0 19 16,-16-17-16,-2 17 0,1-18 15,-1 18-15,-16-17 0,-1 17 16,-18 0-16,-34-17 0,34-2 16,0 19-16,1 0 0,-1 0 0,0-17 15,-70 17-15,70 0 16,1 0-16,-89 0 0,19 0 15,69-18-15,1 18 0,16 0 16,1 0-16,-18 0 16,19 0-16,16 0 0,-52 0 0,-17 0 15,69 0-15,-16 0 16,-1 0-16,17 0 0,-52 0 16,36 0-16,16 0 0,1 18 15,16-18-15,-15 0 0,-1 0 16,16 0-16,-15 0 0,16 0 15,0 17-15,0-17 0,1 0 0,0 0 0,17 19 16,-19-19-16,2 0 0,-1 17 16</inkml:trace>
  <inkml:trace contextRef="#ctx0" brushRef="#br0" timeOffset="-48372.88">18150 4582 0,'-17'35'31,"-1"-35"-31,18 17 0,-17 2 15,-2-2-15,2 0 0,0 1 16,-1 0-16,1-18 0,-2 18 16,2-1-16,-18 0 0,-1 2 0,2-2 15,-54 18-15,34-18 0,1-17 16,1 19-16,-1-2 0,-71 1 16,53-18-16,-105 17 15,88-17-15,0 19 0,0-19 16,-1 0-16,1-19 0,0 19 15,-71 0-15,54-17 0,34 17 0,-17-18 16,-71 1-16,70 17 16,20-19-16,-21 2 0,2 0 15,-53-18-15,18-18 16,-18-1-16,88 20 0,1 15 16,-55-33-16,19-19 15,-36-17 1,89 52-16,-35-16 0,-1-18 15,36 51-15,-1-16 16,2 1-16,16-2 0,-18 1 16,-17-36-16,36 35 0,-18-16 0,18 16 15,-19 2-15,-35-73 16,36 36 0,-1 1-16,19 52 0,0-16 15,-1 16-15,18-18 0,-18 19 16,0 0-16,1-19 0,0 18 0,17 1 15,-36-19-15,36 19 16,-18-1-16,1 1 0,-2-2 0,2-15 16,17 16-16,-17-18 15,-1 36-15,1-17 0,17 0 16,-19 17-16,19-19 0,-17 2 0,0-1 16,-1 1-1,0 0-15,0-2 16,1 2-1,0-1 17,17 1-17,-18 17 1</inkml:trace>
  <inkml:trace contextRef="#ctx0" brushRef="#br0" timeOffset="-47921.69">13899 2977 0,'-34'53'0,"68"-106"15,-86 141-15,52-71 0,0 2 16,0-2-16,-18 0 0,18 18 16,-18-16-16,18-2 15,0 18-15,-17-17 0,17 17 0,-17-18 16,17 19-16,-19-18 16,19-1-16,-17 0 15,34-51 16,-17 16-15,0-18-16,0 19 0,19 0 16,-19-1-16,17 0 15,-17 0-15,0 1 0,17 0 0,-17-2 16,18 19-16,0-17 0,-18-1 16,18 18-16,-1 0 15,0 0-15,1-17 0,0 17 16,0 0-16,-1 0 0,19 17 0,-1-17 15,-18 0-15,0 0 16,54 0-16,-52 0 16</inkml:trace>
  <inkml:trace contextRef="#ctx0" brushRef="#br0" timeOffset="-102090.2">17691 16665 0,'36'0'78,"-1"0"-62,72 0-16,34 0 16,123 34-1,71-34-15,53 0 16,194 0-16,177 0 16,105 0-16,0 0 0,177 0 15,194 0 1,17 0-16,-71 0 15,19 0-15,-53 0 16,-159 0-16,-124 0 16,-193 0-16,-90 0 15,-352 0-15,-70 0 16,-106 0 0,-35 0-16</inkml:trace>
  <inkml:trace contextRef="#ctx0" brushRef="#br0" timeOffset="-99882.1">32809 8145 0,'17'70'16,"0"72"-1,19 16 1,-18 54-16,16 18 0,2-20 16,-18 2-16,18 54 15,16-2 1,1 106-16,18 36 0,70 511 15,-89-405 1,37-1-16,-71-70 16,34 18-1,-52-35-15,53-19 0,-17 0 16,-36-122 0,0 17-16,0-53 0,0-18 15,0 18 1,0-18-16,0-17 15,0-89-15,0-17 16,0-54-16,0-16 16,0-18-16,0 18 15,0-19-15,0 0 16,0 1-16,0-1 16,0 2 62,0-2 47,-19-17-78,-121-17-32,-20-19 1,20 18-16,-18 1 15,-20 0-15,20-37 16,-18 18-16,52 36 16,36-17-16,17 17 15,-17 0 1,71 0-16</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005"/>
    </inkml:context>
    <inkml:brush xml:id="br0">
      <inkml:brushProperty name="width" value="0.025" units="cm"/>
      <inkml:brushProperty name="height" value="0.025" units="cm"/>
      <inkml:brushProperty name="ignorePressure" value="1"/>
    </inkml:brush>
  </inkml:definitions>
  <inkml:trace contextRef="#ctx0" brushRef="#br0">25 5,'0'-4,"0"7,0 7,0 8,0 3,0 4,0 1,0 2,0-2,0 2,0-1,-5 0,-1-2,0 2,2-2,1-4</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318"/>
    </inkml:context>
    <inkml:brush xml:id="br0">
      <inkml:brushProperty name="width" value="0.025" units="cm"/>
      <inkml:brushProperty name="height" value="0.025" units="cm"/>
      <inkml:brushProperty name="ignorePressure" value="1"/>
    </inkml:brush>
  </inkml:definitions>
  <inkml:trace contextRef="#ctx0" brushRef="#br0">0 16,'13'0,"9"0,4 0,4 0,0 0,0 0,-2 0,0 0,-2-4,1-3,-6 2</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933"/>
    </inkml:context>
    <inkml:brush xml:id="br0">
      <inkml:brushProperty name="width" value="0.025" units="cm"/>
      <inkml:brushProperty name="height" value="0.025" units="cm"/>
      <inkml:brushProperty name="ignorePressure" value="1"/>
    </inkml:brush>
  </inkml:definitions>
  <inkml:trace contextRef="#ctx0" brushRef="#br0">24 1,'7'15,"-2"-1,0 1,-1 0,0 1,-1 0,0 0,-2-2,0 2,-2 32,-6 10,-18 79,5-25,16-89</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389"/>
    </inkml:context>
    <inkml:brush xml:id="br0">
      <inkml:brushProperty name="width" value="0.025" units="cm"/>
      <inkml:brushProperty name="height" value="0.025" units="cm"/>
      <inkml:brushProperty name="ignorePressure" value="1"/>
    </inkml:brush>
  </inkml:definitions>
  <inkml:trace contextRef="#ctx0" brushRef="#br0">0 52,'320'-12,"9"-1,-142-1,-11 1,-153 13</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980"/>
    </inkml:context>
    <inkml:brush xml:id="br0">
      <inkml:brushProperty name="width" value="0.025" units="cm"/>
      <inkml:brushProperty name="height" value="0.025" units="cm"/>
      <inkml:brushProperty name="ignorePressure" value="1"/>
    </inkml:brush>
  </inkml:definitions>
  <inkml:trace contextRef="#ctx0" brushRef="#br0">193 1,'-176'163,"175"-163,-1 1,1 0,0-1,1 2,-2-1,1 0,0 1,1-1,-2 0,1-1,1 2,-1 0,1 0,-2-1,2 0,0 1,-1-1,1 0,0 1,0-1,0 0,0 2,0-2,0 1,0-1,0 0,0 3,1-2,1-1,0 2,0-2,-1 0,0 1,1-1,0 0,0 1,0-1,0 0,0 1,0-2,0 1,0 0,4 1,10 2,0-2,0 1,30 0,15-3,232-4,-269 0,-1-2</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7.736"/>
    </inkml:context>
    <inkml:brush xml:id="br0">
      <inkml:brushProperty name="width" value="0.025" units="cm"/>
      <inkml:brushProperty name="height" value="0.025" units="cm"/>
      <inkml:brushProperty name="ignorePressure" value="1"/>
    </inkml:brush>
  </inkml:definitions>
  <inkml:trace contextRef="#ctx0" brushRef="#br0">138 1,'-2'12,"-1"0,0 0,-1 0,-1-1,-8 18,-15 40,1 46,-17 52,36-143</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8.679"/>
    </inkml:context>
    <inkml:brush xml:id="br0">
      <inkml:brushProperty name="width" value="0.025" units="cm"/>
      <inkml:brushProperty name="height" value="0.025" units="cm"/>
      <inkml:brushProperty name="ignorePressure" value="1"/>
    </inkml:brush>
  </inkml:definitions>
  <inkml:trace contextRef="#ctx0" brushRef="#br0">24 1,'0'9,"0"7,0 6,0 2,0 2,0 2,0 0,-4-1,-1 1,-2-3,3 2,0-6</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9.116"/>
    </inkml:context>
    <inkml:brush xml:id="br0">
      <inkml:brushProperty name="width" value="0.025" units="cm"/>
      <inkml:brushProperty name="height" value="0.025" units="cm"/>
      <inkml:brushProperty name="ignorePressure" value="1"/>
    </inkml:brush>
  </inkml:definitions>
  <inkml:trace contextRef="#ctx0" brushRef="#br0">0 27,'9'-4,"7"-3,6 2,3 1,2 0,1 2,-6 1</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048"/>
    </inkml:context>
    <inkml:brush xml:id="br0">
      <inkml:brushProperty name="width" value="0.025" units="cm"/>
      <inkml:brushProperty name="height" value="0.025" units="cm"/>
      <inkml:brushProperty name="ignorePressure" value="1"/>
    </inkml:brush>
  </inkml:definitions>
  <inkml:trace contextRef="#ctx0" brushRef="#br0">73 0,'-4'9,"-1"7,0 6,-1 3,4 2,-5-5,0 1,2-2,0 2,2 0,-4 2,1-1,0 3,1-6</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696"/>
    </inkml:context>
    <inkml:brush xml:id="br0">
      <inkml:brushProperty name="width" value="0.025" units="cm"/>
      <inkml:brushProperty name="height" value="0.025" units="cm"/>
      <inkml:brushProperty name="ignorePressure" value="1"/>
    </inkml:brush>
  </inkml:definitions>
  <inkml:trace contextRef="#ctx0" brushRef="#br0">1 31,'749'-20,"-705"16,-12 0,2 2,-1 1,0 1,54 9,-64-3</inkml:trace>
</inkml:ink>
</file>

<file path=ppt/ink/ink8.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4:43:30.288"/>
    </inkml:context>
    <inkml:brush xml:id="br0">
      <inkml:brushProperty name="width" value="0.05292" units="cm"/>
      <inkml:brushProperty name="height" value="0.05292" units="cm"/>
      <inkml:brushProperty name="color" value="#0070C0"/>
    </inkml:brush>
  </inkml:definitions>
  <inkml:trace contextRef="#ctx0" brushRef="#br0">2152 1557 0,'-35'0'16,"18"-18"-16,157 18 46,-87 0-46,18-17 16,105 17-16,-70 0 0,246-19 16,-228 19-16,123-17 15,-123 17 1,140 0-16,-140 0 0,105 0 16,-18 0-16,-140 0 15,87 0-15,-104 0 0,16 0 16,18 0-16,-52 17 15,-18-17-15,16 0 0,-15 0 16</inkml:trace>
  <inkml:trace contextRef="#ctx0" brushRef="#br0" timeOffset="309.58">3616 1857 0,'36'0'16,"-2"0"-16,2 0 0,-1 0 15,89-18-15,17 18 16,-1-17-16,-50 17 15,-21 0-15,91 0 0,-91 0 16,21 0-16,50 0 16,-16 0-16,-71 0 15,35 0-15,-53 0 0,1 0 16,34 0-16,-35 0 16</inkml:trace>
  <inkml:trace contextRef="#ctx0" brushRef="#br0" timeOffset="1690.55">13458 869 0,'107'0'15,"-72"0"-15,-18 0 0,2 0 16,15 0-16,-16 0 0,-1 0 16,19 0-16,-1 0 0,-17 0 15,0 0-15,-1-18 0,0 18 0,1 0 16,0 0-16,0 0 0,-1 0 16</inkml:trace>
  <inkml:trace contextRef="#ctx0" brushRef="#br0" timeOffset="2017.7">13829 639 0,'35'0'16,"-17"18"-16,0-18 0,35 18 15,-36 0-15,1-1 0,18 0 16,-19 2-16,0-19 0,37 52 16,-20-16-16,-34-19 15,18 18-15,-18 1 0,0-19 16,-18 1-16,18 0 15,-17 17-15,-19 0 0,-33 35 16,50-51-16,2-19 16</inkml:trace>
  <inkml:trace contextRef="#ctx0" brushRef="#br0" timeOffset="2871.85">15646 358 0,'-18'-19'15,"0"19"-15,-16 0 16,34 19 0,-19-19-16,2 17 0,-1 1 15,1-1-15,0 0 0,-37 54 16,18-35-16,19-1 0,0 1 0,-1 16 15,-18-16-15,36-2 0,-34 20 16,34-37-16,0 0 0,0 19 16,-18-18-16,18-1 0,18 2 15,-18-2-15,0 18 16,17-17-16,0 0 0,2-1 16,-2-17-16,1 0 0,-1 17 0,0-17 15,19 0-15,-1 0 16,-16 0-16,-2 0 0,18 0 0,-18-17 15,19 17-15,-19 0 0,1-17 16</inkml:trace>
  <inkml:trace contextRef="#ctx0" brushRef="#br0" timeOffset="3200">15910 763 0,'-17'-36'0,"0"36"15,17 19 1,-19-2-16,2 35 31,17-33-31,0-2 0,17 1 16,-17-1-16,19-17 16,-19 19-16,17-19 15,18 0-15,-17-19 16,0 2-1,-18-1-15,0 1 16,0-19 0,0 19-16,-18-1 15,18 1-15,-18 17 0,18-19 16,-18 19-16,1-17 16</inkml:trace>
  <inkml:trace contextRef="#ctx0" brushRef="#br0" timeOffset="3557.73">16069 675 0,'0'18'0,"0"-36"0,17 36 0,-17-1 16,19 0-16,-19 2 15,17-2-15,-17 1 16,18-1-16,-18 0 16,17-17-1,-17 19 1,17-19-16,2-19 16,-2 19-1,1 0 1,-1 0-16,2 0 15,-2 0 1,0 19-16,1-2 16,0-17-16,-18 18 15,18-18-15,-1 0 16</inkml:trace>
  <inkml:trace contextRef="#ctx0" brushRef="#br0" timeOffset="3784.97">16616 517 0,'0'-19'0,"0"2"31,17 70 1,-17-36-32,0 18 15,0 1-15,19 69 16,-19-86-16,0 16 15,0-18-15,17 0 0,-17 19 16,0-18-16,17-1 0,-17 2 16</inkml:trace>
  <inkml:trace contextRef="#ctx0" brushRef="#br0" timeOffset="4113.55">16545 798 0,'0'-17'15,"36"17"1,-19 0-16,1-18 16,18 18-16,-19 0 15,0-17-15,19 17 0,-18-19 16,-1 19-16,0 0 0,2 0 15,-2 0-15,1-17 16,-1 17 0,0 17-16,-17 2 15,19-19-15,-19 17 16,0 1-16,17-1 0,-17 0 16,0 2-16,0-2 15,0 1-15,18-1 16,-18 2-1</inkml:trace>
  <inkml:trace contextRef="#ctx0" brushRef="#br0" timeOffset="4250.68">16898 622 0</inkml:trace>
  <inkml:trace contextRef="#ctx0" brushRef="#br0" timeOffset="4753.21">17181 693 0,'0'53'15,"0"-36"-15,0 1 16,0-1-16,0 19 16,0-19-1,17-53 32,1 19-31,-1 17-16,-17-17 15,17 17-15,19 0 16,-1 17 0,-16 0-1,-2-17-15,0 19 0,19-2 16,-36 1-16,18-1 15,-18 2 1</inkml:trace>
  <inkml:trace contextRef="#ctx0" brushRef="#br0" timeOffset="5204.93">17516 727 0,'-18'36'47,"36"-18"-47,-18-1 16,0 0-16,17 2 15,0-2 1,2-17-16,-2 0 16,1-17-16,-1 17 15,2-19-15,-2 2 16,-17 0-16,17 17 0,-17-18 15,18 18-15,-18-17 16,17 17-16,2 17 31,-19 1-15,17-1-16,0 0 16,1 2-16,0-19 15,0 0-15</inkml:trace>
  <inkml:trace contextRef="#ctx0" brushRef="#br0" timeOffset="5803.31">18062 746 0,'-17'0'0,"17"-19"31,-17 19-16,-2 0 1,2 0 0,-1 19-1,1-2 1,17 1-16,-19-1 16,19 0-1,0 2 1,19-19-1,-2 0 1,1-19 0,-1 38 15,2-19-15,-19 17-1,17-17-15,0 0 16,1 0-1,18 0-15,-19-17 0,0 17 16,-17-19-16,36 2 0,-1-18 16,-18 18-16,2-19 15,-2 19-15,1-1 0,-18-18 16,17 19-16,-17 0 0,17 17 16,-17-19-16,0 2 0,19 17 15,-19-18-15,17 36 16,-17-1-1,0 2-15,0 15 0,18 2 16,-18-18-16,0-1 16,0 0-16,17 19 0,2-18 15,-19-1-15,17 0 16</inkml:trace>
  <inkml:trace contextRef="#ctx0" brushRef="#br0" timeOffset="6005.86">18274 727 0,'52'-17'31,"-16"0"-31,-1 17 16,-16-18-16,-2 18 0,18 0 15,-17-18-15,0 18 16,16-18-16</inkml:trace>
  <inkml:trace contextRef="#ctx0" brushRef="#br0" timeOffset="6157.02">18662 622 0,'18'0'16,"-18"17"0,0 1-1,0 0-15,0 0 16,17-1-16,-17 0 15,-35-122-15,70 229 0,-35-107 0,19 1 16,-19-1 15</inkml:trace>
  <inkml:trace contextRef="#ctx0" brushRef="#br0" timeOffset="6276.13">18733 586 0,'-17'0'16,"17"-17"0,17 34-16</inkml:trace>
  <inkml:trace contextRef="#ctx0" brushRef="#br0" timeOffset="6705.83">19014 657 0,'-17'18'15,"17"0"-15,0-1 16,-17 19 0,34-36-16,0 17 31,2-17-31,-2 0 15,1 0-15,-18-17 0,17-2 16,-17 2 0,0 0-1,-17-1-15,17 0 16,17 36 46,2 0-62,-2-18 0,-17 17 16,17-17-16,18 36 16,-16-36-1,-2 17-15,0-17 16,1 0-16,0 0 16,0 0-16,-1 18 0,0-18 15,2 0-15</inkml:trace>
  <inkml:trace contextRef="#ctx0" brushRef="#br0" timeOffset="7475.57">20778 586 0,'36'19'31,"-18"-19"-15,35 0-16,-36 0 16,1 0-16,35 0 0,-36 0 15,1 0-15,18-19 0,-19 19 16,36 0-16</inkml:trace>
  <inkml:trace contextRef="#ctx0" brushRef="#br0" timeOffset="7714.34">21149 463 0,'17'0'0,"71"54"31,-69-37-31,16 18 0,-18-18 16,2 2-16,-19-2 0,17 18 15,0 1-15,-17-2 16,0-15-16,-17-2 16,17 1-16,-17-1 15,17 0-15</inkml:trace>
  <inkml:trace contextRef="#ctx0" brushRef="#br0" timeOffset="8145.92">22225 339 0,'-88'124'0,"71"-106"15,17 18-15,-18-2 0,0 1 16,0 18-16,18-17 16,0-18-16,0-1 0,18 0 15,-18 2 1,18-19-16,0 17 0,-1-17 0,36 0 15,-1-17-15,-16 17 16,16 0-16,55-19 0,-36 19 16,-19-17-16</inkml:trace>
  <inkml:trace contextRef="#ctx0" brushRef="#br0" timeOffset="8602.11">23442 675 0,'-17'-18'0,"-2"0"0,19 1 16,-17 0-1,17-2-15,-17 19 0,17-52 16,-18-1-16,1 18 0,17-1 15,0 1-15,0 18 0,0-90 16,0 90 0,17-19-16,1 36 15,-1 0-15,0 0 16,-17 36-16,0-19 16,-17 1-16,-18 52 15,18-51-15,-36 33 16,17-35-16,1 19 15,-1-1-15,19-16 0,-18-2 16,18-17-16,17 17 16,-19-17-16,2 18 15,53-18 1,-2 0-16,-16 0 16,-1-18-16,54 18 15,18-17-15,-20 0 0,-33 17 16,18 0-16</inkml:trace>
  <inkml:trace contextRef="#ctx0" brushRef="#br0" timeOffset="8874.2">24448 198 0,'-142'36'0,"89"-1"16,18-17-16,-18 17 16,18 18-16,18-35 15,17-1-15,0 0 0,0 2 16,0-2-16,17 18 0,1-16 16,-1-19-16,36 17 0,-18 0 15,1-17-15,-1 0 16,18 18-16,-36-18 0,2 0 15,-2 17-15,18-17 0</inkml:trace>
  <inkml:trace contextRef="#ctx0" brushRef="#br0" timeOffset="9150.76">22542 957 0,'124'-18'16,"18"1"-16,-408 52 0,620-87 15,-249 33-15,-17 2 0,124-1 16,0-18-16,-107 36 0,2-17 15,-19 0-15,88 17 16,-52-18-16,-72 18 0,-16 0 16,-19 0-16</inkml:trace>
  <inkml:trace contextRef="#ctx0" brushRef="#br0" timeOffset="9410.59">22401 1115 0,'89'0'0,"17"-17"16,-1 17-16,2-17 0,-2 17 16,19 0-16,123-18 0,-125 18 0,2 0 15,0 0-15,123-18 16,-142 18-16,2 0 0,-2 0 15,-34 0-15,105-18 16,-105 1-16,-54 17 0,19 0 16,-19 0-16,18-17 15</inkml:trace>
  <inkml:trace contextRef="#ctx0" brushRef="#br0" timeOffset="22294.82">21308 3038 0,'88'0'0,"-70"0"0,17 0 0,0 0 15,1 0-15,17 0 0,-18 0 16,35 0-16,1 0 0,17 0 16,0 0-16,19 0 0,-2 0 0,0-17 15,19 17-15,0 0 0,123 0 16,0-18-16,-123 18 15,-2 0-15,2 0 0,-18 0 0,18 0 16,-19-17-16,19 17 0,-19 0 0,71 0 16,-105 0-16,0 0 15,-1 0-15,89 0 16,-123 0-16,-1 0 0,1 0 16,-19 0-16,18 0 0,35 0 15,-52 0 1,0 0-16,0 0 15,-1-19 1</inkml:trace>
  <inkml:trace contextRef="#ctx0" brushRef="#br0" timeOffset="27515.66">6738 11153 0,'0'-18'0,"-17"53"15,-2 158 1,19-86-16,-17 16 0,17 18 0,0 18 16,0 35-16,0-18 0,0 19 0,0 16 15,0 425 1,0-407-16,0-18 0,17 18 0,-17-17 16,0 0-16,0 0 0,0-19 0,-17 2 15,17-19-15,0 265 16,0-335-16,-17-1 15,17 2-15,0 157 16,0-194-16,17-16 0,-17-20 16,0 2-16</inkml:trace>
  <inkml:trace contextRef="#ctx0" brushRef="#br0" timeOffset="28333.61">24201 11170 0,'17'71'15,"-17"-18"-15,-17 35 0,17 0 0,0 17 16,-17 2-16,17 52 0,-19-1 0,19 18 15,-17 0-15,-1 19 0,1-2 16,17 2-16,-19-2 0,19 19 0,-17-17 16,17 16-16,0-17 0,0 0 15,0 0-15,0-18 0,17 2 0,19-2 16,-18-18-16,-1 1 0,19-18 0,-1 1 16,-18-37-16,19 90 0,-19-107 15,1 0-15</inkml:trace>
  <inkml:trace contextRef="#ctx0" brushRef="#br0" timeOffset="34285.53">1112 5719 0,'0'-17'15,"-18"17"32,0 17-31,0 1-1,1 0 17,0 0-32,17-1 15,-19 19 1,19-19-16,0 1 0,0-1 16,0 0-16,0 37 15,0-18-15,0-19 0,0 0 16,0 19-16,19-18 0,-19 16 0,0-16 15,0 0-15,17 70 16,-17-70-16,17-1 0,-17 19 16,18-1-16,-18-18 15,18 2-15,-18-2 0,18 0 0,-18 1 16,17 0-16,0 0 0,1-1 16,-18 0-1,18-17-15,0 18 16,-1-18-1,19 0-15,-19 0 16,18 0 0,-16 0-16,-2 0 0,0 0 15,1 0-15,18 0 0</inkml:trace>
  <inkml:trace contextRef="#ctx0" brushRef="#br0" timeOffset="35374.65">5804 6531 0,'0'-18'0,"17"18"31,18 0-15,-17 0-16,34-18 15,-16 18-15,-1 0 16,1 0-16,-1 0 0,106-17 15,-70 17-15,-1 0 0,1-17 16,176-1-16,-177 18 16,18 0-16,-17 0 0,0-18 0,-1 18 15,18 0-15,142 0 16,-89 0-16,70 0 16,-141 0-1,1 0-15,0 0 0,123 0 31,-142 0-31,-16 0 0,-1 0 0,1 0 0,-19 0 16,19 0-16,-18 0 0,52 0 16,-35 0-1,1 0 1,-19 0-16,1 0 16,-1 0-1,-17 18 16</inkml:trace>
  <inkml:trace contextRef="#ctx0" brushRef="#br0" timeOffset="36221.94">12241 6637 0,'53'0'0,"-35"0"15,0 0-15,0 0 0,-1 0 0,0 0 16,19 0-16,16 0 0,55 0 16,-36 0-16,69-18 15,-70 18-15,37 0 0,-2 0 0,2 0 16,-2-17-16,213 17 16,-213 0-16,-16 0 0,-1 0 15,0 0-15,-17 0 0,17 0 0,-17 0 16,-1 0-16,-18 0 0,2 0 15,-1 0-15,-18 0 0,1 0 0,-2 0 16,2 0-16,-18 0 0,-1 0 0,0 0 16,2 0-16,-2 0 0,1-19 15,-1 19-15,0 0 0,2 0 16,-2 0-16,1 0 16</inkml:trace>
  <inkml:trace contextRef="#ctx0" brushRef="#br0" timeOffset="37538.04">19104 5807 0,'17'0'16,"35"0"0,-33 0-1,-2 0-15,0 19 0,1-19 16,0 0-16,0 0 0,-1 0 15,0 0-15,37 0 16,-37 0-16,0 0 0,2 0 16,-2 0-16,1 17 31,-1-17-31,-17 18 0,0-1 16,0 0-1,19 37 1,-19-37-16,0 19 15,0-1-15,0-17 0,0 0 16,0 16-16,0-16 0,17 18 0,-17-19 16,0 19-16,0-19 0,17 35 15,-17-16-15,0-18 16,0 18-16,0-19 0,0 71 16,18-71-16,-18 1 0,0 0 15,0 0-15,0-1 0,0 0 0,0 2 16,0 16-1,0-18-15,17 2 0,-17-2 16,0 0 0,0 1-16,0-1 15,-17 2 32,-1-19-31,1 0-1,0 0-15,-19 0 0,-18 0 16,20 0-16,-20 0 0,-68 17 16,68-17-16,-104 17 15</inkml:trace>
  <inkml:trace contextRef="#ctx0" brushRef="#br0" timeOffset="43898.79">12929 8506 0,'53'-17'16,"35"17"0,-52 0-16,52 0 15,-17 0-15,0 0 0,-1 0 0,18 0 16,-17 0-16,0 0 0,139 0 16,-156 0-16,-1 0 0,35 0 15,-53 0 1,1 0-16,-2 0 0,2 0 0,16-18 15,-33 18-15,-2 0 0,1 0 16,-1 0 0,19 0-16,-19 0 0,1 0 31,-1 0-31,2 0 16,-2 0 15</inkml:trace>
  <inkml:trace contextRef="#ctx0" brushRef="#br0" timeOffset="45789.57">19790 8577 0,'19'0'16,"-19"18"0,17-18-1,1 0-15,-1 0 16,2 0-16,-2 0 0,0 0 15,1 0-15,0 0 0,0 0 0,16 0 0,-16 0 16,35 18 0,-17-18-16,52 0 15,-36 17-15,-16-17 0,17 0 0,-1 0 16,19 0-16,53 17 16,-53-17-16,-1 0 0,1 0 0,-2 18 15,2-18-15,177 18 16,-179-18-16,38 18 0,-36-18 0,87 17 15,-70-17-15,-17 0 16,0 17-16,-1-17 0,1 0 0,158 19 16,-158-19-1,-19 0-15,160 0 16,-159 0 0,18 0-16,-36 0 0,1 0 0,-2 0 15,54 0 1,-52 0-16,-18 0 0,34 0 15,-16 0 1,17 0 0,-18 0-1,-18 0-15,2 0 16,-2 0 0,0 0-1,1 0 1</inkml:trace>
  <inkml:trace contextRef="#ctx0" brushRef="#br0" timeOffset="49185.43">2064 9282 0,'17'-17'16,"2"17"-16,-2 0 15,0 0-15,19 0 16,-1-18 0,0 18-16,-17 0 0,53 0 15,-36-17-15,1 17 16,-2 0-16,-16 0 0,70-17 15,-52 17-15,-2 0 16,90-19-16,-70 19 16,-2 0-16,18 0 0,-16-17 0,-1 17 15,70 0-15,-70-18 16,0 18-16,17 0 0,-17 0 0,71-17 16,-72 17-16,19-19 0,-18 19 15,0 0-15,89 0 16,-108 0-16,20 0 0,34-17 15,-35 17-15,-18 0 16,18 0-16,-18 0 0,89 0 16,-72 0-16,-16 0 0,-2 0 15,54 0-15,-52 0 16,-1 0-16,1-17 0,-1 17 16,1 0-16,34 0 0,-52 0 15,16 0-15,2 0 0,-1 0 0,1 0 16,-1 0-16,1 0 0,-2 0 15,54 0-15,-52 0 16,-18 0-16,16 0 0,2 0 0,-18 0 16,70 0-1,-71 0-15,19 0 0,-1 0 16,-17 17-16,0-17 0,16 0 0,-15 0 16,16 0-16,-18 0 0,19 0 0,-1 0 15,-18 0-15,19 0 0,-19 0 16,19 0-16,-1 17 0,-18-17 0,37 0 15,-37 0-15,19 0 16,-19 0-16,18 0 0,-18 0 0,2 0 16,16 19-16,-18-19 0,2 0 0,33 0 15,-34 0-15,17 0 16,-18 0-16,1 17 0,18-17 0,52 0 16,-71 0-1,54 0-15,-54 18 16,19-18-16,-19 0 0,1 0 0,18 0 15,-2 0 1,-15 0-16,-2 0 0,35 0 16,-33 0-16,-2 0 0,1 0 0,-1 0 15,36 0-15,-35 0 16,0 0-16,0 0 0,16 0 16,-16 0-16,0 0 0,0 0 0,-1 0 15,0 0-15,2 0 0,-2 0 16,1 0-16,-1 0 0,19 0 15,-19 0-15,18 0 16,-16 0-16,-2 0 0,0 0 16,19 0-1,-18 0-15,-1 0 16,0 0-16,1-18 16,0 18-16,0 0 15,-1 0 16,0 0-15,2 0 15</inkml:trace>
  <inkml:trace contextRef="#ctx0" brushRef="#br0" timeOffset="53965.61">19173 9194 0,'-17'0'15,"34"19"48,19-19-47,-1 0-16,1 0 0,-2 0 0,2 0 15,123 0 1,-107 0-16,19 0 0,-1 0 0,160 0 15,-160 0 1,18 0-16,160 0 16,-177 17-16,17-34 0,-17 34 15,17-17-15,-18 0 0,1 0 0,-2-17 16,2 17-16,0 0 0,70 0 16,-105 0-16,-1 0 15,-1 0-15,-15 0 0,16 0 16,35 0-16,-52-19 15,0 19-15,0 0 0,-1 0 16,0 0 0,1 0-1,0 0-15,0 0 0,-1 0 47,0 0 0,-17-17 31</inkml:trace>
  <inkml:trace contextRef="#ctx0" brushRef="#br0" timeOffset="55445.91">23865 8789 0,'0'17'16,"0"19"-1,0-19 1,0 1-16,0-1 0,0 19 31,-17-36-31,17 17 0,0 1 16,17-53 62,-17-1-62,19 19-16,-19-1 15,17 1 1,-17 0 0,17-2-1,1 38 16,0-2-31,0 0 16,-18 1 0,17-18-16,-17 17 0,17-17 0,1 19 15,0-2 1,0-17 0,-1 0-16,0 0 15,2-17 1,-2-2-1,-17 2-15,18-1 0,-18 1 0,0 0 16,0-2-16,17 2 0,-17-18 16,0 16-1,0 2 1,0 0-16</inkml:trace>
  <inkml:trace contextRef="#ctx0" brushRef="#br0" timeOffset="55843.67">24377 8665 0,'0'18'15,"0"0"1,0-1-16,0 0 16,0 2-16,0-2 15,0 1-15,17-1 16,-17 2-16,19-2 0,-2-17 31,-17 17-31,18-17 0,16-17 31,-34 0-31,19-2 16,-19 2-16,0-1 16,0 1-16,-19-2 0,19 2 15,0 0-15,-17 17 16,17-18-16,-17 18 16,-1-18-16,1 36 0,-2-18 15,2 18 1</inkml:trace>
  <inkml:trace contextRef="#ctx0" brushRef="#br0" timeOffset="56161.55">24801 8771 0,'-36'35'16,"19"-35"-1,-1 36-15,0-19 0,-17 18 16,-1 1 0,19-1-16,-1-17 15,1 0-15</inkml:trace>
  <inkml:trace contextRef="#ctx0" brushRef="#br0" timeOffset="56362.89">25030 8789 0,'-36'36'32,"19"-19"-32,0 0 0,-73 71 15,56-70-15,-1 18 0,-1-2 16,1-16-16,-35 52 15</inkml:trace>
  <inkml:trace contextRef="#ctx0" brushRef="#br0" timeOffset="62648.93">18221 12158 0,'17'-17'0,"19"-2"15,-18 19 1,-1 0-16,0 0 0,2 0 0,16-17 16,-18 17-16,2 0 15,-2 0-15,0 0 0,1 0 16,18 0-16,-19 0 15,0 0 1,-17-18-16,18 18 16</inkml:trace>
  <inkml:trace contextRef="#ctx0" brushRef="#br0" timeOffset="62922.61">18538 11963 0,'18'-17'0,"0"17"0,0 0 0,-18 17 16,17-17-16,0 36 15,2-18-15,-2-1 0,1 19 16,-18-19-1,0 1-15,0-1 0,0 2 0,0-2 16,-18 0-16,18 1 0,-17 35 16,-2-36-1</inkml:trace>
  <inkml:trace contextRef="#ctx0" brushRef="#br0" timeOffset="63813.92">19773 11663 0,'-35'19'16,"35"-2"-1,-17-17-15,-2 35 16,2 1-16,0-19 0,17 18 16,-18-16-16,18 15 0,-18-16 0,18 0 0,-18 34 15,18-33 1,-17-2-16,17 1 0,0-1 0,0 0 0,0 2 15,0-2-15,17 1 16,-17-1-16,18-17 16,-18 19-16,18-19 0,0 0 15,35 0-15,-36 0 16,1 0-16,-1-19 0,0 19 16,19-17-16</inkml:trace>
  <inkml:trace contextRef="#ctx0" brushRef="#br0" timeOffset="64131.4">20038 11911 0,'0'-18'0,"0"0"16,-18 18 0,0 18-1,1 35 1,0-36 0,17 2-16,0 16 15,0-18-15,0 0 0,17 2 16,0-2-16,1 1 15,0-18-15,0 0 16,16 0 0,-15 0-16,-2-18 0,-17 1 15,18-2-15,-36-15 16,18 16 0,0 1-16,-17-2 0,-2 2 15,2 0 1,0-1-16,-1 18 15,0 0-15,0 0 16</inkml:trace>
  <inkml:trace contextRef="#ctx0" brushRef="#br0" timeOffset="64471.54">20232 11858 0,'0'35'16,"0"-17"-16,0 0 0,0-1 15,0 0-15,0 2 0,0 16 16,0-18 0,17-34 30,2 17-30,-2-18 0,0 18-1,1 18 1,0-18-16,0 17 16,-1 0-16,19 2 15,-19-19-15,1 0 16,-1 17-16</inkml:trace>
  <inkml:trace contextRef="#ctx0" brushRef="#br0" timeOffset="66185.53">20902 11558 0,'-17'35'0,"17"1"16,-19-19-16,19 54 16,-17-18-16,17-1 0,0 1 0,0 1 15,-17-20-15,17 2 0,0 16 0,0-16 16,17-1-16,-17 1 0,0-19 16,17 37-16,2-2 15,-19-34-15,17 17 16,-17-18-16,18-17 15,-36-17 17,1 0-32,-2 17 0,-15-36 15,16 18 1,1 18-16,17-17 0,-71 0 16,53-1-1,0 18-15,18-18 16,-17 18-16,17-18 0,17 1 15,-17 0 1,88-54 0,-52 52-16,-18 2 15,-1 17-15,19-35 16,-19 18-16,18 17 0,-35-19 0,19 19 0,-2 0 16,-17-17-16,17 17 0,1 0 15,0 0-15,-18 17 16,18-17-16,-18 19 15,17-2-15,-17 1 0,17-1 16,-17 0-16,18 2 16,0-19-16,-18 17 0,18-17 15,-1 18 1,19-36 0,-19 1-1,-17-2-15,18 19 0,-18-17 0,0 0 0,0-1 16,0 1-16,0-19 15,-18 19 1,18-1-16,-17 0 16,-19 36-1,36 0 1,-17-1 0,34-17-16,-17 17 15,17 2 1,2-19-16,-2 0 15,1 0-15,-1 0 16,-17-19-16,17 19 0,2 0 0,-2-17 16,1 0-16,-1-1 15,2 0 1,-2 18 0,-17-18-1,0 54 16,0-18-15,0-1 0,0 0-16,17-17 0,-17 19 15,0-2 1,18 1-16,0-1 31,0-34-15,-1-1 15,0 1-15,-17-2-16,0 2 15,18 0-15,0-1 32,0 18 30,-18 18-46,17-1-1,-17 0-15,0 2 16,0-2 0,0 1-1,0-1 1,17-34 46,2-1-46,-2 1-16,-17-2 16,18 19-16,-1 0 15,2 19 16,-19-2-31,17 1 16,-17-1 0,17-17 15,1 0-15</inkml:trace>
  <inkml:trace contextRef="#ctx0" brushRef="#br0" timeOffset="66685.75">21942 11699 0,'0'-36'0,"-17"72"15,17-18 1,0 35-1,0-36-15,0 1 0,0-1 0,0 2 0,0-2 16,17 36 0,-17-35-16,0-1 0,0 19 15,0-19-15,0 1 16,0-1 0,0 0-1,0 2 1,0-55 62,-17 36-62,0 0-16,-1 17 15,1 2 1,17-2-1,0 1 1,17-1 0,1-17-1,-1-17 1,0 17-16,2 0 0,-2-18 16</inkml:trace>
  <inkml:trace contextRef="#ctx0" brushRef="#br0" timeOffset="66883.66">22137 11946 0,'17'-35'0,"-17"70"31,0-18-31,0 19 16,0-18-1,0 16-15,0-15 16,0-2-1,18-17-15,-18 18 16</inkml:trace>
  <inkml:trace contextRef="#ctx0" brushRef="#br0" timeOffset="67013.53">22190 11929 0,'0'-18'16,"-18"0"-1</inkml:trace>
  <inkml:trace contextRef="#ctx0" brushRef="#br0" timeOffset="67360.57">22330 11946 0,'0'36'16,"0"-19"0,0 1-16,0-1 15,0 0 1,36-17 46,-18-17-46,-1 17 0,2 0-1,-2-17 1,0 17-16,1 0 15,0 0-15,-18-18 0</inkml:trace>
  <inkml:trace contextRef="#ctx0" brushRef="#br0" timeOffset="67674.55">22613 11875 0,'0'0'15,"17"36"16,-17-1-15,0-18 0,0 2-16,0 16 15,0-18-15,0 0 0,-17 2 0,0 52 16,-1-54-16,-35 36 16,53-35-1,-17-1-15,-1 0 0,0-17 31,36-34-15,17-2 0,-18 18-16,1-16 15,0 15-15,0 2 0,16-1 16,-15 1-16,-2 17 0</inkml:trace>
  <inkml:trace contextRef="#ctx0" brushRef="#br0" timeOffset="67817.77">22896 11946 0,'17'-17'0,"0"-1"16,-34 0 31</inkml:trace>
  <inkml:trace contextRef="#ctx0" brushRef="#br0" timeOffset="71046.69">13229 13851 0,'-35'18'31,"-1"18"-15,19-19-16,-54 35 15,37-16-15,-2-1 0,1 18 16,-18 0-16,18-1 0,-124 143 15,89-124-15,16-1 16,-158 177 0,142-176-16,-18 17 0,34-35 0,-15 18 15,16-19-15,-1 1 0,2 0 0,-1-1 16,-71 90 0,107-106-16,-18-2 0,16 2 0,-15-18 15,16 16-15,-18 2 0,2 16 16,15-33-16,2-2 0,17 1 15,-18-18-15,1 17 0,0 19 16,-2-36-16,2 17 16,-1-34 15</inkml:trace>
  <inkml:trace contextRef="#ctx0" brushRef="#br0" timeOffset="71573.5">11572 15245 0,'0'34'31,"0"-15"-31,-19-2 0,2 71 16,17-70-1,0 18-15,-18-2 0,18 2 0,-17-1 0,17 1 16,-17 69 0,17-87-16,0 18 0,0-19 15,0 0-15,0 37 16,0-37-16,0 0 0,17-17 0,-17 18 16,17 0-16,1-18 0,18 18 15,-19-18-15,36 0 16,-18 0-16,-18 0 0,37 0 0,-20 0 15,2-18-15,106 0 16,-108 0-16,2 18 0,-1-17 0,-18 17 16,54-17-1,-54-2-15,2 19 0,-2 0 16,1-17-16,-1 17 0,2 0 16,15-18-1</inkml:trace>
  <inkml:trace contextRef="#ctx0" brushRef="#br0" timeOffset="73205.85">16298 13922 0,'18'35'0,"0"-35"0,-18 17 0,18 2 0,-18 15 16,17-16-16,0 35 0,19-18 15,-18 1-15,16-2 0,-15 20 0,16-18 0,1-2 16,86 125 0,-68-106-16,87 89 15,-89-90-15,1 1 0,1 0 16,87 35-1,-72-36-15,2 2 0,-18-18 0,18 16 0,0-16 16,-18 16-16,-1-16 0,1 17 16,1-18-16,68 53 15,-86-52-15,-1-19 0,53 54 16,-88-54-16,19 0 16,-2-17-16,0 19 0,1-2 15,-1 1 1,2-18-1,-38-35 48,-16 35-47,35 17-1</inkml:trace>
  <inkml:trace contextRef="#ctx0" brushRef="#br0" timeOffset="74189.72">17745 15615 0,'17'18'0,"19"35"15,-18-36 1,-1-17-16,18 35 0,-17-16 0,0-2 0,52 35 16,-52-52-1,35 36-15,-36-19 16,1-17-16,-1 18 0,2-18 0,-2 18 16,0-18-16,1 18 15,0-18 1,0 0-16,-1 0 15,-17-18 1,17 0-16,-17 0 16,0 1-16,19 17 15,-19-17-15,0-2 0,0-16 0,0 18 16,0 0-16,0-19 0,-19-70 16,19 70-16,0 2 15,0-2-15,0 1 0,0-1 0,0 19 16,0-18-16,0-18 15,-17 35-15,17 1 0,0-2 16,0 2-16,0 0 16,0-1-1,0 0-15,0 0 16,17 18 0</inkml:trace>
  <inkml:trace contextRef="#ctx0" brushRef="#br0" timeOffset="76839.1">19826 17309 0,'54'-18'0,"-20"18"16,2 0-16,34 0 0,-17 0 0,35-18 15,-17 18-15,35 0 0,88 0 16,-106 0-16,0 0 0,1 0 16,-20 0-16,21 0 0,-20 0 0,89 0 15,-124 0 1,-1 0-16,20 0 16,-37 18-16,2-18 0,-19 18 15</inkml:trace>
  <inkml:trace contextRef="#ctx0" brushRef="#br0" timeOffset="77164.42">19897 18031 0,'529'0'16,"-282"0"-16,-176 0 15,70 0-15,-70 18 0,-19-18 16,-16 0-16,-2 0 0,2 0 15,-1 0-15,-18 0 0,2 0 0,-2 0 16,1 0-16,-1 0 0,0 0 0,2-18 16</inkml:trace>
  <inkml:trace contextRef="#ctx0" brushRef="#br0" timeOffset="79985.34">12841 16797 0,'0'-35'16,"17"70"-16,-17 18 16,0-18-1,19 1-15,-19-19 0,0 18 16,0 123 0,0-139-16,0 16 0,-19-18 15,19 2-15,0-2 0,0 0 16,0 19-1,0-18-15</inkml:trace>
  <inkml:trace contextRef="#ctx0" brushRef="#br0" timeOffset="80272.64">12894 16850 0,'0'0'0,"-17"0"0,-2 0 16,2 0-16,0 17 16,-19 18-1,18-16-15,1-2 0,17 0 0,-17 1 0,-1 0 16,0 17-16,-17 1 15,35-19 1,-17 18-16,-2-35 16</inkml:trace>
  <inkml:trace contextRef="#ctx0" brushRef="#br0" timeOffset="80485.89">12736 16814 0,'17'-17'16,"-34"34"-16,51-34 15,20 53 1,-20-19-16,-15-17 0,16 17 0,-18 1 16,19-1-16,-19 2 0,18-2 0,1 0 15,69 37 1,-69-37-16,70 0 15,-70-17-15,16 0 0</inkml:trace>
  <inkml:trace contextRef="#ctx0" brushRef="#br0" timeOffset="81049.45">17533 16638 0,'0'17'0,"17"1"16,-17 0-16,0 0 15,0-1-15,0 0 0,0 19 0,-17-18 16,17 87-1,0-86-15,0 15 0,0 2 16,-17-18-16,17 16 0,-18 20 16,18-37-16,0 0 0,0 2 15,-18-2 1</inkml:trace>
  <inkml:trace contextRef="#ctx0" brushRef="#br0" timeOffset="81325.5">17550 16709 0,'-34'17'15,"68"-34"-15,-86 34 0,34 0 0,0-17 16,1 19-16,0-2 0,-1 1 16,-52 35-16,34-36 15,1 18-15,16-16 0,2-2 0,0 0 16,-1 1-16,1 0 16,-2 0-16</inkml:trace>
  <inkml:trace contextRef="#ctx0" brushRef="#br0" timeOffset="81537.63">17480 16673 0,'0'0'0,"36"0"0,-36 18 16,17-18-16,0 18 0,2-18 15,-19 17-15,35 0 0,-18-17 0,2 19 16,-2-2-16,0-17 0,1 18 0,-1-1 15,2-17-15,-2 19 16,0-19-16,1 0 0,0 17 0,0-17 16,-1 0-16,0 0 15</inkml:trace>
  <inkml:trace contextRef="#ctx0" brushRef="#br0" timeOffset="89753.76">14693 13357 0,'0'36'32,"0"-19"-32,0 0 0,0 2 15,0-2-15,0 35 16,0-33-16,0-2 0,0 54 16,0-54-16,0 1 0,-17 0 15,17 0-15,0-1 0,0 18 16,0-17-1,0 0-15,17-18 16</inkml:trace>
  <inkml:trace contextRef="#ctx0" brushRef="#br0" timeOffset="90641.88">14588 13534 0,'34'17'15,"-15"-17"-15,16 0 16,-18 0-16,0 0 15,2 0 1,-2 0-16,1-17 0,-1 17 0,2 0 16,-2 0-16,0 0 0</inkml:trace>
  <inkml:trace contextRef="#ctx0" brushRef="#br0" timeOffset="90993.71">14993 13657 0,'17'-52'0,"-17"33"16,0 2-16,0-1 15,-17 18 17,17 35-17,-17-35-15,17 19 16,0-2-16,17 0 16,-17 1-16,17 0 15,-17 0-15,19-1 16,-2-17-16,-17 17 0,18-17 0,-1 0 15</inkml:trace>
  <inkml:trace contextRef="#ctx0" brushRef="#br0" timeOffset="91465.29">15205 13569 0,'0'0'0,"-17"17"32,17 2-17,0-2-15,0 18 16,0-17 0,0 0 15,34-54 0,-16 18 0,0 18-15,0 18 0,-1-18 15,0 0 0,2 0 0,-2 0-15,1 0-16,-1 0 16,0-18-16,2 1 15,-2 17-15,1-17 0</inkml:trace>
  <inkml:trace contextRef="#ctx0" brushRef="#br0" timeOffset="91811.65">15540 13427 0,'0'-17'0,"0"0"15,0 70 17,0-18-17,0-18-15,0 19 0,0-19 16,0 1-16,0 18 0,0-19 0,0 0 15,0 19-15,0-18 0,0-1 0,0 0 16,0 1-16,17 0 31,-17-71-15,0 36 0,19-1-16,-2-18 15,0 19-15,-17 0 16,18 17-16,0 0 0,0-19 0,16 19 15,-34 19-15,19-19 16,-19 17-16,17-17 0,-17 17 16,0 1-16,0 0 0,0 0 15,0-1-15,0 0 0,-17 1 16,17 0-16,-19 17 16</inkml:trace>
  <inkml:trace contextRef="#ctx0" brushRef="#br0" timeOffset="92337.44">14888 14045 0,'122'0'0,"-68"0"16,104 0-1,-87 0-15,-18 0 0,18 0 16,0-18-16,122-16 16,-122 15-16,-18 2 0,-1-1 0,1 1 15,1 0-15,-20-2 0,20-16 16,-20 18-16,2-19 0,-1 19 0,-18-19 16,19 1-16,-18 18 0,-1-37 0,2 20 15,-2-37-15,-17 35 16,0 1-16,-36-53 0,36 35 15,-52-35-15,16 35 16,-16-1-16,-55-16 0,37 35 16,-1 18-16,0-19 0,-17 18 0,-17 1 15,0 17-15,-2 0 0,2 0 16,-19 0-16,1 17 0,16 1 16,-15 0-16,15 17 0,-16 0 0,34 1 15,-34 17-15,35-1 0,0 1 0,18 1 16,-1-2-16,-17 72 15,52-54-15,1 1 0,17-18 0,18-1 16,0 2-16,36 16 0,-19 1 0,36-19 16,1 1-16,-2 1 0,36-2 15,89 1-15,-72-17 0,1-19 16,0 1-16,0-18 0,0 0 16,0 0-16,-1-18 0,2 18 15,-19-17-15,17-2 0,-17 2 0,0-18 0</inkml:trace>
  <inkml:trace contextRef="#ctx0" brushRef="#br0" timeOffset="94471.28">9032 1486 0,'34'0'0,"-16"-17"0,0 17 16,141-36 0,-107 36-16,1-18 0,18 1 0,-18 17 15,18-17-15,-19-1 0,19 0 16,-1 0-16,1 1 0,-18 17 16,18-17-16,34-19 0,-51 36 0,-2-18 15,-16 18-15,-19 0 0,0-17 16,2 17-16</inkml:trace>
  <inkml:trace contextRef="#ctx0" brushRef="#br0" timeOffset="94722.38">9401 1645 0,'0'0'16,"53"0"-1,-17 0-15,52-18 16,-36 1-16,2 0 0,16 17 16,1-19-16,0 2 15,17-1-15,-18 1 0,1-2 0,0 19 16,-18-17-16,70-18 0,-70 35 0,-1-18 16,1 0-16,18 1 15,0 17-15,-18-17 16,-18 17-16</inkml:trace>
  <inkml:trace contextRef="#ctx0" brushRef="#br0" timeOffset="98751.33">21466 3038 0,'-34'0'16,"16"0"-1,0 0 1,0-17 15,1 17-31,0 0 16,-2 0-16,2 0 16,-1 0-16,-18-18 15,19 18 1,0 0-16,-1 0 15,1 0-15,-2 0 16,2-17-16,0 17 16,-1 0-1,0 0 1,18-19 0,-18 19-16,1 0 15,17-17 1,-17 17-1,17-17 1,-18 17 0,0 0 15,18-18-15,-18 18 15,1 0-16,17-18 1,-17 18 0,-2 0 15,19-18 0,-17 18-31,17-17 16,0 0-1,0-19 1,0 18-16,0 1 0,0 0 16,0-2-1,0 2-15,0-1 0,0 1 16,0 0-16,0-2 0,0 2 0,0-1 16,0 1-1,17 17-15,-17-19 0,0 2 0,0 0 16,0-1-16,19 18 15,-19-18-15,0 0 16,17 1-16,0 0 0,1-1 31,0 0-31,0 18 0,-1-18 16,0 18-16,19-17 16,-18 17-16,-1-17 0,0 17 15,2-19-15,-2 19 0,18 0 0,-18-17 16,19 17-16,18-18 0,-37 18 15,18-17-15,18 17 0,-18-19 16,1 19-16,17-17 0,-18 17 16,18-17-16,-18 17 0,1 0 0,-2-18 15,20 18-15,-1-17 0,-1 17 16,55-36-16,-55 36 0,1 0 16,0-17-16,-1 17 0,19-18 0,-18 18 15,1 0-15,16-18 0,-18 18 16,55-18-16,-2 18 15,-51-17-15,-2 17 0,1-17 0,0 17 16,-1 0-16,-16 0 16,18-18-16,34 18 0,-36 0 15,37-18-15,-37 18 0,-16 0 16,16 0-16,-16 0 0,17-18 0,17 18 16,-34 0-16,17 0 15,-18 0-15,35-17 16,-35 17-16,36 0 0,-35 0 15,-19 0-15,18 0 0,1 0 0,34 0 16,-35 0-16,1-17 0,-19 17 16,18 0-16,1 0 0,-1 0 15,1 0-15,-2 0 0,2 0 16,-1 0-16,1 0 0,-19 0 0,18 0 0,1 0 16,-1 17-16,-18-17 0,19 0 15,-1 0-15,1 0 0,-19 0 16,19 17-16,-1-17 0,-1 0 0,-15 0 15,16 18-15,-18-18 0,19 0 16,-19 18-16,19-18 0,-1 0 0,-18 18 16,1-18-16,18 0 0,-19 17 0,19-17 15,-19 17-15,1-17 0,-1 18 16,2-18-16,-2 0 0,0 18 0,1-18 16,-1 18-16,2-1 15,15 0-15,-16-17 0,0 19 16,0-2-16,-1 1 15,0-1-15,2 0 16,-2-17 0,-17 19-16,18-19 15,-18 17-15,17 1 0,0-18 0,2 17 16,-2 2-16,1-2 16,-1-17-1,-17 17-15,19-17 0,-19 18 0,17-18 16,0 18-16,1 0 15,-1-18 1,-17 17-16,19-17 0,-19 17 16,17-17-16,-17 18 0,17-18 15,1 18-15,-18 0 16,18-1-16,0-17 16,-18 17-16,17 2 15,-17-2 1,17-17-16,-17 18 0,19-18 15,-19 17 1,17 2 0,-17-2-1,18-17-15,-18 17 16,0 1 15,-18-1-31,18 2 16,0-2-1,-17-17-15,17 17 16,-19-17-16,19 18 16,-17-18-16,0 18 0,-1-18 15,0 18-15,0-18 16,18 17-16,-34-17 16,15 0-16,19 17 0,-17-17 0,-1 0 15,1 18-15,0-18 0,-2 0 16,2 18-16,-1-18 0,1 0 15,-2 0-15,2 18 0,0-18 16,-18 0-16,16 0 16,2 17-16,-54-17 15,54 0-15,0 17 0,-19-17 0,18 0 16,1 0-16,0 0 0,-37 19 16,37-19-16,-2 0 0,-15 0 15,16 0-15,0 17 0,-17-17 0,0 0 16,-1 0-1,19 0-15,0 0 0,-19 0 0,18 0 0,-35 0 16,36 18-16,-1-18 16,-18 0-16,19 0 0,0 0 0,-19 0 15,18 0-15,1 0 0,-19 0 16,19 0-16,-1 0 0,1 0 16,-19 0-1,19 0-15,-1 0 0,1 0 16,-19 0-1,19 0 1</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3.655"/>
    </inkml:context>
    <inkml:brush xml:id="br0">
      <inkml:brushProperty name="width" value="0.025" units="cm"/>
      <inkml:brushProperty name="height" value="0.025" units="cm"/>
      <inkml:brushProperty name="ignorePressure" value="1"/>
    </inkml:brush>
  </inkml:definitions>
  <inkml:trace contextRef="#ctx0" brushRef="#br0">203 21,'-7'-1,"0"-1,1 1,-1 0,-1 1,1 0,1 0,-1 0,-1 0,1 1,1 0,-1 1,0 0,1 0,-1 0,0 1,1 1,-9 4,11-7,-1 2,1-2,0 2,0 0,0-1,0 1,0 0,1 1,-1-2,1 2,-1-1,2 1,-1 0,0 0,1 0,-1 0,2 0,-2 1,2-1,-1 0,1 2,0-2,-1 1,2-1,-1 1,1 5,1-8,1 1,-1 0,0-1,1 1,-1-2,0 2,1 0,0-2,0 2,-1-2,2 2,-1-2,0 0,0 1,1-1,0 0,-2 1,2-1,-1 0,1 1,2-1,69 15,-45-11,-18-2,-2 0,0-1,1 2,-1 0,0 0,1 0,-2 2,1-1,-1 0,13 14,-18-16,-2-1,2 1,-2 0,1 1,0-2,0 1,-1 1,0-1,-1 1,2-2,-1 2,-1-1,1 1,-1-1,0 1,0 0,0-2,0 2,-1-1,1 1,-1 0,1-1,-2 1,1-2,0 1,-1 1,1-1,-2-1,2 2,-2-1,2 0,-2-1,-3 5,0 0,0-2,0 0,0 1,-1-1,0-1,1 1,-1-1,0-1,-9 5,15-8,0 1,-1-1,0 2,0-2,1 0,0 1,-1-1,1 0,0 0,-1 0,0 0,0 0,1 0,0 0,-1 0,1 0,0 0,-2-1,2 1,-1 0,1-2,0 2,-1-1,1 1,0-1,-1-1,1 2,0-1,1 0,-2-1,1 1,0 0,1 1,-2-2,1 1,1 0,-1-1,1 1,-2-2,2 2,-1 0,1-1,0 1,0 0,0-1,-1 1,1-2,0 2,1 0,-1-1,0 1,0 0,1-5,2-4,0 0,1 0,0-1,0 2,1-2,0 2,2-1,-2 1,2 1,0-1,14-13,-9 9,-1 1,-1-1,0-1,-1 0,14-29,-22 39,-1 1,1-1,1 0,-2 0,1 0,-1 0,0 0,0 0,0 0,-1 0,1 0,-2 0,1 0,1 0,-1 2,-1-2,0 0,0 0,1 1,-2-1,1 1,0-1,0 2,-1-1,0 0,1 1,-2-1,1 0,-4-2,-1 1,2-1,-2 1,0 0,-2 1,2-1,0 1,-12-1,8 0,-10-1</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4.549"/>
    </inkml:context>
    <inkml:brush xml:id="br0">
      <inkml:brushProperty name="width" value="0.025" units="cm"/>
      <inkml:brushProperty name="height" value="0.025" units="cm"/>
      <inkml:brushProperty name="ignorePressure" value="1"/>
    </inkml:brush>
  </inkml:definitions>
  <inkml:trace contextRef="#ctx0" brushRef="#br0">12 5,'0'-4,"0"7,0 11,0 9,0 5,0 1,0 1,0-1,0-1,0 0,0-1,-4-6,-2-1,5 1,2-5</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049"/>
    </inkml:context>
    <inkml:brush xml:id="br0">
      <inkml:brushProperty name="width" value="0.025" units="cm"/>
      <inkml:brushProperty name="height" value="0.025" units="cm"/>
      <inkml:brushProperty name="ignorePressure" value="1"/>
    </inkml:brush>
  </inkml:definitions>
  <inkml:trace contextRef="#ctx0" brushRef="#br0">0 1,'9'0,"7"0,10 0,4 0,2 0,0 0,-1 0,2 0,2 0,2 0,-1 0,3 0,0 0,-5 0,-4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764"/>
    </inkml:context>
    <inkml:brush xml:id="br0">
      <inkml:brushProperty name="width" value="0.025" units="cm"/>
      <inkml:brushProperty name="height" value="0.025" units="cm"/>
      <inkml:brushProperty name="ignorePressure" value="1"/>
    </inkml:brush>
  </inkml:definitions>
  <inkml:trace contextRef="#ctx0" brushRef="#br0">79 0,'-4'7,"0"-1,0 1,1 0,-1 1,1-2,2 2,-2-1,2 1,0 0,-1-1,1 1,1 0,0 0,1 12,-3 37,-13 15,-14 93,26-145</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6.253"/>
    </inkml:context>
    <inkml:brush xml:id="br0">
      <inkml:brushProperty name="width" value="0.025" units="cm"/>
      <inkml:brushProperty name="height" value="0.025" units="cm"/>
      <inkml:brushProperty name="ignorePressure" value="1"/>
    </inkml:brush>
  </inkml:definitions>
  <inkml:trace contextRef="#ctx0" brushRef="#br0">1 104,'69'-4,"102"-18,2 1,347-34,-496 54</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7.484"/>
    </inkml:context>
    <inkml:brush xml:id="br0">
      <inkml:brushProperty name="width" value="0.025" units="cm"/>
      <inkml:brushProperty name="height" value="0.025" units="cm"/>
      <inkml:brushProperty name="ignorePressure" value="1"/>
    </inkml:brush>
  </inkml:definitions>
  <inkml:trace contextRef="#ctx0" brushRef="#br0">348 47,'1'-2,"1"0,-1 0,0 1,1-2,-1 2,2 0,-2-1,0 1,2 0,-2-1,2 1,-2 0,2-1,0 2,-2-1,2 0,-1 1,0 0,0-2,1 2,0 0,-2 0,6 0,27-10,-36 3,-14 4,-16 2,13 5,-1 0,0 0,1 3,1-1,-1 1,2 2,-2-1,2 3,1 0,-2-1,-26 28,43-37,1-1,-1 1,1 1,-2-2,2 1,0 0,-1 1,1-2,0 1,0 0,0 1,0-1,-1 0,1-1,0 2,0-1,1 0,-1 1,0-2,0 1,0 0,0 1,1-1,-1-1,0 1,2 1,-2-1,1-1,-1 1,1 1,-1-2,2 1,-2-1,1 1,0 1,-1-2,2 1,-1-1,-1 0,3 1,50 30,-30-20,-21-10,1 0,0 1,-1 0,1 0,-2-1,2 0,0 2,-2-2,0 2,2 0,-2-2,1 2,-1-1,2 1,-2 0,-1-1,1 0,1 2,-1-2,-1 1,1 0,-1-1,0 5,0-4,-1-1,0 2,-1-1,1 0,0-1,-1 1,1 0,0-1,-2 1,2 0,-2-1,0 0,2 0,-2 0,1 0,-1 0,-4 2,-6 4,-2 0,2-2,-3 1,1-2,1 1,-2-2,-18 2,-27-2,33-2</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8.112"/>
    </inkml:context>
    <inkml:brush xml:id="br0">
      <inkml:brushProperty name="width" value="0.025" units="cm"/>
      <inkml:brushProperty name="height" value="0.025" units="cm"/>
      <inkml:brushProperty name="ignorePressure" value="1"/>
    </inkml:brush>
  </inkml:definitions>
  <inkml:trace contextRef="#ctx0" brushRef="#br0">104 49,'-1'-1,"1"1,-2 0,2-2,-1 2,1 0,-1-1,1 1,-2 0,2 0,-1-1,1 1,-1 0,1 0,-2 0,1 0,1 0,-1 0,1 0,-2 0,2 0,-1 0,0 0,1 0,-2 0,2 1,-1-1,1 0,-1 0,1 0,-2 1,2-1,-1 0,1 2,-1-2,1 1,-2-1,2 0,0 1,-1 1,-32 18,30-18,-1 1,1 1,-1-1,2 1,-1-2,0 2,1 0,-1-1,0 1,2 0,-2 0,2 0,0 1,-1-1,1 0,0 0,-1 2,2-2,0 0,-1 1,1-1,0 0,1 1,-1-1,2 2,-2-2,1 0,0 0,1 0,0 1,0-1,0 0,0 0,0-1,5 6,-3-4,0 1,0-1,0-1,1 0,-1 1,2-1,-1-1,0 1,1 0,-1-1,0-1,2 1,-2 0,2-2,-2 2,2-2,0 0,-2-1,2 2,-1-2,1 0,-2 0,2 0,0 0,6-3,-8 2,-1-1,2 1,-2 0,0-2,1 2,-1-2,0 0,0 1,0-1,0 0,-1 1,1-2,-2 1,2-1,-1 1,0-1,-1 0,1 0,0 0,-1 0,0-1,-1 1,2 0,-2-1,0 1,1-8,-1 5,-1 0,0 1,-1-1,1 2,-2-2,1 0,0 1,-2 0,2 0,-2-1,0 2,1-1,-2 0,1 0,-1 1,0 0,0-1,-8-6,4 6,-1-2,-1 2,1 0,0 0,-1 1,0 0,0 1,0 0,-1 1,0 0,-13-2,0 1</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105"/>
    </inkml:context>
    <inkml:brush xml:id="br0">
      <inkml:brushProperty name="width" value="0.025" units="cm"/>
      <inkml:brushProperty name="height" value="0.025" units="cm"/>
      <inkml:brushProperty name="ignorePressure" value="1"/>
    </inkml:brush>
  </inkml:definitions>
  <inkml:trace contextRef="#ctx0" brushRef="#br0">281 0,'-3'1,"-1"1,0 0,2 0,-1 0,-1 1,1-2,1 2,-1 0,0-1,1 1,-1 1,-4 4,-5 7,-32 25,0 0,-77 90,120-128,-1 0,1 0,0-1,-1 2,1-2,0 2,-1-2,1 2,1-2,-1 2,1-2,-2 2,2-1,-1 0,1 0,0 1,0-2,0 2,0 0,0-2,0 2,1 2,1-4,-1 2,0-2,1 1,-1-1,0 0,2 2,-2-2,1 1,-1-1,2-1,-2 1,2 1,-2-1,2-1,-2 1,2-1,-1 2,4-2,14 2,0 1,0-2,40-3,-44 2,137 0,59-4,-189 0,-7-2</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891"/>
    </inkml:context>
    <inkml:brush xml:id="br0">
      <inkml:brushProperty name="width" value="0.025" units="cm"/>
      <inkml:brushProperty name="height" value="0.025" units="cm"/>
      <inkml:brushProperty name="ignorePressure" value="1"/>
    </inkml:brush>
  </inkml:definitions>
  <inkml:trace contextRef="#ctx0" brushRef="#br0">43 0,'0'4,"0"7,0 5,0 4,0 2,0 5,0 0,0-1,-4 1,-2 0,0-1,2 1,0-2,2 2,-3-6,-2-1,2-4</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2.637"/>
    </inkml:context>
    <inkml:brush xml:id="br0">
      <inkml:brushProperty name="width" value="0.025" units="cm"/>
      <inkml:brushProperty name="height" value="0.025" units="cm"/>
      <inkml:brushProperty name="ignorePressure" value="1"/>
    </inkml:brush>
  </inkml:definitions>
  <inkml:trace contextRef="#ctx0" brushRef="#br0">1 0,'4'9,"1"7,2 6,-3 3,-5-2,-3-2,0 0,0 3,0-5</inkml:trace>
</inkml:ink>
</file>

<file path=ppt/ink/ink9.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30T14:45:30.923"/>
    </inkml:context>
    <inkml:brush xml:id="br0">
      <inkml:brushProperty name="width" value="0.05292" units="cm"/>
      <inkml:brushProperty name="height" value="0.05292" units="cm"/>
      <inkml:brushProperty name="color" value="#0070C0"/>
    </inkml:brush>
  </inkml:definitions>
  <inkml:trace contextRef="#ctx0" brushRef="#br0">4648 2006 0,'-18'-70'0,"1"70"16,17-18-1,0 53 1,0 1-16,0 35 0,0-1 0,17 18 16,-17 0-16,0 18 0,0 0 15,0-18-15,18 142 0,-18-18 16,0-107-16,0 0 16,0-15-16,0-2 0,-18 0 0,18-18 15,0 1-15,0-19 0,0 36 16,0-69-16,0 15 15,0-16-15,0 0 0</inkml:trace>
  <inkml:trace contextRef="#ctx0" brushRef="#br0" timeOffset="1168.01">4560 2077 0,'34'-17'16,"20"-1"-16,-18 18 15,16-18-15,18 18 0,1 0 0,17-18 16,0 18-16,19-17 0,122 0 16,-106-2-16,35 2 0,2-1 15,16 1-15,-17 0 0,17-19 0,0 18 16,-16 1-16,16-2 15,159 2-15,-159 0 0,1-1 16,-1 18-16,124-18 0,-159 0 16,-18 18-16,125-17 15,-125 17-15,1 0 0,-19 0 0,107-17 16,-124 17-16,-17 0 0,-1 0 16,-16 0-16,34 0 15,-18 0-15,-18 0 16,-33 0-16,16 0 0,-18 0 15,0 0-15,2 0 16,-2 0-16,1 0 0,-1 0 16,2 0-1,-2 0 1,0 0 0,1 17-1,0 0 1,0-17-16,-1 18 0,-17 0 0,17 0 15,1 16-15,18 37 0,-19-35 16,0 16-16,2 1 0,-2 1 16,1 16-16,18 72 0,-2-20 15,-16-68-15,-1 16 16,2-18-16,15 19 0,-16 0 16,52 53-16,-51-90 0,-2 20 15,18-1-15,-18-1 0,19-16 0,-18 17 16,-1-1-16,36 36 15,-35-34-15,-1-18 0,2 16 0,-2-16 16,0-2-16,1 2 0,-18-18 16,18 35-16,0-18 0,-1 18 15,-17-1 1,0-33-16,17-2 0,-17 0 16,0 1-16,0-1 15,0 2-15,0-2 16,0 0-1,-17 1 1,0-18-16,-1 18 16,0-18-1,-17 18-15,-1-18 0,-16 17 16,-1-17-16,-70 17 0,52 2 16,-18-19-16,-16 17 0,-1 1 15,-18-18-15,0 17 0,-34 0 0,-160 19 16,160-18-16,-18-1 15,17 2-15,-17-2 0,-177 18 16,18 1-16,158-19 16,18 0-16,-17 1 0,17 0 0,1 0 15,-248 35 1,300-36-16,-17 1 0,16-1 0,2 0 16,-71 2-16,123-19 15,-18 17-15,36-17 0,-1 0 0,-17 0 16,1 0-16,33 0 15,2 0-15,0 0 16,-1 0-16,1 0 31</inkml:trace>
  <inkml:trace contextRef="#ctx0" brushRef="#br0" timeOffset="2101.17">19429 2201 0,'36'229'15,"-19"-141"-15,18 123 0,-16-104 16,-2 34-16,0 0 16,-17-35-16,35 228 15,-35-246-15,19 2 0,-19-2 0,0-18 16,0-18-16,0 2 0,0 34 16,0-52-16,0-19 0,0 0 15,0 1-15,0-70 31</inkml:trace>
  <inkml:trace contextRef="#ctx0" brushRef="#br0" timeOffset="3097.99">19553 2394 0,'352'-70'0,"-175"52"15,-71 1-15,18 17 0,-2-17 16,2-2-16,35 2 0,176-1 16,18-18-16,-194 36 15,17 0-15,177-17 0,-177 17 16,-35-17-16,177 17 16,-36 0-16,-18 0 15,-34 0-15,-106 0 0,-19 0 16,71 0-16,-105 0 15,53 0-15,-71 0 16,-1 0-16,-33-18 0,15 18 0,-16 0 16,35 0-16,-36 0 15,1 0-15,0 0 16,0 0-16,-1 18 0,0-1 16,-17 0-16,19 2 15,-2-2-15,-17 18 0,18 1 0,-18-1 16,17 18-16,0 0 0,2-18 0,-19 18 15,35 53-15,-18-53 16,2-1-16,-2 1 0,0 1 0,1 16 16,-1-18-16,2 2 0,-2-1 15,0 18-15,-17-19 0,18 1 16,0 0-16,-18 1 0,18-2 0,-1 54 16,-17-71-16,17 1 0,-17-1 15,0-1-15,0 2 0,19-1 0,-19-16 16,0 15-16,0-16 0,0 18 15,0-19-15,-19 0 0,19 1 16,0 0-16,-17 0 16,0-18-16,-1 17 15,0-17-15,-17 17 16,-1-17-16,1 0 16,1 0-16,-56 0 0,21 0 0,-2 0 15,1 0-15,-37 0 0,19 0 16,-17-17-16,-2 17 0,-16 0 0,17-17 15,-17 17-15,-1 0 0,-17 0 16,-123-18-16,122 18 0,-34 0 16,35 0-16,-35-18 0,17 18 15,18 0-15,-35 0 0,35 0 0,-1 0 16,1-18-16,0 18 0,-1 0 16,-122 0-16,159 0 0,-19 0 15,19 0-15,15 0 0,2 0 16,18 0-16,-70 0 0,86 0 15,18 0-15,2 0 0,-2 0 0,1 0 16,18 0-16,-1 0 0,0 0 16,0 18-16,1-18 15,0 0-15,-2 0 16,2 18 15,-1-18-15</inkml:trace>
  <inkml:trace contextRef="#ctx0" brushRef="#br0" timeOffset="22260.09">11616 2201 0,'0'-19'15,"17"55"1,-17-1 0,0-16-1,0-2-15,0 0 0,0 18 16,0-16-16,0-2 0,0 0 15,0 1 1,0 0-16,0 0 0,-17-18 16</inkml:trace>
  <inkml:trace contextRef="#ctx0" brushRef="#br0" timeOffset="22453.18">11580 1953 0</inkml:trace>
  <inkml:trace contextRef="#ctx0" brushRef="#br0" timeOffset="22854.99">11738 2218 0,'19'35'0,"-19"-16"15,-19-73-15,38 125 0,-19-54 16,17 1-16,-17-1 16,0 2-16,0-2 15,18-53 32,-1 1-31,0 35-16,2-17 15,-2 17-15,1 0 16,-1 17-16,2-17 16,-19 18-16,17-18 15,0 17-15,1 19 16,0-36-1,-18 17-15,18-17 0</inkml:trace>
  <inkml:trace contextRef="#ctx0" brushRef="#br0" timeOffset="23623.94">12285 2130 0,'-17'-18'16,"34"36"-16,-52-18 31,18 0-31,17 18 16,-19-1-16,19 0 15,0 2-15,-17-2 0,17 54 16,0-54-16,0 1 15,0-1-15,0 2 16,17-2-16,-17 0 0,19 1 16,-2-18-1,18 0-15,-16-18 16,-2 18-16,0-17 0,19-19 16,-18 19-1,-18-1-15,17 1 0,0-19 16,-17 19-16,0-18 0,18 16 31,-18 2-31,0 0 16,-18 51 15,36 20-15,-18-37-1,0 2-15,0-2 16,18 0-16,-18 1 0,0-1 15,18-17-15,-18 19 16,17-2 0,0-17-16,2 17 15,-2-17 1,18-17-16,-16 17 16,-2-17-16,0-2 15,1 2-15,-1-1 16,-17 1-16,19 0 15,-19-2-15,0 2 32,-19 34-1,2 36-15,34-18-1,-17-16 1,19-19-16,51 17 15,-52-17 1,-1 0-16,0 0 0</inkml:trace>
  <inkml:trace contextRef="#ctx0" brushRef="#br0" timeOffset="24088.91">13044 2182 0,'-35'0'0,"18"19"0,-2-2 16,2-17-16,17 18 16,-18-1-16,1 2 15,-2-2-15,19 0 16,19 1 0,-2-18-1,1 0-15,-1-18 16,2 18-16,-2-17 15,-17 0 1,17 17 0,1 17-1,-1 0 17,-17 1-32,19-18 0,-19 17 15,17-17-15,0 19 16</inkml:trace>
  <inkml:trace contextRef="#ctx0" brushRef="#br0" timeOffset="24594.2">13290 2148 0,'-17'0'0,"17"-18"15,-17 36 1,17-1 0,0 19-16,0-19 15,0 1-15,0-1 0,17-17 16,-17 19-16,0-2 16,0 0-16,0 1 0,0-1 15,-17 2-15,17-2 16,-18 0-16,1 1 15,34-36 17,1 18-17,-18-17-15,17 0 0,0-2 0,2 2 16,-2-1-16,1 1 0,18 0 16,-19-19-16,0 36 15,1-18-15,0 1 16,-36 52 15,0-35-31,18 36 31,-17-2-15,34-16-16,-17-1 16,18-17-1,0 0 1,0 19-16</inkml:trace>
  <inkml:trace contextRef="#ctx0" brushRef="#br0" timeOffset="26301.17">13978 2042 0,'0'-18'16,"36"54"-1,-36-19 1,18 0-16,-18 1 0,0 18 0,17-19 15,-17 0-15,0 19 0,0-1 16,0-16-16,0-2 0,0 18 16,0-18-16,0 2 15,0-2-15,0 0 16,0 1-16,-17 0 16,17-71 15,17 0-16,2 35-15,-19 1 16,0 0-16,17-2 0,-17 2 0,17-1 16,-17 1-16,35-2 31,-16 19-31,-2-17 16</inkml:trace>
  <inkml:trace contextRef="#ctx0" brushRef="#br0" timeOffset="26464.36">14332 2130 0,'0'18'0,"0"-1"15,0 0-15,0 2 16,0-2-16,0 1 0,0-1 16,0 2-16,0-2 0,0 0 15,0 1-15,0-1 16</inkml:trace>
  <inkml:trace contextRef="#ctx0" brushRef="#br0" timeOffset="26614.02">14385 2077 0,'-19'-17'0</inkml:trace>
  <inkml:trace contextRef="#ctx0" brushRef="#br0" timeOffset="26901.43">14456 2094 0,'0'18'32,"17"35"-17,0-53 1,-17 17-16,0 2 0,18-2 16,-18 1-16,17-18 0,-17 36 15,19-19-15,-19 0 16,0 1-16,0-1 15,-19-17-15,19 19 16,-17-19-16,-1 17 16,1-17-16</inkml:trace>
  <inkml:trace contextRef="#ctx0" brushRef="#br0" timeOffset="27139.28">14737 1953 0,'17'19'32,"-17"51"-17,0-52-15,0-1 16,0 18-16,0-17 0,0 0 15,-17 16-15,17-15 0,0-2 0,0 1 16,-17 18-16,17-19 16,17 0-16</inkml:trace>
  <inkml:trace contextRef="#ctx0" brushRef="#br0" timeOffset="27400.38">14914 2148 0,'-53'17'0,"36"0"15,-2-17-15,2 19 0,-1-2 16,18 1-16,-17-1 16,17 2 15,17-2-31,1-17 0,-1 0 15,2 17-15,15-17 16,-16-17-16,0 17 16,17 0-16,-18 0 0,19 0 15</inkml:trace>
  <inkml:trace contextRef="#ctx0" brushRef="#br0" timeOffset="28108.56">15601 1972 0,'-17'-19'0,"-18"38"31,35-2-31,-17-17 16,17 17-16,-19 1 15,19 0-15,0 0 0,0-1 16,0 0-16,0 1 16,19-18-16,-2 18 15,18-36 1,-18 18-16,2-18 0,-2 1 16,-17 0-16,17-37 31,-34 20-31,17 15 15,0 2 1,0 70 15,0-36-31,17 19 16,-17-18-16,18 16 0,-18 2 0,18-18 16,0 70-16,-1-52 0,-17-2 15,17-16-15,-17 35 16,0-18-16,0-17 0,-17 0 0,17-1 15,0 0-15,0 2 0,-17-2 16,17 1-16,-18-18 0,0 17 16,0-34-1,18-1 1,18 1 0,0-19-16,-18 19 0,18 17 15,-1-18-15,0 0 0,2 18 16,-2-18-16,18 1 0,-18 0 0,2 17 15,-2-19-15,18 19 0,-16-17 0</inkml:trace>
  <inkml:trace contextRef="#ctx0" brushRef="#br0" timeOffset="28636.29">16642 1760 0,'0'-18'16,"-17"89"-1,17-36-15,0 1 0,-17-2 16,17 37-16,0-36 15,-19-17-15,19 17 0,0 18 16,0-18-16,0-18 16,0 2-16,0-2 15,0 1-15,-17-36 32,-1 1-32,-18-19 15,19 19 1,0 17-16,-1-18 15,0 18-15,-17 0 0,18 0 0,-37 18 32,37-1-32,0-17 0,-2 36 15,2-19-15,17 1 16,0-1-16,17 19 16,54-19-1,-53 1-15,34-18 16,19-18-1,-35 18-15,16-17 16,-33 17-16,-2 0 0,0 0 0,1 0 16,-1 0-16</inkml:trace>
  <inkml:trace contextRef="#ctx0" brushRef="#br0" timeOffset="28962.39">16801 2289 0,'17'-36'15,"-17"19"-15,19 17 0,-19-18 16,0 1-16,17-2 0,1 2 16,-1-18-1,-17 17 1,-35 36 15,35 0-15,-17-18-16,17 17 0,0 0 15,-19 2 1,55 33 0,-18-52-16,-1 0 0,0 0 15,2 0-15,-2 19 0,1-19 16,-1 0-16</inkml:trace>
  <inkml:trace contextRef="#ctx0" brushRef="#br0" timeOffset="29340.07">17277 2165 0,'-17'-17'31,"-1"-1"-31,1 18 15,-19 18 1,19-18 0,-1 17-16,0 0 15,18 2-15,-18-2 0,1 18 16,17-16 0,17-2-1,1-34 1,0 17 15,0-19-31,-1 19 0,0 0 47,-17 19-31,19-2-16,-2 0 15,1-34 1</inkml:trace>
  <inkml:trace contextRef="#ctx0" brushRef="#br0" timeOffset="29609.08">17594 1901 0,'0'-17'0,"-17"51"32,17-16-32,0-1 15,0 2-15,0 15 16,0-16-16,0 0 0,-17 0 0,17-1 16,0 18-16,0-17 0,0 0 15,0-1-15,0 0 0,0 2 16,0-2-16,0 1 15,17-18-15</inkml:trace>
  <inkml:trace contextRef="#ctx0" brushRef="#br0" timeOffset="29984.18">17877 1918 0,'-17'35'47,"-1"-16"-31,18 15-16,-18 20 31,0-37-31,18 0 15,0 1-15,0 0 16,0 0 0,18-18-1,0 17-15,0-17 16,-1 17-16,18-17 16,-17 0-1,0 0-15,-1 0 0,0 0 16,2 0-1,-19-17-15</inkml:trace>
  <inkml:trace contextRef="#ctx0" brushRef="#br0" timeOffset="30207.62">17348 2024 0,'88'-18'32,"-52"18"-32,-2 0 0,2 0 15,-1 0-15,1 0 0,-1-17 0,1 17 16,33 0-16,-50 0 16,51-17-16,-52 17 0,-1 0 15,0 0-15,1 0 0,0 0 0</inkml:trace>
  <inkml:trace contextRef="#ctx0" brushRef="#br0" timeOffset="41823.33">24756 9732 0,'0'-35'15,"-18"70"1,18 54-1,-17-72-15,17 18 0,0 1 16,0-1-16,0 1 0,-17 34 16,17-35-16,0 1 15,0-19-15,0 18 0,0-18 0,-19 2 0,19 16 16,0-18-16,0 2 16,0-2-16,0 0 15,0-70 16,0 1-15,0 33-16,19 2 16,-19-18-16,17 18 0,-17-2 0,17 2 15,1 0-15,0 17 16,0-18-16,-1 18 0,0 0 16,2 0-16,-2 0 0,18 0 0,-18 0 15,19 18-15,-18-18 0,-18 17 16,17-17-16,-17 17 0,19-17 15,-19 19-15,-19-2 16,19 1-16,-17-18 16,-1 17-16,1-17 0,-2 17 0,2-17 15,0 19-15,-1-19 0,1 17 16,-2-17-16,2 0 0,0 18 16,-1-18-16,0 17 15</inkml:trace>
  <inkml:trace contextRef="#ctx0" brushRef="#br0" timeOffset="42872.48">24845 9909 0,'-53'52'0,"35"-16"0,18-19 0,-18 19 0,0-18 16,18 16-16,0 2 0,-17-18 15,17 16-15,0-15 0,0-2 16,0 1-16,0-1 0,17 19 15,-17-19-15,18-17 0,0 0 16,0 0 0,-1-17-16,0 0 0,-17-2 15,19 2-15,-19-37 16,0 37-16,0 0 0,0-1 0,0 1 16,0-2-16,-19 19 15,19 19 1,-17-2-1,17 1-15,0-1 0,0 0 16,17 2-16,-17-2 16,19-17-16,-2 0 15,1 0 1,-18-17-16,0-2 16,0-15-1,-18 16 1,18 1-16,0-2 15,18 19 1</inkml:trace>
  <inkml:trace contextRef="#ctx0" brushRef="#br0" timeOffset="43255.66">25726 9732 0,'-34'0'0,"15"0"0,2 18 15,87-36-15,-158 54 16,88-19-16,18 19 15,-18-19-15,17 1 0,2-1 16,15 19-16,1 16 0,-16-33 16,15-2-16,-16 0 0,-18 1 15,18 0-15,0-18 0,-18 18 16,0-1-16,17-17 0,-34 17 0,17 2 16,-18-2-16,0-17 0,0 18 15,1-18-15,0 0 0,-2 17 16,-33-17-16,35 0 0,-2 0 15,2 17-15,-1-17 0,1 0 16,-2 0-16</inkml:trace>
  <inkml:trace contextRef="#ctx0" brushRef="#br0" timeOffset="43803.44">25956 9873 0,'0'-17'0,"17"34"16,-17 2 0,0-2-16,17 0 15,-17 1-15,0-1 16,0 2-16,0-2 0,0 0 15,0 1-15,19 0 0,-19 0 16,17-36 31,-17 0-31,18 18-1,-18-18-15,17 18 16,2 0-16,-2 0 15,-17 18-15,17-18 16,1 0-16,-18 18 0,18-18 31,-18 18-15,18-36 0,-1 0-1,0 0 1,-17 1-16,18 17 15,0-17 1,0 17-16,16 17 31,2 0-15,-18-17 0</inkml:trace>
  <inkml:trace contextRef="#ctx0" brushRef="#br0" timeOffset="44120.05">26520 9909 0,'-18'-17'0,"1"34"16,17 18 15,0-18-31,0 2 0,0 15 16,0-16-1,17-18-15,-17 18 0,18-18 16,18 0-16,16 0 16,-34-36 15,-18 19-31,0-19 16,-18 36-16,18-17 15,-18-1-15,1 1 16,0 17-1,-19 0 1</inkml:trace>
  <inkml:trace contextRef="#ctx0" brushRef="#br0" timeOffset="44345.35">26837 9662 0,'19'18'16,"-19"-1"-16,0 0 15,0 19-15,0-18 0,0 16 16,-19 73 0,19-55-16,0-33 15,0 15-15,0-16 16,0 0-16,0 0 0,19-18 0</inkml:trace>
  <inkml:trace contextRef="#ctx0" brushRef="#br0" timeOffset="44786.62">27173 9873 0,'0'-17'15,"0"34"-15,-17-34 16,-19 17-16,18 0 15,1 0-15,-2 17 0,2-17 16,0 19-16,-1-19 0,1 17 16,-2-17-16,19 17 0,-17-17 0,17 18 0,-17-1 15,17 2-15,0-2 16,0 0 0,17-17-16,-17 18 0,17-18 15,2 0-15,-2 0 0,1 0 16,-1 0-16,19 0 15,-19-18-15,1 18 0,-1 0 0,2-17 16,-2 17-16,0-17 0,1-2 16,0 19-16,0-17 15,-1-1-15,0 18 16,-17-17 0,18 34 15,0 18-16,-18-16-15,0-2 16,18-17-16,-18 17 0,17 1 16,0 0 15</inkml:trace>
  <inkml:trace contextRef="#ctx0" brushRef="#br0" timeOffset="44930.98">27420 9768 0,'-18'0'16</inkml:trace>
  <inkml:trace contextRef="#ctx0" brushRef="#br0" timeOffset="45348.26">27614 9892 0,'0'17'0,"0"0"0,0 1 15,0-1 1,0 2-16,0-2 16,18 0-1,-1-34 48,0 0-48,1 17 1,0-19-16,0 38 31,16-19-15</inkml:trace>
  <inkml:trace contextRef="#ctx0" brushRef="#br0" timeOffset="45705.06">27966 9873 0,'-17'0'0,"0"0"31,-2 0-31,19 19 16,0-2 0,0 0-16,0 37 15,0-37 1,0 0-16,0 1 0,0 0 0,0 0 16,-17-1-16,17 0 0,-18 2 15,1-2-15,0 1 16,-2-18-1,38-18 17,15-18-32,-16 19 15,-1 0-15,2 17 0,-2-18 16,0 0-16,37 0 0,-37 1 0,36-19 16,-35 36-16,16 0 15,-15-17-15,16 17 0,-18 0 16</inkml:trace>
  <inkml:trace contextRef="#ctx0" brushRef="#br0" timeOffset="48571.53">25814 10826 0,'0'-18'0,"0"54"16,0 17 0,0-18-1,0 1-15,0-19 0,0 18 0,-17-18 16,17 19-16,0-1 0,0 1 16,0-19-16,0 0 0,0 19 0,-17-1 15,17-18-15,0 2 16,0-2-16,0 1 0,0-53 47,17 16-32,-17 2-15,17 0 0,1-1 16,-18 0-16,18 18 0,0-18 0,-1 18 16,0-17-16,2 17 0,-2 0 15,1 0-15,-1 0 0,0 17 16,2-17-16,-2 18 0,1 0 0,-18 0 15,0-1-15,0 0 16,-18 2-16,18-2 16,-17-17-16,-2 18 0,2-18 15,0 17-15,-1 2 0,1-19 16,-2 0-16,2 0 0,0 0 16,-19 0-16,18 0 15</inkml:trace>
  <inkml:trace contextRef="#ctx0" brushRef="#br0" timeOffset="49229.83">26344 11090 0,'-18'0'0,"18"-17"15,18 34-15,-53-34 0,16 17 16,2 17-16,0-17 16,-1 18-16,0 0 15,0 0-15,1 16 32,17-16-32,17 0 15,1-18-15,0 0 16,0 0-1,-1-18 1,0 18 31,-17 18-31,19 0-16,-19-1 15,0 0-15,0 2 16,0-2-1</inkml:trace>
  <inkml:trace contextRef="#ctx0" brushRef="#br0" timeOffset="49644.67">26661 10808 0,'0'70'16,"0"-51"-16,0-2 0,-17 1 15,17 18-15,0-19 0,0 35 16,0-33-16,0-2 16,0 0-16,17 1 0,-17 0 15,0 0 1,-17-36 31,-19 36-47,18-18 15,1 0-15,0 17 0,-19 0 16,36 1 0,-18 0-16,1-18 0,17 18 15,-17-18-15,17 17 0,0 0 16,17-17-1,0 0-15,-17 19 0,18-19 16,18 0-16,-19 0 0,0 0 16,19-19-16,-18 19 15</inkml:trace>
  <inkml:trace contextRef="#ctx0" brushRef="#br0" timeOffset="50513.38">27561 10702 0,'0'71'32,"0"-54"-32,0 19 0,-17-18 0,17 16 15,17 2-15,-17-18 0,0 18 0,0-19 16,0 0-16,0 1 0,17-1 0,-17 19 16,0-19-16,18 1 15,-18 0 1,-35-54 15,18 36-31,-2-17 16,-16 17-1,-1 0-15,19 0 0,0 17 16,-1-17-16,-18 36 16,19-36-16,0 18 0,-1-1 15,0 0-15,18 1 0,0 0 0,0 0 31,18-1-31,0-17 0,-1 0 16,36 0-16,-35 0 0,16-17 16,-15 17-16,-2-18 0,18 18 15,-16-18-15,-2 18 0,0-18 0,1 18 16,0 0-16,0-17 0,-1 17 16,0 0-16,1 0 15,-18 17-15,18-17 0,-18 18 16,0 0-1,18-18-15,-18 18 0,0-1 16,0 0-16,17 2 16</inkml:trace>
  <inkml:trace contextRef="#ctx0" brushRef="#br0" timeOffset="50643.94">27808 10985 0,'0'-17'0</inkml:trace>
  <inkml:trace contextRef="#ctx0" brushRef="#br0" timeOffset="51196.01">27949 11232 0,'0'-18'15,"0"0"-15,17 0 16,-51 36 31,34 0-32,-19-18-15,19 18 16,0-1-16,19 0 16,-2 2-16,0-19 15,1 0-15,35 0 16,-36-19-1,19 2-15,-1 0 0,-18-1 0,2 0 16,-2 0-16,18-16 0,-16-2 16,-2 18-16,0-16 0,1-2 15,-18 1-15,17 18 0,2-19 16,-19 18-16,0 1 0,0-2 16,17 2-16,-34 53 31,-2-36-31,19 17 15,0 1-15,0 18 0,0-19 0,-17 18 16,17-18-16,17 19 16,-17-19-16,0 1 15,0 0-15,19 0 0,-2-1 16,0-17-16,1 0 16,0 0-16,0 0 15,-1 0-15</inkml:trace>
  <inkml:trace contextRef="#ctx0" brushRef="#br0" timeOffset="51409.33">28125 11037 0,'36'-17'16,"-19"17"-16,18 0 15,-16-18-15,15 18 0,20 0 16,-37-17-16,18 17 16,-17 0-16,0 0 0,-1 0 0,0 0 0,2-17 15,-2 17-15,1 0 16</inkml:trace>
  <inkml:trace contextRef="#ctx0" brushRef="#br0" timeOffset="75819.87">26061 12078 0,'0'124'31,"0"-36"-16,0-53-15,0 1 0,0-1 0,36 106 32,-36-106-32,17 1 15,-17-2-15,18-15 0,0-2 16,0 1-16,-18-1 0,17-17 16,0 0-16,1 0 15</inkml:trace>
  <inkml:trace contextRef="#ctx0" brushRef="#br0" timeOffset="76030.46">25814 12484 0,'-17'-18'0,"52"1"16,1 17-16,-2-17 15,-15 17-15,50-19 16,-15 19-16,-1-17 0,-36 17 16,19 0-16,-1 0 0,0 0 15,-17 0-15,17 0 0</inkml:trace>
  <inkml:trace contextRef="#ctx0" brushRef="#br0" timeOffset="76443.3">26556 12432 0,'-18'17'0,"0"0"16,18 1-16,-18 35 15,18-18-15,0-17 16,0 0-16,18-1 16,0 19-16,0-19 15,16-17 1,-16 0-16,0-17 0,0 17 15,-1 0-15,-17-19 0,17 2 16,-17-18-16,0 17 0,0 0 16,0 1-16,-17 0 0,0-19 15,-1 18-15,0-16 16,0 34-16,1 0 0,17-19 16,-17 19-16,-1 0 15</inkml:trace>
  <inkml:trace contextRef="#ctx0" brushRef="#br0" timeOffset="76844.12">26890 12166 0,'0'36'16,"-17"-1"-1,17 0-15,0-17 0,0 17 16,0-18-16,0 37 0,0-18 16,0 16-16,0-35 0,0 2 15,0-2-15,0 18 16,0-17-16,17-54 31,-17 19-15,18 0-16,-18-2 0,36 2 15,-19-18-15,19 35 16,-36-17-16,35 34 16,-18-17-16,0 17 15,-17 1 1,-34 18-16,34-19 16,-18 0-16,1-17 0,17 18 15,-19-18-15,19 18 0,-17-18 0,0 0 16</inkml:trace>
  <inkml:trace contextRef="#ctx0" brushRef="#br0" timeOffset="77394.17">27385 12308 0,'-36'53'16,"19"-36"-16,17 37 15,0-20 16,17-16-15,19-53 0,-19 35-1,1-17 1,-1-2 0,-17 38-1,0 15 1,0-16-1,0-1-15,17-17 0,-17 19 16,0-2-16,19-17 16,-2 17-16</inkml:trace>
  <inkml:trace contextRef="#ctx0" brushRef="#br0" timeOffset="77643.23">27825 12272 0,'-17'0'0,"-18"18"16,-1 17 15,36-18-31,0 2 0,-17-2 0,17 1 16,0 35-1,0-18 1,0-18-16,34 2 16,-15-19-16</inkml:trace>
  <inkml:trace contextRef="#ctx0" brushRef="#br0" timeOffset="78125.19">28072 12342 0,'0'-17'0,"-35"34"47,0 37-15,35-37-32,-18 19 15,18-19-15,0 1 0,0-1 16,0 2-1,18-19-15,0 0 0,-1 0 16,0 0-16,1 0 0,0-19 16,17 2-16,-18 17 15,2-18-15,-2 18 0,-17-17 0,18 17 16,-18-17-16,17 17 0,2 17 31,-19 0-15,0 1-1,17-1-15,-17 2 16,17-19-16,1 0 0,-1 0 16,2 0-16,-2 0 15,0 0-15,1-19 0,0 19 16,-18-17-16,0-1 16,0 1-16,0-19 15,-18 19-15,0 17 0,18-18 16,-17 18-16,-19-17 0,19 17 15,-1 0-15,-16 0 0,15 0 16,2 0-16,-18 0 0,16 17 0</inkml:trace>
  <inkml:trace contextRef="#ctx0" brushRef="#br0" timeOffset="81073.53">26114 13454 0,'0'-17'0,"-17"69"47,17-16-32,0-19-15,-17 18 0,17 1 16,0-1-16,0-17 0,0 0 0,0-1 15,0 19-15,0-19 0,0 1 16,0-1-16,17 0 0,-17 2 16,17-2-16,1-17 15,0 0-15,0 0 16,-1 0-16,0 0 0,1 0 16,0 0-16,0-17 0,-1-2 0,0 19 15</inkml:trace>
  <inkml:trace contextRef="#ctx0" brushRef="#br0" timeOffset="81401">26378 13806 0,'36'-34'15,"-18"16"-15,-18 1 0,0-2 16,17 2-16,-17 0 16,0-1-1,-17 18 1,-1 18 0,1-1-16,17 19 15,0-1 1,17-18 15,1 0-31,-1-17 0,2 0 0,-2 0 16,0 0-16,19 0 15,-18 0-15</inkml:trace>
  <inkml:trace contextRef="#ctx0" brushRef="#br0" timeOffset="81734.64">26802 13701 0,'-17'-17'0,"34"34"0,-51-34 15,15 17-15,-16 0 16,18 0-16,17 17 16,-19-17-1,19 17-15,19 19 31,-2-18-15,-17-1-16,18-17 0,-18 17 16,17 2-1,-17-2-15,0 1 16,-17-1 0,-1-17-16,18 19 15,-17-19-15,-2 0 0,2 17 16</inkml:trace>
  <inkml:trace contextRef="#ctx0" brushRef="#br0" timeOffset="82001.22">26961 13701 0,'-17'0'16,"-1"17"15,18 2-31,0-2 16,0 1-16,0-1 16,0 19-16,-18-1 15,18-18 1,-18 2-1,18-2 1,-17-17-16</inkml:trace>
  <inkml:trace contextRef="#ctx0" brushRef="#br0" timeOffset="82823.99">27525 13577 0,'0'36'16,"0"-19"-16,19 1 0,-19 0 16,0 0-16,0-1 0,0 0 15,0 2-15,0-2 0,0 1 16,17 16-16,-17-15 0,0-2 0,17 1 15,-17-1-15,18 2 16,0-2-16,0 0 16,-1-17-1,0 0-15,19 0 0,-18 0 16,-1 0-16,0 0 16,2 0-16,-19-17 0,17 17 15</inkml:trace>
  <inkml:trace contextRef="#ctx0" brushRef="#br0" timeOffset="83250.96">27596 13825 0,'-18'-19'0,"72"2"32,-37 17-17,0 0-15,1 0 0,0-17 0,17 17 16,-18-18-1,2 18-15,-2-17 16,-53-2 0,19 19-16,0-17 15,-1 17-15,-18-17 16,19 17-16,17-18 0,-17 18 0,17-18 31,34 0-15,-16 18-16,0-17 0,34 17 15,-16-17-15,-1 17 16,-16 0-16,33 0 0,-35-19 16,19 19-16,-19 0 0,1 19 15,0-19-15,-18 17 16,0 0-16,0 1 0,0 0 16,0 0-16,0-1 0,0 0 15,-18 19-15,18-18 0,-18-1 16,18 0-16,-17 19 0,17-18 0,-17-1 15,-2 2-15,19-2 0,-17 0 16,17 1-16,-18-18 0</inkml:trace>
  <inkml:trace contextRef="#ctx0" brushRef="#br0" timeOffset="83436.82">27790 13789 0,'35'0'0,"-35"17"0,53 2 16,1-2-1,-20-17-15,-16 0 0,35 18 16,-18-18-16,-17 17 16,17-17-16,1 0 0</inkml:trace>
  <inkml:trace contextRef="#ctx0" brushRef="#br0" timeOffset="84320.74">28390 13560 0,'-18'-18'15,"-17"36"16,35 18-31,-17-19 0,-2 18 16,2-17-16,17 0 0,-18 16 16,18-15-16,0-2 0,0 1 0,0-1 15,0 19-15,0-19 16,0 1-16,18-18 0,-18 17 0,36-17 16,-19 19-16,0-19 15,1-19-15,0 19 0,17 0 16,-18-17-16,2-1 0,-2 18 0,1-17 15,-1-2-15,-17 2 0,17 0 16,-17-1-16,0 1 0,0-2 16,0 2-1,-17 17 1,0 17 0,34-17-1,-17 19 1,17-2-16,19 1 15,-18-18 1,-1 17 0,2-17-1,-2 17-15,0 2 16,1-19-16,-18 17 16,0 1-16,18-36 62,-18 1-46,18-2-16,-1-15 15,0 34-15,1-18 0,18 1 16,-19-2 0,0 19-16,2 0 0,-2 0 15</inkml:trace>
  <inkml:trace contextRef="#ctx0" brushRef="#br0" timeOffset="84755.81">29060 13630 0,'-52'18'0,"33"-18"0,2 0 16,17 18-16,-18 0 15,1-1-15,0 0 0,17 2 16,0-2-1,34 1 1,-16-18-16,-1 0 31,2-18-31,-2 18 0,0 0 16,1 18 0,0-1-1,-18 0 1,0 2-16,18-2 15,-18 1 17</inkml:trace>
  <inkml:trace contextRef="#ctx0" brushRef="#br0" timeOffset="84867.58">29096 13648 0</inkml:trace>
  <inkml:trace contextRef="#ctx0" brushRef="#br0" timeOffset="85295.1">29237 13648 0,'0'0'0,"17"18"16,-17 0-1,0-1-15,18 0 16,-18 2-16,-18-19 16,18 17-16,0 1 0,0-1 15,0 0-15,18-17 31,18-17-15,-19 17 0,-17-17-16,17-1 15,1 1-15,-1 17 16,2-19-16,-19 2 0,-19 53 47,19-19-47,0 1 15,-17-1 1,17 0-16,17 2 16,19-19 15</inkml:trace>
  <inkml:trace contextRef="#ctx0" brushRef="#br0" timeOffset="88239.12">28672 9168 0,'70'17'0,"-52"-17"0,18 19 15,-19-2 1,0 0-16,2 1 0,-2 18 16,1-2-16,-1-16 15,-17 18-15,19-2 0,-2 20 0,0-20 16,1 20-16,-1-1 0,-17 0 0,19-1 15,-2 2-15,0 16 0,1 1 16,0 0-16,17 87 0,-18-87 16,1 0-16,0 17 0,0 0 0,16-18 15,-15 18-15,-2 0 16,18 0-16,-16 0 0,15 2 0,-16-2 16,35 88-16,-36-88 0,1 17 15,0-16-15,0-1 0,-1 18 0,0-18 16,-17 18-16,19 0 0,-2-18 15,-17 18-15,18 0 0,-18-18 0,17 124 16,0-107-16,-17-17 0,19 0 16,-2 19-16,1-19 0,-1 0 15,2-18-15,15 89 16,-16-88-16,-1-1 0,-17-16 0,19-2 0,-2 1 16,-17-17-16,17 16 0,-17-16 15,0-19-15,0 18 0,0-16 16,0-2-16,0 0 0,-17 1 0,0-1 15,-2-17-15,2 19 16,-1-19-16</inkml:trace>
  <inkml:trace contextRef="#ctx0" brushRef="#br0" timeOffset="93922.03">1173 10402 0,'0'142'15,"0"-89"-15,0-18 16,17 1-16,-17-19 16,0 0-16,0 1 0,18 0 15,-18 0-15,0-1 16,-18-34-1,-16 17 1,16 0 0,0 0-16,0 0 0,-16 0 15,-2 17-15,18-17 16,1 17-16,-2-17 0,2 18 0,0 0 16,-1 0-16,1-1 0,-2 0 15,19 2-15,-17-2 0,17 1 0,0-1 16,0 2-16,17-2 15,2-17-15,16 17 16,-18-17-16,19-17 0,-19 17 0,18-17 16,18-2-16,-17 2 0,16-1 15,-16 1-15,16-19 0,-16 19 0,-1-19 16,18 1-16,-35 18 0,18-1 0,-19 0 16,0 0-16,1 18 15,-18-17-15,-18 52 47,18-17-47,0 0 0,-17-1 16,17 36-1,17-53-15,1 35 16,0-35-16,0 0 16,16 0-1,-15-17 1,-19-1-16,0 0 15,0 0-15,-19 18 0,19-17 16,-17 17-16,0-17 0,-1 17 16,0 0-16,-17 0 15,18 0-15,-2 17 16</inkml:trace>
  <inkml:trace contextRef="#ctx0" brushRef="#br0" timeOffset="94227.92">1685 10738 0,'0'18'16,"0"-36"-16,0 53 0,0-18 15,0 1-15,0 0 31,17-36 1,1 18-17,-1-18-15,19 18 16,-19 0 15,1 0-31,18 0 16,-19-17-16,18 0 15</inkml:trace>
  <inkml:trace contextRef="#ctx0" brushRef="#br0" timeOffset="94380.11">2073 10509 0,'0'-71'16,"0"142"0,17-90-1,-17 38 1,18 16-16,-1 35 15,-17-52-15,19 18 16,-19-19-16,17 18 0,-17-17 16</inkml:trace>
  <inkml:trace contextRef="#ctx0" brushRef="#br0" timeOffset="94528.97">2002 10808 0,'0'-18'0,"0"1"15,52 0 1,-33-1 0,16 18-16,-18-18 15,19 18-15,-1-18 0,1 18 0</inkml:trace>
  <inkml:trace contextRef="#ctx0" brushRef="#br0" timeOffset="94974.72">2901 10350 0,'-35'0'0,"70"0"16,-87 18-16,35-18 0,17 17 15,-19-17-15,19 17 0,0 1 0,19 0 16,-19 0-16,0 16 0,17-15 15,0 33-15,1-35 16,-1 2-16,2 16 0,-2-18 0,-17 2 16,17-2-16,1 0 0,-18 1 15,0 0-15,0 0 16,0-1-16,-35 18 16,18-35-16,-2 18 15,2-18-15,-35 0 16,33 0-16,2 0 15</inkml:trace>
  <inkml:trace contextRef="#ctx0" brushRef="#br0" timeOffset="95724.36">3078 10544 0,'35'17'16,"-35"19"0,0-19-16,0 1 15,0-1-15,0 2 0,0-2 16,17-17-16,-17 17 16,0 1-16,19-53 46,-2 35-30,-17-17-16,18 17 16,-1 0-16,2 0 15,-2 0 1,0 0 0,1 17-1,0-17-15,-18 17 16,18-17-1,-1-17 17,0 17-1,1 0-31,0 0 0,-18-17 16,18 17-16,-1 0 0,0 0 15,2-19-15,-2 2 16,1 17-16,-1-18 0,2 18 15,-19-17-15,17 17 16,-17-19-16,17 19 16,-34 36 31,17-18-32,0-1-15,0 2 0,17-19 16,-17 17-16,18-17 15,-1 0-15,2 0 16,-2 0 0,-17-17-1,0-2-15,0 2 16,-17 17 0,17-18-16,-19 18 0,19-17 0,-17 17 15,17-19 1,0 2-1</inkml:trace>
  <inkml:trace contextRef="#ctx0" brushRef="#br0" timeOffset="96100.14">3818 10244 0,'19'36'15,"-38"-36"-15,19 34 16,0-16-16,0 0 0,-17 0 0,17-1 15,0 0-15,-17 1 16,17 0-16,0 0 0,-18-1 0,18 0 16,0 2-16,-18-19 0,18 17 15,18-17 1,0 0 15,-18-17-15,17 17-16,-34 17 47,17 1-32,0-1-15,-18 0 16,36-17 0,-18 19-1,17-19 1</inkml:trace>
  <inkml:trace contextRef="#ctx0" brushRef="#br0" timeOffset="97687.84">1456 11796 0,'0'-18'16,"-36"54"-16,36-18 0,-18-1 0,1 18 16,17-17-16,0 0 15,-17-1-15,17 0 16,0 2-16,0-2 15,17-17 1,0 0-16,1 0 16,35 0-1,-36 0-15,1 0 16,0 18-16,0-1 0,-1 2 16,-17-2-16,0 0 0,0 1 0,0-1 15,0 19-15,0-19 0,-17 1 16,17 0-16,-18 0 0,18-1 0,0 0 15,-18-17-15,18 18 0,-18-18 0,18 18 16,-17-54 0,17 19-1,0 0-15,0-1 0,17-18 16,-17 19-16,18 0 0,0-19 16,0 18-16,-1 1 0,0 0 0,2-19 15,-2 18-15,1 18 16,-1-17-16,0 17 15,2 17-15,-19 1 16,17-18-16,-17 17 0,35 19 16,-16-36-1,-19 17-15,34-17 0,-16 18 16,0-18-16,0 0 0,-1 0 16,0 0-16,1-18 15,0 18-15,-18-17 0,18 17 0,-18-17 16,0-2-16,0-16 15,0 18 1,-18 17-16,18-19 0,-18 19 0,0-17 16,1 17-1,52 17 32,18-34-31,-36 17-1,37 17 1,-37-17-16,0 0 16,-17 19-16,19-19 0,-2 17 15,1 1 1,-1-18-16,-17 17 16,19-17-16,-2 0 15,0 0-15,1-17 16,0 17-16,-18-18 15,18 1-15,-18-2 16,0 2 0,-18 0-1,0 17-15,-17 0 16,35 17 0,-17-17-16,51 17 31,2-34-16,-18 0 1,-1-1-16,0 18 0,1-18 16,0 0-16,17-16 0,-35 16 15,17-18-15,2 19 0,-19 0 16,0-2-16,17 19 16,-17-17-16,0-1 0,0 1 0,18-2 15,-18 55 16,0-18-31,0-1 16,0 2-16,17-2 0,-17 0 0,0 1 16,0 18-16,0-19 0,0 18 15,19-17-15,-2 0 16,-17-1-16,17 0 16,1-17-16,-1 0 0,2 0 0</inkml:trace>
  <inkml:trace contextRef="#ctx0" brushRef="#br0" timeOffset="98289.82">3342 11444 0,'-52'70'16,"52"-52"-16,-18-1 0,18 0 0,0 37 15,-18-20-15,18-15 16,0 33-16,0-33 0,18-2 16,-18 0-16,0 1 0,0 0 15,0 0 1,-18-36 0,1 18-1,0 0 1,-19-18-1,18 18-15,1 18 0,-2-18 0,2 18 16,0-18-16,17 17 16,-18-17-16,18 17 0,-17 1 15,34 0-15,1 0 16,-1-18 0,36-18-1,1 18-15,-37 0 0,0 0 0,1 0 16,0-18-16,0 36 15,-1-18-15,0 0 0,1 0 16,0 18-16,0-18 0,-1 17 16,0 0-1</inkml:trace>
  <inkml:trace contextRef="#ctx0" brushRef="#br0" timeOffset="98424.91">3484 11725 0,'0'-17'16</inkml:trace>
  <inkml:trace contextRef="#ctx0" brushRef="#br0" timeOffset="98894.42">3625 11814 0,'17'-18'16,"-17"0"-1,-34 54 32,34-18-47,0-1 16,-19 0-16,19 19 15,19-18-15,-19-1 0,17-17 16,-17 17 0,35-17-16,35-17 15,-52 0-15,0-1 16,0 0-16,16 0 0,-15 1 15,-2 0-15,1-1 0,-1-18 0,2 19 16,-2 0-16,0-37 0,-17 37 16,18-2-16,-18 2 0,0 0 15,0-1-15,17 18 0,-17-17 0,19 52 32,-19-1-17,0-15-15,0 16 16,0-18-16,0 2 0,0-2 15,0 0-15,0 1 0,17-18 0,-17 18 16,0 0-16,17-1 16,-17 0-16</inkml:trace>
  <inkml:trace contextRef="#ctx0" brushRef="#br0" timeOffset="99095.7">3784 11796 0,'17'-18'16,"0"18"-16,2-17 0,16 17 15,-18-17-15,2 17 0,15-19 16,-16 19-16,18-17 0,-2 17 16,2-18-16,-18 18 0,-1-17 0,0 17 15,2 0 1,-2-19-16,1 19 0</inkml:trace>
  <inkml:trace contextRef="#ctx0" brushRef="#br0" timeOffset="111020.82">25726 7862 0,'-17'18'0,"52"-18"32,-18 0-32,2 18 15,15-18-15,54 0 16,-17 0-16,0 18 0,-1-18 15,89 0-15,-71 0 0,19 0 0,15 0 16,108 0 0,16 0-16,-122 0 0,0-18 0,16 18 15,2 0-15,-18 0 0,17 0 16,0 0-16,-18 0 0,18 0 0,-17 0 16,-18 0-16,-1 0 0,2 0 0,-37 0 15,1 0-15,0 0 0,-19 0 16,-16 18-16,-2-18 0,-16 0 0,0 0 15,0 0-15,-1 0 0,0 0 16</inkml:trace>
  <inkml:trace contextRef="#ctx0" brushRef="#br0" timeOffset="113882.8">1049 8550 0,'89'0'0,"-54"-17"0,-18 17 16,19 0-16,140 0 15,-105 0 1,88 0-16,35-17 16,-88 17-16,-1 0 0,2 0 15,15 0-15,-15-19 0,245 19 16,-228 0-16,-1 0 0,1 0 16,-19 0-16,19 0 0,-19 0 0,2 0 15,16 0-15,-17 0 0,88 0 16,-106 0-16,-18 0 15,1 0-15,0 0 0,-1 0 0,-16 0 16,-20 0-16,2 0 0,-1 0 0,36 0 16,-37 0-16,-15 0 15,16 0-15,-18 0 0,2 0 0,-2 0 16,18 0-16,-17 0 31,0 0-31,-1 0 16,0 0-16,1-17 15,0 17 32,0 0 16</inkml:trace>
  <inkml:trace contextRef="#ctx0" brushRef="#br0" timeOffset="119358.1">8370 2465 0,'-18'0'0,"18"-17"16,-18 17-16,1 0 15,0-18 1,-2 18-16,2-18 16,-1 18-16,1 0 0,-2-18 15,2 18-15,0 0 0,-1 0 16,-18-17-16,2 17 15,-2-17-15,1 17 0,-18 0 0,18-19 16,-18 19-16,-18 0 0,18-17 16,-17 17-16,17 0 0,0-18 0,1 18 15,-2 0-15,18 0 0,-34 0 0,18 0 16,-19 0-16,18 0 0,-18 0 16,0 0-16,19 0 0,-18 0 0,-1 0 15,18 18-15,-18-18 0,-52 17 16,70-17-16,0 19 15,1-19-15,-2 17 0,-34 0 0,35-17 16,0 18-16,1 0 0,-2-18 16,1 18-16,1-1 0,16 0 15,-17 2-15,18-19 0,-18 17 0,1 1 16,16-1-16,-18 0 0,20 2 16,-1-2-16,-36 18 0,35-16 15,-34 15-15,35-16 0,-1-1 16,1 19-16,-18-19 0,1 19 15,16-1-15,19-18 0,-37 19 16,37-18-16,-19-1 16,19 0-16,-18 19 0,-1-18 15,19 18-15,-1-19 0,1 0 16,17 1-16,-19 0 0,2 0 16,0 16-16,17-16 0,-18 18 0,0-19 0,18 19 15,-18 16-15,18-16 16,0-1-16,18 1 0,-18-2 0,18 2 15,0-1-15,-1 18 0,36 35 16,1-17-16,-20-36 16,72 35-16,-17 1 15,-37-54-15,19 19 0,-1-18 16,1 16-16,17-15 0,0-2 16,0-17-16,1 18 0,-1-18 0,0 17 15,18-17-15,0 0 0,105 0 16,-104 0-16,-2 0 0,0 0 15,2-17-15,105-1 16,-107 18-16,1-17 0,0 17 0,17-19 16,89-15-16,-107 16 15,2 18-15,-2-17 0,2-2 0,157-33 16,-193 52-16,70-18 16,-70 0-16,-1 1 15,-18 17-15,90-17 0,-72-2 16,1 19-16,-18-17 0,18 17 15,-2-18-15,-15 18 0,-1 0 16,52-17-16,-51 17 0,-1-17 0,-18 17 16,18-19-16,18 2 15,-37 17-15,2 0 0,52-18 16,-53 1-16,36-2 16,-54 19-16,54-17 0,-35 0 15,-2 17-15,-16-18 0,18 18 16,17-17-16,-18-2 15,18 2-15,-36 0 0,37-1 16,-37 18-16,0-18 16,37-17-16,-37 18 0,18-2 15,-17 2-15,0-18 16,-1 18-16,0-2 0,-17-33 16,19 16-16,-19 19 15,0-19-15,0-34 16,-19 34-16,-15-17 15,-2 1-15,-16-19 16,16 54-16,1-19 0,-1 1 16,-87-35-16,70 51 15,18-16-15,-18 18 0,17 0 16,-52-19-16,0-18 16,35 37-16,-106-18 15,107 18-15,-19-2 0,-53 2 16,54 0-16,-1-1 15,-69 0-15,-1 18 16,70-18-16,-17 18 0,17 0 0,-70-17 16,53 17-16,-71 0 15,89 0-15,-18 0 0,17 17 16,-36-17-16,19 0 0,0 18 16,0-18-16,18 18 0,-1-18 15,0 18-15,-51 16 0,68-15 16,-16-2-16,34 1 0,-16-1 15,-36 19-15,52-19 0</inkml:trace>
  <inkml:trace contextRef="#ctx0" brushRef="#br0" timeOffset="129518.83">16501 16206 0,'0'-18'0,"-17"0"0,17 1 0,0 0 16,-18-2-16,18 2 15,-18-1-15,0 1 16,-34-36-16,16 35 16,19 1-16,-19-2 0,19 2 0,-18 0 15,-18-19-15,18 18 0,-18 1 16,-1 0-16,2-1 0,-1-18 15,-18 19-15,1 0 0,-1-19 0,-70 1 16,70 16-16,0-15 16,-17 16-16,18 1 0,-18-2 0,0 2 0,17 0 15,-17-19-15,0 18 0,0 1 16,0 17-16,-1-17 0,-70-19 16,88 36-16,-17-18 0,18 18 15,-70-17-15,50 0 0,20 17 16,0 0-16,0 0 15,-54 0-15,70 0 0,-68 17 16,51-17-16,18 17 0,-18 1 16,19-18-16,-19 18 0,18 0 0,0-1 15,1 0-15,-2 19 0,18-18 0,-16-1 16,-1 19-16,18-19 16,-1 1-16,2 16 0,-2-15 15,1 16-15,-1-18 0,1 19 0,-1-19 0,2 19 16,-2-1-16,18-18 0,-16 19 15,-2-18-15,18 16 0,-16 2 0,15-1 16,-16 1-16,-18 35 0,18-37 16,18 2-16,-2-1 15,2-18-15,0 19 0,17-1 0,-18-18 0,-18 73 16,36-56-16,0-16 16,-17 18-16,17 34 15,0-35-15,0 1 0,0-1 0,0-1 16,53 108-16,-35-106 15,-1 16-15,19-16 0,-19-2 16,18 2-16,-18-1 0,19 1 16,-1-1-16,-16 1 0,15-2 0,2 2 15,34 16-15,-34-34 0,17 18 16,35 17-16,-36-36 16,37 37-16,-37-37 0,2 18 15,-1-18-15,-1 2 0,19 15 16,-35-16-16,34 0 0,-18 0 0,2 16 15,-1-15-15,-1-2 0,1 1 16,18-1-16,-18 0 0,18 2 0,69 33 16,-69-33-16,70 15 15,-53-16-15,-17-1 0,17 2 16,-18-2-16,18 0 0,-17 1 16,88 18-16,-70-19 0,-20 0 0,2-17 15,18 19-15,-19-19 0,19 17 16,-18-17-16,122 18 0,-105-18 15,19 0-15,-38 0 0,20 0 16,-1 0-16,0-18 0,0 18 0,-17 0 16,34 0-16,-34-17 0,0 17 15,17 0-15,-18 0 0,1 0 0,0 0 16,-18-19-16,18 19 0,-19 0 0,1 0 16,-17-17-16,16 17 0,-16-17 15,16 17-15,-16-18 0,-1 18 16,18-18-16,-18 0 0,1 18 0,17-34 15,-18 34-15,-1-36 0,-15 36 0,16-18 16,1 1-16,-2-19 0,2 1 16,16-1-16,-34 2 15,0 16-15,0 1 0,16-36 16,-15 35-16,-2-18 0,1 19 16,-18 0-16,17-19 0,2 18 15,-19-16-15,17 15 0,-17 2 0,17-37 16,-17 20-16,0 16 0,0-18 15,18-16-15,-18 34 16,0-17-16,0-1 0,0 1 0,0 1 16,0-2-16,0 18 0,0-18 0,0 2 15,-18-37-15,18 36 16,0 17-16,-17-17 0,17-1 0,-17-16 16,-2 16-16,2 19 0,17-18 15,-18-1-15,1 1 0,-19-18 16,19 17-16,-19 1 0,18 1 15,1-2-15,-18 18 0,17-18 0,0 19 16,1 0-16,0-19 0,-54-16 16,52 34-16,2-18 15,0 19-15,-1 0 0,1-2 16,-2 2-16,2-1 0,0 1 0,-1 0 16,0-2-16,0 2 0,1 17 15,0-18-15,-1 1 0,0-2 0,0 2 16,-16 17-16,15-17 0,2-1 0,-1 18 15,1-18-15,-19 0 0,19 18 0,-1-17 16,-18 17-16,19-17 16,0-1-16,-19 18 0,18-18 0,1 18 0,-19-18 15,19 18-15,-18-17 0,18 17 16,-19 0-16,1-17 0,16 17 16,-15 0-16,-2 0 0,-52-19 15,53 19-15,-89 0 0,72 19 16,-125-19-1,89 17-15,-88 18 0,69-17 16,19 0-16,0-1 0,17 18 0,-17-17 16,35 17-16,1-18 0,16 2 0,1 16 15</inkml:trace>
  <inkml:trace contextRef="#ctx0" brushRef="#br0" timeOffset="130427.35">17982 16824 0,'0'-19'0,"71"19"16,-35 0-16,35-17 16,-1 17-16,1 0 0,34 0 15,1 17-15,142-17 0,-126 0 16,20 0-16,34 0 0,1 0 0,16 19 15,-17-19-15,195 0 16,-176 17-16,-2-17 0,2 0 16,-2 0-16,2 0 0,-2-17 0,2 17 15,-2 0-15,2 0 0,-2 0 0,2 0 16,-19 0-16,0 0 0,-35 17 16,0-17-16,1 0 0,-18 17 0,-2-17 15,108 18-15,-124 0 0,-18-18 16,-17 18-16,0-18 0,34 17 15,-88-17-15,1 0 16,0 0-16,0 0 0,-54-17 31,18 17-31,-16-18 0,-90 0 16,36 0-16,-18 1 16</inkml:trace>
  <inkml:trace contextRef="#ctx0" brushRef="#br0" timeOffset="131330.84">18301 16453 0,'17'0'15,"-70"0"17,18 0-17,-1 17 1,2 1-16,-2-18 0,-35 36 16,19-19-16,16 0 0,-17 1 15,-53 35-15,1-17 16,69-19-16,-16 1 15,-1-1-15,17 0 0,1 2 0,-36-2 16,37 1 0,15-1-16,2-17 0,-1 0 0,1 19 15,-2-19-15,19 17 16,0 0-16,19 1 0,-2 0 16,1 0-16,35 16 15,-36-16-15,19 0 16,16 17-16,36 1 0,2 16 15,-38-16-15,106 35 16,-34-19 0,-1-16-16,-70-19 0,71 36 15,-72-35-15,2-1 16,-1 0-16,0 2 0,-18-2 16,0-17-16,18 35 0,-17-16 0,-19-19 15,1 17-15,18 0 16</inkml:trace>
  <inkml:trace contextRef="#ctx0" brushRef="#br0" timeOffset="133148.64">25638 15870 0,'-17'-17'16,"-36"0"0,35 17-1,-70 17-15,70-17 16,-34 17-16,16-17 16,18 18-16,-16-18 15,34 18 1,0 0-16,17 16 15,54 20-15,-37-18 16,-16-36-16,35 17 16,-36 0-1,2 1-15,-2-1 0,-17 2 16,0-2 0,0 0-16,-17 1 0,-19 0 15,-17 17 1,35-18-16,1-17 0,-19 18 15,1-18 1,18 0 0,52-35-1</inkml:trace>
  <inkml:trace contextRef="#ctx0" brushRef="#br0" timeOffset="133922.96">25744 15958 0,'17'19'47,"-17"-2"-47,19-17 0,-19 18 15,0-1-15,0 19 31,0-19 1,34-34-1,-104-90-15,158 197-16,-70-90 15,0 0 1,-1 17-1,0-17 1,-17 17-16,19-17 16,-2 0 15,1 0 0,-1 0-15,-17-17-16,17 17 15,2 0-15,-2 0 16,1-17-16,-1 17 16,-17-19-16,36 19 15,-19-17-15,1 17 16,-18-18-16,18 18 16,0-17-16,-18 34 46,0 1-30,0-1-16,17 2 16,-17-2-16,17-17 15,1 0-15,0 17 0,34-34 32,-33 17-32,-2 0 0,-17-17 15,18 17-15,-18-19 16,0 2-1,0-1-15,-18 1 16,1 17-16,-2 0 16,2 0-16,0 0 15,-1 0-15,0 17 16</inkml:trace>
  <inkml:trace contextRef="#ctx0" brushRef="#br0" timeOffset="134150.43">26626 15729 0,'18'-17'0,"-36"53"47,18-2-47,-18-16 16,18 0-16,-18 34 0,18-34 0,-17 0 15,17 0-15,0-1 16,-17 0-16,17 2 0,17-2 16,0-17-16,1 18 15</inkml:trace>
  <inkml:trace contextRef="#ctx0" brushRef="#br0" timeOffset="134484.9">26873 15906 0,'-36'-36'0,"19"36"16,-1 0-16,89 36 0,-159-72 0,71 54 16,-2-18-16,2 0 0,-1 18 0,1 0 15,-2-1-15,2 0 16,17 2-16,0-2 16,0 1-16,17-18 15,2 17-15,-2-17 16,1-17-16,-1 17 0,19 0 15,-19-18-15,1 18 16,-1 0-16,2-17 0,15 17 16,-16-19-16,0 19 15,0 0-15,-1 0 16,-17 19-16,17-19 16,-17 17-16,0 1 15,0-1-15,0 2 16,0-2-1</inkml:trace>
  <inkml:trace contextRef="#ctx0" brushRef="#br0" timeOffset="134627.01">27137 15836 0,'-35'-18'15,"18"18"1,-2 0-16</inkml:trace>
  <inkml:trace contextRef="#ctx0" brushRef="#br0" timeOffset="135182.79">27208 15853 0,'18'17'0,"-18"1"16,0 0 15,0 0-15,0-1-16,18-17 46,-1 0-14,0 0-32,1 0 15,0 0 1,17 0 0,-18-17-16,2 17 15,-2-18-15,1 0 31,-1 18-15,0 0-16,-17 18 31,0 17-15,0-18-16,0 2 0,-17-19 0,17 17 16,0 1-16,0-1 0,-17 2 15,17-2-15,0 0 16,-18-17-16,53-17 31,-18 0-31,2-2 0,-2 2 16,1-18-16,18 16 0,34-33 15,-52 34-15,-1 0 0,18 1 16,35-36-16,-51 53 16,-2 0-16</inkml:trace>
  <inkml:trace contextRef="#ctx0" brushRef="#br0" timeOffset="136119.59">25938 16576 0,'0'36'16,"0"-19"-16,0 0 15,0 2-15,-17 33 0,17-16 16,0-19-16,-19 18 16,19-16-16,0 15 0,0-16 0,-17 0 15,17 0-15,0 16 16,17-51 15,-17 0-31,19 17 0,-2-36 16,1 36-16,-18-18 15,17 18-15,0-17 0,19 17 16,-18-17-16,-1 17 16,2 17-16,-2-17 0,0 17 15,-17 1 1,0 0-16,-17 0 0,17-1 16,-17-17-16,-19 35 15,1-17 1,16-18-16,2 0 0,0 0 0,-1 0 15,1 0 1,17-18-16</inkml:trace>
  <inkml:trace contextRef="#ctx0" brushRef="#br0" timeOffset="137312.65">23874 17088 0,'-17'0'0,"17"-18"31,0 1-31,0-2 0,0 2 16,0-36-16,17 18 15,-17-18-15,18 1 0,18-19 0,-19 0 16,71-141-16,-35 107 0,18-2 16,0-15-16,-2-2 0,2 0 0,-1 1 15,18 16-15,71-121 0,-88 122 16,70-53-16,-88 88 15,1 18-15,16-35 16,-18 36-16,-34 33 0,0-15 16,0 34-16,-1-18 15,-17 0-15,17 0 16,-34 1 0</inkml:trace>
  <inkml:trace contextRef="#ctx0" brushRef="#br0" timeOffset="137720.4">24809 14742 0,'36'-53'15,"-19"36"-15,1-2 0,16 2 16,2-18-16,-1 16 16,54-33-16,34-18 15,-16 16-15,-55 37 0,36-18 16,-52 17-16,-2 18 15,-15 0-15,16 0 0,-18 0 0,19 18 16,-19 0-16,1-1 16,-18 0-16,17 19 0,-17-18 15,0 35-15,0-18 16,0-18-16,-17 19 0,17-1 0,0-18 16,0 19-16,0-19 0,0 19 15,0-1-15,0 0 0,0 1 0,17 17 0,-17-1 16,19 1-16,-2 1 0,0-2 15</inkml:trace>
  <inkml:trace contextRef="#ctx0" brushRef="#br0" timeOffset="138857.67">25673 15765 0,'-52'17'0,"16"1"0,124-53 15,-247 106-15,89-19 0,35-34 16,18 17-16,-2 1 0,2 16 15,17 1-15,0-18 16,36 18-16,-19-35 0,18 0 16,1 0-16,-19-18 15,54 0-15,-18-18 0,-1 0 0,1 0 16,53-35-16,-70 36 16,-2-18-16,-15 18 0,-2-2 0,1 19 15,-18-17-15,0-1 0,-18 18 16,-18 18-1,2-1-15,-2 2 0,1 15 16,-1 1-16,-16 36 0,35-53 16,-2 17-16,19-18 0,0 1 0,0 18 15,19-19-15,-2-17 16,18 17-16,1-17 0,-2 0 16,54 19-16,-34-19 0,-1 0 15,-18 0-15,1 17 0,-2-17 0,2 18 16,-18 18-16,-18-19 0,17 18 15,-17 1-15,-17 16 0,17 1 0,-36 52 16,18-51-16,1-18 16,0 16-16,-2-16 0,19-19 15,-17 0-15,17 1 0,0 0 0,17 0 16,2-36-16,-2 18 0,18-18 16,1-17-16,16 0 0,1-18 15,0 0-15,53-89 0,-70 72 16,69-70-16,-70 69 15,1 18-15,-19-18 0,-17 54 16,0-1-16,-17 18 0,-1 18 16,-18-18-16,-16 34 0,-18 2 0,-72 52 15,72-53-15,-54 72 16,53-55-16,19-16 0,-19 34 16,54-52-16,-2-1 0,2 0 15,53-17 1,-1-17-16,89-35 15,16-37-15,-34 18 16,124-88-16,-108 89 0,-15 0 0,16 0 16,-34-1-16,70-17 15,-107 69-15,-16-15 0,-19 34 0,0-18 16,1 36-16,-53 16 16,0 2-16,-1 18 0,-52 34 15,35-36-15,-18 18 16,37-16-16,34-37 15,-18 0-15,36-17 16,35-17-16,-18 0 16,18-1-16,-1-35 0,89-35 15,-70 52-15,53-33 16,-72 33-16,1 1 16,-17 16-16,-54 55 15,-17-1-15,-1 1 16,-16 16-16,-55 37 15,37-19-15,35-34 0,18-19 16,-1 19-16,0-36 0,18 17 16,18-17-1,0 0-15,-1-17 0,0 17 16,19 0-16,-18 0 16,-1 0-16,-17 17 0,0 1 15,-17-1-15,-1 19 0,-52 35 16,16-19-16,-87 37 15,89-54-15</inkml:trace>
  <inkml:trace contextRef="#ctx0" brushRef="#br0" timeOffset="143659.74">9605 13842 0,'35'-17'0,"-1"17"0,2 0 16,-1 0-16,18 0 0,1 0 0,34 0 16,-18 0-16,106 0 15,19 0-15,-107 0 0,17 0 0,2 0 16,-19 0-16,0 0 0,0 0 15,-17-19-15,-1 19 0,-18 0 16,-16 0-16,-1 0 0,-16 0 0,15 0 16,-16 19-16</inkml:trace>
  <inkml:trace contextRef="#ctx0" brushRef="#br0" timeOffset="143900.21">10328 13984 0,'88'0'16,"-18"17"0,-35-17-16,1 0 0,35 0 0,-1 0 15,53 17-15,-52-17 0,-1 0 0,-16 0 16,-20 0-16,20-17 0,-20 17 15,2 0-15,-18 0 0,18 0 0,-19 0 16,0-17-16,1 17 0,0 0 0,0-19 16,-36 2-1</inkml:trace>
  <inkml:trace contextRef="#ctx0" brushRef="#br0" timeOffset="144753.65">9393 11408 0,'0'53'0,"0"-36"15,0 37-15,0-37 0,0 19 16,0-19-16,0 18 0,-17-18 0,17 19 15,0-18-15,0-1 0,0 2 16,0-2-16,0 0 0,0 1 0,0 0 16,17 0-16,-17-54 47,0 18-47,0-16 0,0 15 15,0 2-15,0-18 0,0-1 16,17 19-16,-17-18 0,0 16 0,18-15 15,-18 16-15,0 0 0,17-17 16,2 18-16,-2-2 16,0 19-16,1 0 0,18 0 15,-19 19-15,0-19 0,2 17 16,-2 0-16,-17 1 0,18 0 16,-1 0-16,-17-1 0,17 0 0,-17 19 15,19-18-15,-19-1 0,0 0 0,0 19 16,0-18-16,17-1 0,-17 2 15,0-2-15,0 0 16,0 1-16</inkml:trace>
  <inkml:trace contextRef="#ctx0" brushRef="#br0" timeOffset="144936.79">9481 11725 0,'35'-17'15,"-17"17"-15,0 0 16,-1 0-16,0-18 0,2 18 16,-2 0-16,1-17 0,-1-2 0</inkml:trace>
  <inkml:trace contextRef="#ctx0" brushRef="#br0" timeOffset="145139.25">9904 11408 0,'0'-18'15,"-18"53"17,36-52-32,-36 53 15,18-19-15,0 0 0,0 19 0,-17-18 16,17 16-16,0-15 0,0-2 15,0 35-15,0-16 16,-17-18-16,17-1 0,17-17 16,-17 19-16</inkml:trace>
  <inkml:trace contextRef="#ctx0" brushRef="#br0" timeOffset="145506.89">10081 11566 0,'-53'36'0,"53"-18"0,0-1 16,0 0-16,0 2 16,0-2-16,0 1 15,17 18 1,2-19-16,-2-17 15,-17 17-15,17-17 16,1 0-16,18 0 0,-19-17 16,0 17-1,1-17-15,-18-2 16,0 2-16,-18-18 16,18 16-1,-17 19-15,0-17 16,17 0-16,-36 17 15,18 0 17</inkml:trace>
  <inkml:trace contextRef="#ctx0" brushRef="#br0" timeOffset="146263.85">10240 11444 0,'-18'0'16,"0"0"-16,0 0 15,18 17-15,-34 0 0,34 1 16,-19 0-16,2 17 0,-1-18 16,18 2-16,-17-2 15,17 18-15,0-18 0,0 2 16,17 16-16,-17-18 16,18 2-16,-1-19 0,2 17 15,15 0-15,-16-17 16,0 18-16,0-18 0,-1 0 0,0 0 15,19 0-15,-1 0 16,-18 0-16,2-18 0,16 18 16,-18-17-16</inkml:trace>
  <inkml:trace contextRef="#ctx0" brushRef="#br0" timeOffset="146567.87">10540 11602 0,'0'-17'0,"-36"34"16,36 1 0,0-1-16,-18 19 15,18-19-15,0 1 0,18-1 16,-18 2-16,17-19 16,2 17-16,-2 0 0,0-17 15,1 18-15,0-18 16,0 0-16,-18-18 0,17 18 0,0 0 0,2-17 15,-2 0-15,-17-2 16,0 2-16,-158-89 16,316 194-16,-175-105 0,17-2 15,-19 2-15,2 0 16,0 17-16,-1-18 16,0 18-1</inkml:trace>
  <inkml:trace contextRef="#ctx0" brushRef="#br0" timeOffset="146908.6">10804 11425 0,'0'19'15,"0"-2"-15,0 0 16,0 1-16,0 0 0,0 0 0,-18-1 15,18 19-15,0-19 0,0 1 16,0-1-16,0 0 0,0 19 16,0-18-16,18-18 15,18 0 1,-19-18 0,-70-247-16,123 530 0,-52-282 15,0 17-15,0 0 16,-1-19-16,0 19 0,19 19 15,-18-19-15,-1 0 16,-17 17-16,17-17 0,2 18 16,-2-1-16,-17 2 0,35-19 15,-18 17 1</inkml:trace>
  <inkml:trace contextRef="#ctx0" brushRef="#br0" timeOffset="147247.67">11386 11602 0,'-18'0'15,"36"0"-15,-71 0 16,36 0-16,17 18 16,-36 16-1,36-15 1,0-2-1,18-17 1,0 0-16,-1 0 16,0-17-1,1 17 1,0 0 0,0 17-1,-18 1 1,17-18-16,-17 17 15,17-17 1</inkml:trace>
  <inkml:trace contextRef="#ctx0" brushRef="#br0" timeOffset="147517.24">11738 11285 0,'0'-19'0,"-17"55"16,17-1 0,0-16-16,-17 33 15,-1 54 1,18-71-16,0 18 0,0-35 16,0 16-16,18 2 0,-18-18 15,0-1-15,17-17 0,-17 36 16,17-36-16,2 17 15,-2-17 1,1 0 0,-1 0-16</inkml:trace>
  <inkml:trace contextRef="#ctx0" brushRef="#br0" timeOffset="149356.91">19041 11232 0,'-17'34'16,"17"-15"-16,-18-2 0,18 18 15,-36 89 1,36-71-16,0-35 15,0-1-15,0 19 0,0-19 0,0 1 16,0-1-16,0 0 16,-34-34 31,16 0-47,0 17 15,-17 0-15,-18 0 0,35 0 16,-16 0-16,15 0 0,-16 0 15,18 17-15,-19-17 0,1 17 16,17 2-16,0-2 16,18 1-16,-17-1 0,34 2 15,1-2 1,0-17-16,0 17 0,-1-17 0,19 0 16,-19 18-16,18-18 0,-16 0 15,15-18-15,1 18 16,-16 0-16,15 0 0,2-17 0,-18 17 0,16 0 15,-16-17-15,18 17 0</inkml:trace>
  <inkml:trace contextRef="#ctx0" brushRef="#br0" timeOffset="149650.78">19324 11620 0,'0'-18'16,"-18"1"-16,36 52 0,-36-89 15,18 37-15,-18 17 32,0 17-17,1-17-15,17 19 0,0-2 0,-17-17 16,17 18-16,0-1 0,0 0 15,0 2-15,0-2 16,17 1-16,0-1 16,1-17-16,0 19 0,0-19 15,-1 0-15</inkml:trace>
  <inkml:trace contextRef="#ctx0" brushRef="#br0" timeOffset="150048.6">19800 11620 0,'-18'-18'15,"36"36"-15,-53-36 0,35 1 16,-19 17-16,2 0 0,-18 0 16,35 17-16,-18-17 0,0 0 15,1 18 1,0-1-16,-2 0 0,2 2 15,17-2 1,0 1-16,17-1 16,2-17-16,-2 0 15,18-17 1,-17 17 0,0-18-16,-1 18 15,0-17-15,2 34 31,-2 1-15,-17-1-16,18 2 16,-18-2-1,17-17 1,0 0 0</inkml:trace>
  <inkml:trace contextRef="#ctx0" brushRef="#br0" timeOffset="150366.89">20170 11356 0,'0'-19'0,"0"55"31,-17-19-31,17 1 0,-19 52 32,2-52-32,17 0 0,-17 0 0,17 35 15,-18-36-15,18 1 0,0-1 16,-18 0 0,18 2-16,0-2 15,-18 1-15,36-1 31</inkml:trace>
  <inkml:trace contextRef="#ctx0" brushRef="#br0" timeOffset="150725.67">20293 11461 0,'0'-17'0,"0"-2"16,-17 55 31,17-19-47,0 1 15,-18 18 1,18-19-1,0 0 1,18 2 0,-1-2-1,2-17 1,-19 18-16,17-18 16,18 17-1,-17-34 1,0 17-1</inkml:trace>
  <inkml:trace contextRef="#ctx0" brushRef="#br0" timeOffset="150966.81">19870 11478 0,'35'-17'15,"1"17"-15,-19 0 0,1 0 16,18 0-16,-2 0 0,2 0 16,-1 0-16,-18 0 0,19-17 0,-1 17 15,36 0-15,-54 0 16,19 0-16,-19 0 0,1 0 16,0-19-16,0 19 0,-1 0 0,0 0 15,2 0-15,-2 0 16</inkml:trace>
  <inkml:trace contextRef="#ctx0" brushRef="#br0" timeOffset="176680.49">28054 772 0,'0'0'0,"18"-18"0,-18 1 15,18 17 1,-54 17 15,19 1-15,0-1-16,-1 2 0,0-2 0,0 18 16,1 1-16,-19 16 15,19-34-15,17 17 0,-18-18 0,18 1 16,0 0-16,0 0 0,0-1 15,0 0-15,0 2 0,0-2 0,18 1 16,-18-1-16,17-17 16,-17 19-16,19-19 0,-2 17 0,0-17 15,1 0-15,0 0 16,17 0-16,-18 0 0,1 0 0,0 0 16,0 0-16</inkml:trace>
  <inkml:trace contextRef="#ctx0" brushRef="#br0" timeOffset="177044.98">28337 1001 0,'0'0'0,"-17"0"15,-2 17 1,19 1-1,-17-18-15,17 18 0,-18 34 16,18-33 0,0-2-16,18 1 0,-1-1 15,2-17 1,-2 0-16,0 0 0,1 0 0,0 0 16,0-17-16,35-1 15,-53 1-15,17 17 16,-17-19-16,0 2 0,0 0 0,18 17 15,-18-18-15,0 0 0,-18 18 16,18-18-16,-17 1 16,-2 17-16,2-17 15,0 34-15,-1-17 16,0 0-16</inkml:trace>
  <inkml:trace contextRef="#ctx0" brushRef="#br0" timeOffset="177407.6">28549 913 0,'35'17'15,"1"19"1,-36-18-1,0-1-15,17 0 0,-17 1 0,17 0 16,-17 0-16,0-1 0,0 0 16,0 2-1,18-2-15,0-53 47,0 2-31,-18 16-16,17 0 15,0 0 1,-17 1-16,18 17 16,0 0-16,0-17 15,-1 17 1</inkml:trace>
  <inkml:trace contextRef="#ctx0" brushRef="#br0" timeOffset="177727.43">29025 984 0,'0'-18'0,"-17"53"32,17-18-32,0 1 15,0 18 1,0-19-16,0 0 15,0 2-15,0-2 0,0 1 16,17-18 0,0-18-1,1-52 17,0 52-32,0 0 0,-1 0 15,-17 1-15,17 17 0,-17-17 0,18 17 16,0-18-16</inkml:trace>
  <inkml:trace contextRef="#ctx0" brushRef="#br0" timeOffset="178369.06">29325 1196 0,'0'17'0,"17"-17"31,18-17-16,-35-2-15,19 2 16,-2 17-16,-17-18 0,17 18 16,-17-17-16,0-2 0,18 19 15,-18-17-15,0 0 16,18 17 0,-36 34-1,18 20 16,18-18-15,17-19 0,18-34-1,-18 17-15,-18-19 0,2 2 16,-2 17-16,18-18 0,-16 1 16,15-36-16,-16 35 0,-18 0 15,17 0-15,2-16 0,-2-2 0,-17 1 16,17-1-16,-17 1 0,0 18 15,18-19-15,-18 19 0,0-1 0,-18 53 47,18-16-47,0-2 0,-17 18 16,17-18-16,0 19 0,0-1 0,0 1 16,-17-19-16,17 18 0,17-35 15,-17 36-15,0-2 0,17-15 16,-17-2-16,18 1 0,-18-1 0,18-17 15,0 19-15,-1-19 0,0 0 16,-17 17-16</inkml:trace>
  <inkml:trace contextRef="#ctx0" brushRef="#br0" timeOffset="178903.67">30118 1089 0,'-17'-17'0,"0"17"16,-2 0-1,19 17 1,-17-17-16,-1 17 16,18 2-16,-17-2 15,17 1-15,-19-1 31,38-17-15,-2 0 0,-17 19-16,18-19 15,-1 0 1,19 0 0,-36-19-16,17 19 0,1 0 15,0-17-15,0 17 16,-18-18-16,17 1 0,18-19 15,-17 19-15,-18-1 16,18-18-16,-1 19 16,-17-18-16,0 17 0,17 0 0,-17 1 15,0 0-15,19-2 0,-19 2 0,0-1 16,0 53 15,0-16-31,0-2 0,17 0 0,-17 1 16,0 0-16,0 0 0,0-1 15,18 0-15,-18 1 0,17 18 16,-17-19-16,19-17 16,-19 17-16</inkml:trace>
  <inkml:trace contextRef="#ctx0" brushRef="#br0" timeOffset="179179.06">30277 1089 0,'-17'-17'32,"34"-1"-32,0 18 15,2-18-15,-2 18 0,1 0 16,-1 0-16,2-18 0,-2 18 16,18-17-1,-18 17-15,2 0 16,-2 0-16,0 0 15,1 17 1,0 1-16,0 18 16,-18-19-1,0 0 1,17 2 0</inkml:trace>
  <inkml:trace contextRef="#ctx0" brushRef="#br0" timeOffset="179335.45">30613 966 0,'-19'-18'0</inkml:trace>
  <inkml:trace contextRef="#ctx0" brushRef="#br0" timeOffset="179787.64">30718 948 0,'0'18'0,"0"0"15,0-1 1,0 0-16,0 1 15,18 0 1,-1 0 0,2-18-1,-2-18-15,0 18 16,1-18-16,-18 0 16,17 1-1,-34 0-15,17-1 16,0 0-1,-18 18-15,18-18 16,-17 36 15,34 0-15,-17 0-16,35-1 31,-16 0-31,-2-17 16,0 18-1,1-18-15,18 0 16,-19 0 0,0 0-16</inkml:trace>
  <inkml:trace contextRef="#ctx0" brushRef="#br0" timeOffset="180339.54">28266 1618 0,'-17'0'16,"88"-17"-1,-37 0-15,20-2 16,87 2-16,-53-1 0,0 1 15,107-19-15,-107 19 0,0-1 16,17-18-16,-17 19 0,107 0 16,-107-1-16,0 0 0,-18 18 15,-16-18-15,16 1 0,1 17 16,-36 0-16,-18-17 0,0 17 16,2 0-16,-2 0 0</inkml:trace>
  <inkml:trace contextRef="#ctx0" brushRef="#br0" timeOffset="180617.12">28566 1654 0,'35'18'31,"1"-18"-31,-1-18 0,35 18 0,-16-18 15,16 18-15,1-18 0,17 1 16,88-19-16,-88 19 0,-17 17 16,158-54-1,-105 37-15,-72 17 0,-16-17 16,-1 17-16,1-18 0,-2 18 0,-15 0 16,16-17-16,-18 17 15,0 0-15,2 0 0,-2-19 16</inkml:trace>
  <inkml:trace contextRef="#ctx0" brushRef="#br0" timeOffset="181943.68">26856 1565 0,'52'0'16,"18"-17"-1,-34-1-15,35 1 0,-36 17 16,1-19-16,-2 19 0,-16-17 0,18 17 16,-2-17-16,-16 17 0,18-18 15,-19 18-15</inkml:trace>
  <inkml:trace contextRef="#ctx0" brushRef="#br0" timeOffset="182202.25">27332 1301 0,'53'0'16,"-36"17"-1,35 19-15,-33-18 16,-2-1-16,1 0 0,-18 2 0,17 16 16,2-1-16,-2-15 0,-17-2 15,0 18-15,0 1 16,-17-19-16,17 1 0,0 0 16,0 0-16,-19-1 0,2 18 15</inkml:trace>
  <inkml:trace contextRef="#ctx0" brushRef="#br0" timeOffset="183375.68">26837 2501 0,'0'17'15,"36"-17"1,-19 0-16,19 0 0,16 0 16,72-17-1,-89-2-15,1 19 0,-1-17 16,1 17-16,-2-17 0,2 17 0,-1-18 15,1 18-15,-19-18 0,18 18 16,1-18-16,-19 1 0</inkml:trace>
  <inkml:trace contextRef="#ctx0" brushRef="#br0" timeOffset="183618.19">27349 2165 0,'17'0'0,"19"0"16,-18 17-16,-1-17 15,36 36-15,-18-18 0,-16-1 16,-2 2-16,18-19 0,-17 34 16,0-16-16,-1-1 0,-17 2 15,17-2-15,-17 0 0,0 1 0,0 0 16,0 0-16,0-1 0,-17 0 15,0 2-15,17-2 0,-18 18 0,0-35 16,0 17-16</inkml:trace>
  <inkml:trace contextRef="#ctx0" brushRef="#br0" timeOffset="186254.58">28425 1936 0,'-35'17'16,"17"2"0,-17 69-16,18-71 15,-2 36-15,2-18 0,17-18 0,-18 19 16,18-1-16,-17-16 0,17 15 16,0-16-16,0-1 0,0 19 15,0-19-15,0 1 0,0 0 16,17-18-16,-17 18 0,18-18 0,-1 17 15,2-17-15,-2 17 16,18-17-16,-17 0 0,0 0 0,-1-17 16,19 17-16</inkml:trace>
  <inkml:trace contextRef="#ctx0" brushRef="#br0" timeOffset="186864.58">28901 2094 0,'-35'-17'0,"70"34"0,-106-17 15,54 0-15,0 18 16,-1 0-16,0 0 0,0 16 16,1-15-16,0-2 0,17 1 15,0-1-15,-18 2 0,18-2 16,0 0-16,18 1 15,-18-1-15,17 2 0,0-19 16,1 0-16,0 0 16,0 0-16,-1-19 0,0 19 15,2-17-15,-2 17 0,-17-18 0,18 18 16,-1-17-16,-17 0 0,0-2 0,19 2 16,-19-1-16,17 18 15,-17-17-15,0-2 16,17 55 15,-17-18-31,0 18 16,18-19-1,-1 0-15,2 1 0,-2-18 16,0 0 0,1-18-16,0 18 15,0 0-15,-18-17 0,17 0 0,0-37 31,1 37-31,-18-2 16,0 2-16,18 17 16,-18 17-1,0 2-15,18-19 16,-18 17-16,0 1 0,17 18 16,0-19-1,2-17-15,-2 17 16,1-17-16,-1 0 15,2 0-15,-2 0 0,0 0 0,1-17 0,18 17 16</inkml:trace>
  <inkml:trace contextRef="#ctx0" brushRef="#br0" timeOffset="187364.95">29342 2077 0,'18'17'16,"-18"1"-16,17 0 0,-17 0 16,0-1-16,19 0 15,-19 2-15,0-2 0,-19 1 0,19-1 16,0 2-16,-17-2 15,-1 0-15,18 1 0,-17-18 16</inkml:trace>
  <inkml:trace contextRef="#ctx0" brushRef="#br0" timeOffset="187915.38">29696 1989 0,'-19'0'15,"2"17"-15,-1 1 16,1-18 0,17 18-16,0 0 15,0-1 1,0 0-16,17 1 0,-17 0 16,18 0-16,18 16 15,-36-15-15,0-2 16,17-17-16,-17 18 15,-17-1-15,17 2 16,-19-19-16,2 0 0,17 17 16,-18 0-16,1-17 15,-2 0-15,2 0 16</inkml:trace>
  <inkml:trace contextRef="#ctx0" brushRef="#br0" timeOffset="188586.54">30013 1989 0,'-19'-17'0,"-15"34"16,16 0-1,1 19 16,-2-36-31,19 18 0,0-1 16,0 0 0,19 1-1,-2-36 1,1 18 0,-1 0-1,0 0 1,2 18-1,-2-18 1,18 0 0,-16-18-1,15 1 1,-34 0-16,18-19 16,35-52-1,-53 70-15,17-35 0,-17 18 16,0 18-16,18-2 0,-18-15 15,18 16-15,0 53 32,-18-18-17,0 2-15,0-2 0,0 1 16,0 18-16,0-19 0,0 35 0,17-33 16,-17-2-16,0 0 15,17 19-15,-17-18 16,19-1-16</inkml:trace>
  <inkml:trace contextRef="#ctx0" brushRef="#br0" timeOffset="188903.02">30206 1953 0,'-17'0'0,"17"-17"16,17 17-1,1 0 1,0-18-16,0 18 0,-1-17 16,0 17-16,2 0 0,-2-17 0,1 17 15,-1 0-15,2-19 0,-2 19 16,0 0-16,1 0 16,-1 0-16,2 0 15,-19 19-15,17-19 0,0 17 16,1 0-16,-18 1 15,18-18-15,-18 17 16,18 2-16,-18-2 16,17 0-1</inkml:trace>
  <inkml:trace contextRef="#ctx0" brushRef="#br0" timeOffset="189047.82">30577 1794 0,'0'-17'16,"17"70"-16,-34-89 15</inkml:trace>
  <inkml:trace contextRef="#ctx0" brushRef="#br0" timeOffset="189650.73">30736 1813 0,'-106'-19'0,"194"73"0,-88-89 0,-17 87 15,17-33-15,0-2 0,0 0 16,0 1-1,0-1-15,-19-176 0,90 178 16,-123 140-16,69-159 0,1-159 16,-18 318-16,17-159 15,2 0-15,-2-19 0,-17 2 16,17-1-16,-17 1 16,0 0-16,18-2 0,-18 2 15,-18-1-15,18 1 16,0-2-16,-17 19 15,17-17 1,-17 34 15,34 2-15,-17-2 0,17-17-16,1 18 15,-1-18-15,19 17 16,-19 2 15,1-19-31,0 34 16,0-34-1,-18 18-15,0-1 0,17-17 16,-17 19-16,17-2 16,-17 0-16,19-17 31,-2 18-31,1-36 15,-1 18 1,0 0 0,2-17-1</inkml:trace>
  <inkml:trace contextRef="#ctx0" brushRef="#br0" timeOffset="190894.86">31353 896 0,'0'-19'16,"17"19"-1,2 0 1,-2 0-16,1 0 0,-1 0 15,0-17-15,2 17 0,-2 0 16,1 0-16,-1 0 0,2 0 16,-2 0-16,0-18 15,1 18-15,0 18 16,0-1 0,-1-17-16,-17 19 0,17-2 15,-17 0-15,0 1 0,0 0 16,0 17-16,18-18 0,-18 1 15,0 0-15,0 17 0,18-18 16,-18 19-16,0-18 0,18 18 0,-18-19 0,34-17 0,-51 35 16,53-18-16,-72 2 0,53 15 0,37 2 15,-108-54-15,73 54 0,16-19 0,-53-17 0,18 36 0,18-1 16,-1-18-16,2 0 0,-2-17 16,-17 54-16,17-37 0,1 2 0,-18-2 15,17 0-15,2 19 0,-2-18 16,-17-1-16,17 0 0,-17 1 15,18 0-15,-18 0 16,0-1-16,18 0 0,-18 2 16,0-2-1,0 1 1,-18-18 0,18 17-16,-18-17 15,1 0-15,17 19 0,-17-19 0,-2 0 16,2 17-16,-1-17 0,-16 0 31,-2 17-31,18-17 16</inkml:trace>
  <inkml:trace contextRef="#ctx0" brushRef="#br0" timeOffset="192126.66">32394 1442 0,'0'-88'15,"0"70"-15,0-17 0,-18 18 16,18-19-16,0 1 0,-18-1 0,18-16 15,-17 16-15,17-17 0,-17 18 0,-1 0 16,18-18-16,0 36 0,-18-19 16,18 1-16,-18 18 0,18-2 15,0 2-15,0-1 16,18 53 0,18 18-1,-19-35 1,-17-1-16,17 2 0,1-2 15,0 0-15,-18 1 0,35 0 16,-35 0-16,17-1 0,2 0 0,-19 1 16,17-18-16,-34 18 31,-2 0-15,2-1-16,0-17 0,-19 17 15,18-17-15,1 19 0,-18-19 0,17 17 16,0-17-16,1 18 15,0-18-15,-2 0 0,2 17 0,-1-17 0,1 0 16,-2 0 0,38-17-1,-2-18 1,18 16-16,-16-15 16,15-2-16,2 18 0,-1-16 0,-18-2 15,19 1-15,-18-1 0,16 1 0,-15 1 16,-2 15-16,-17 2 0,18-1 15,-1 1-15,-17-2 0,17 19 0,-17-17 16,19 34 0,-19 2-16,0 16 15,0-18-15,-19 107 16,2-1 0,17-70-16,-17-17 0,17-1 15,-18 1-15,18-2 0,0-16 16,-17 35-16,17-36 0,-19 1 15,19 0-15,0 0 0,0-1 16</inkml:trace>
  <inkml:trace contextRef="#ctx0" brushRef="#br0" timeOffset="193159.13">32764 2077 0,'-35'-35'16,"35"17"-16,0 0 0,-17 1 0,17-19 15,-36-87 1,36 87-16,-18-16 0,1 16 16,17 2-16,0-2 0,-17 18 0,17-16 15,0 15-15,0 2 0,0-1 0,0 1 16,-19 17-16,55 35 31,-36-18-31,0 2 16,17 15-16,19 37 15,-36-36-15,18-17 0,-1 34 16,-17-33-16,17-2 0,-17 1 16,18-18-16,-18 36 15,0-19-15,-18 0 16,1-17-1,0 18 1,-1-18-16,0 0 0,0 17 0,1-17 0,0 0 16,-19 19-16,18-19 15,1 17-15,-2-17 0,2 0 16,0 17-16,-1-17 16,1 0-1,17-34 1,17 34-16,-17-19 0,18 2 15,-1-18-15,-17 18 0,17-19 0,19 1 16,-18-1-16,18-17 0,-19 18 16,0 0-16,1-1 0,0 2 15,0-2-15,-1 18 0,0 1 0,-17-2 16,18 2-16,-18 0 0,18 17 16,0 17-1,-18 19-15,0-1 16,0-18-16,0 19 0,-18-1 15,18 35-15,0-34 0,-18-1 16,18 1-16,0-19 0,-18 18 16,18 1-16,0-19 0,0 18 0,0-16 15,-17 15-15,17-16 16</inkml:trace>
  <inkml:trace contextRef="#ctx0" brushRef="#br0" timeOffset="198298.72">26608 3612 0,'229'-35'15,"-193"35"-15,-1-19 0,1 19 0,-2 0 16,2-17-16,-1 17 0,-18 0 16,19-17-16,-18 17 0,18 0 0,16-18 15,-34 18 1,0-18-16,-1 18 0</inkml:trace>
  <inkml:trace contextRef="#ctx0" brushRef="#br0" timeOffset="198568.35">26997 3241 0,'17'0'15,"18"-17"-15,-18 17 16,19 17-16,-1-17 0,-16 17 15,15-17-15,2 19 0,16 33 16,-16-16-16,-18-19 0,35 54 16,-53-36-1,17-17-15,-34 17 0,17 1 0,-19 33 16,2-15-16,-71 51 16,71-69-16,-19-1 15,1-17-15</inkml:trace>
  <inkml:trace contextRef="#ctx0" brushRef="#br0" timeOffset="201942.08">28232 3118 0,'0'-18'0,"-19"36"62,2 0-62,-1 34 16,1-16-16,17-19 0,-19 19 0,19-1 15,-17 18 1,17-36-16,-17 1 0,17-1 0,0 54 16,0-53-16,0 0 15,17-1-15,-17 0 16,36 2 0,-19-19-16</inkml:trace>
  <inkml:trace contextRef="#ctx0" brushRef="#br0" timeOffset="202274.61">28442 3329 0,'-17'36'31,"17"-19"-31,0 1 16,17 18-16,2-19 15,-2 0-15,1-17 16,-1 0-16,-17 18 16,36-36-16,-19 18 15,1 0-15,-18-17 0,17 17 16,-17-17 0,0-19-16,0 18 0,-17 18 15,17-17-15,-18 0 0,18-2 16,-17 19-1,-2 0-15,2 0 0,0 0 32,-1 0-32,18 19 15</inkml:trace>
  <inkml:trace contextRef="#ctx0" brushRef="#br0" timeOffset="202588.47">28708 3241 0,'34'17'0,"-16"-17"0,-18 19 16,0-2 0,18-17-16,-18 18 15,18-1 1,-1-17 15,0 0-15,2 0-1,16 0 1,-18 0 0,19 0-1,-19-17-15,18-1 16</inkml:trace>
  <inkml:trace contextRef="#ctx0" brushRef="#br0" timeOffset="203252.51">29130 2889 0,'-17'17'16,"17"35"0,0-33-16,0 16 15,0 1-15,0-2 0,17 20 0,-17-2 0,0-16 16,0 17-16,18-18 16,-18 1-16,0-2 0,0 1 0,0 1 15,18 35 1,-18-54-16,0 0 0,0 2 0,-18-2 15,18 1-15,-18-1 16,1-34 15,17-18-15,0 16-16,0 2 0,0 0 0,0-1 16,17-18-16,1-17 15,-18 36-15,0-1 0,18 1 16,-18 0-16,18-2 0,-1-16 15,-17 18 1,17 17-16,-17-19 16,19 38-1,-2-2 1,-17 1-16,0-1 16,18-17-16,-1 19 15,2-19 1,15 0-1,-34-19-15,35 2 16,-35-1-16,0 1 0,0-2 16,0-15-1,0 16-15,0 0 0,-35 0 16,18 1 0,-19 34 15,19 1-16,17 0-15,0 0 16,17-18 0</inkml:trace>
  <inkml:trace contextRef="#ctx0" brushRef="#br0" timeOffset="203782.6">29537 3118 0,'-19'35'15,"19"-18"17,0 19-17,19-18 1,-2-1-1,1-17 1,-1-17 0,0 17-16,-17-18 15,19 0 1,-2 0 0,1 18-1,-1 0 16,-17 18-15,19-18-16,-2 0 31,0 0 1,1 0-17,-1-18 1,2 18-1,-2 0 17,0 0-32,1 0 15,18 0 1</inkml:trace>
  <inkml:trace contextRef="#ctx0" brushRef="#br0" timeOffset="204257.8">30224 2782 0,'18'18'16,"-18"18"0,18-19-16,-18 0 0,0 2 15,17 16-15,-17-1 16,17-15-16,-17-2 0,0 1 16,19-1-1,-55-17 16,19 0-15,-1 0 0,0 19-16,0-19 15,1 17 1,0 0-16,17 1 0,-18-18 16,18 18-16,0 0 0,18-18 15,-18 17 1,34-17-1,2 0 1,-18 0-16,-1 0 0,0 0 0,2-17 0,16 17 16</inkml:trace>
  <inkml:trace contextRef="#ctx0" brushRef="#br0" timeOffset="204466.9">30648 2870 0,'0'36'15,"0"-18"1,0-1 0,0 0-16,0 2 15,17-2 1</inkml:trace>
  <inkml:trace contextRef="#ctx0" brushRef="#br0" timeOffset="204582.54">30594 2870 0</inkml:trace>
  <inkml:trace contextRef="#ctx0" brushRef="#br0" timeOffset="204901.8">30772 2889 0,'0'35'16,"0"-18"0,0 0-1,17-17 1,0 0 15,1-17-15,-1 17-1,2 0 1,-2-17 0,0 17-1,1 0-15</inkml:trace>
  <inkml:trace contextRef="#ctx0" brushRef="#br0" timeOffset="205258.72">31053 2853 0,'0'-17'15,"-17"51"17,17-15-32,-18-19 15,18 17-15,0 1 0,0 16 16,-17-34-16,17 36 15,0-18 1,0-1-16,-19-17 0,19 19 31,36-38 16,-18 2-31,-1 17-16,-17-18 0,17 18 15</inkml:trace>
  <inkml:trace contextRef="#ctx0" brushRef="#br0" timeOffset="205558.34">29096 3946 0,'70'-34'0,"-35"16"0,18 0 15,1-17-15,86-18 16,-51 35-16,-1-16 0,-17 15 0,175-69 15,-158 71-15,-17-18 16,0 16-16,-19 2 0,72-36 16,-88 35-16,-2 1 0,1 17 15,-16-17-15,-2 17 0,0 0 0,1-19 16</inkml:trace>
  <inkml:trace contextRef="#ctx0" brushRef="#br0" timeOffset="205702.54">30101 3594 0,'35'0'63,"-17"-17"-48,0 17-15,-18-19 0,17 19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452"/>
    </inkml:context>
    <inkml:brush xml:id="br0">
      <inkml:brushProperty name="width" value="0.025" units="cm"/>
      <inkml:brushProperty name="height" value="0.025" units="cm"/>
      <inkml:brushProperty name="ignorePressure" value="1"/>
    </inkml:brush>
  </inkml:definitions>
  <inkml:trace contextRef="#ctx0" brushRef="#br0">0 0,'5'0,"6"0,9 0,1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788"/>
    </inkml:context>
    <inkml:brush xml:id="br0">
      <inkml:brushProperty name="width" value="0.025" units="cm"/>
      <inkml:brushProperty name="height" value="0.025" units="cm"/>
      <inkml:brushProperty name="ignorePressure" value="1"/>
    </inkml:brush>
  </inkml:definitions>
  <inkml:trace contextRef="#ctx0" brushRef="#br0">0 1,'9'0,"11"0,8 0,3 0,0 0,-1 0,0 0,-1 0,-2 0,-1 0,-4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6.638"/>
    </inkml:context>
    <inkml:brush xml:id="br0">
      <inkml:brushProperty name="width" value="0.025" units="cm"/>
      <inkml:brushProperty name="height" value="0.025" units="cm"/>
      <inkml:brushProperty name="ignorePressure" value="1"/>
    </inkml:brush>
  </inkml:definitions>
  <inkml:trace contextRef="#ctx0" brushRef="#br0">0 78,'0'-5,"0"-4,5-3,6 2,5 2,4 3,3-3,2 1,2 1,1 2,-7 1</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8.614"/>
    </inkml:context>
    <inkml:brush xml:id="br0">
      <inkml:brushProperty name="width" value="0.025" units="cm"/>
      <inkml:brushProperty name="height" value="0.025" units="cm"/>
      <inkml:brushProperty name="ignorePressure" value="1"/>
    </inkml:brush>
  </inkml:definitions>
  <inkml:trace contextRef="#ctx0" brushRef="#br0">530 0,'-242'220,"82"-81,113-103,38-31,-1 2,2-1,-1 1,1 1,0 0,0 0,-8 11,16-18,0-1,-1 1,1 1,-2-1,2-1,0 1,0 1,-1-1,1 0,0 1,0-2,0 1,0 0,0 1,0-1,0 0,0 1,0-2,0 1,1 0,-1 1,0-1,2-1,-2 1,0 1,1-1,-1-1,3 3,30 18,48-1,117-7,-41-3,106 0,-239-10</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9.232"/>
    </inkml:context>
    <inkml:brush xml:id="br0">
      <inkml:brushProperty name="width" value="0.025" units="cm"/>
      <inkml:brushProperty name="height" value="0.025" units="cm"/>
      <inkml:brushProperty name="ignorePressure" value="1"/>
    </inkml:brush>
  </inkml:definitions>
  <inkml:trace contextRef="#ctx0" brushRef="#br0">285 1,'-153'412,"78"-189,58-175,-19 78,33-107</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0.362"/>
    </inkml:context>
    <inkml:brush xml:id="br0">
      <inkml:brushProperty name="width" value="0.025" units="cm"/>
      <inkml:brushProperty name="height" value="0.025" units="cm"/>
      <inkml:brushProperty name="ignorePressure" value="1"/>
    </inkml:brush>
  </inkml:definitions>
  <inkml:trace contextRef="#ctx0" brushRef="#br0">1 313,'369'-27,"-102"3,949-49,265-15,346 41,-1486 34,5 0,350 14,-590-16,-7 2,-76 13</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2.830"/>
    </inkml:context>
    <inkml:brush xml:id="br0">
      <inkml:brushProperty name="width" value="0.025" units="cm"/>
      <inkml:brushProperty name="height" value="0.025" units="cm"/>
      <inkml:brushProperty name="ignorePressure" value="1"/>
    </inkml:brush>
  </inkml:definitions>
  <inkml:trace contextRef="#ctx0" brushRef="#br0">174 1,'-10'3,"0"1,1 0,0 1,-1-1,1 3,1-2,0 2,0-2,0 3,-9 9,10-9,0 0,1 0,-1 0,2 2,-1-1,2 0,-1 1,1-1,1 0,-1 2,2-2,-1 2,0 14,2-21,1 2,0-2,0 0,0 0,1 0,-1 0,2 0,-2 0,1 0,0 0,1 0,0 0,0 0,-1 0,2-2,-1 2,1 0,0-1,-1 0,1 1,0-2,-1 1,2 0,-1-1,1 1,0-2,-1 2,1-2,0 1,0 0,0 0,0-2,0 1,0 0,8 1,-4-1,0-1,-2 0,2 0,0 0,0-1,0-1,-1 1,1 0,0-2,-1 2,1-2,-2-1,1 1,10-7,-14 8,0 0,1 0,-2 0,0-1,0 0,1 1,0-1,-2 0,2 1,-2-1,0 0,2-1,-2 2,1-2,-1 1,-1-1,1 1,-1-1,2 2,-2-2,0 0,0 1,0-1,0 1,0-1,0 0,-2 2,2-2,-1 1,0-1,-1 1,1-1,0 2,-3-5,1 3,0 0,1 0,-2 0,1 0,-1 0,1 1,-1-1,0 2,0-1,0 0,0 1,-1-1,1 2,-1-2,1 2,-2-1,2 1,-1 0,-7-2,-11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3.681"/>
    </inkml:context>
    <inkml:brush xml:id="br0">
      <inkml:brushProperty name="width" value="0.025" units="cm"/>
      <inkml:brushProperty name="height" value="0.025" units="cm"/>
      <inkml:brushProperty name="ignorePressure" value="1"/>
    </inkml:brush>
  </inkml:definitions>
  <inkml:trace contextRef="#ctx0" brushRef="#br0">11 0,'-4'0,"-3"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4.560"/>
    </inkml:context>
    <inkml:brush xml:id="br0">
      <inkml:brushProperty name="width" value="0.025" units="cm"/>
      <inkml:brushProperty name="height" value="0.025" units="cm"/>
      <inkml:brushProperty name="ignorePressure" value="1"/>
    </inkml:brush>
  </inkml:definitions>
  <inkml:trace contextRef="#ctx0" brushRef="#br0">175 2,'0'-1,"1"1,-1 0,0 0,0 0,1 0,-1 0,0 0,2 0,-2 0,0 0,1 0,-1 0,0 0,1 0,-1 0,0 0,0 0,2 0,-2 0,0 0,1 0,-1 0,0 1,0-1,1 0,-1 0,0 0,0 0,2 2,-2-2,0 0,0 0,0 1,1-1,-1 0,0 0,0 1,0-1,0 0,0 0,0 2,1-2,-1 0,0 1,0-1,0 1,-16 17,-29 12,36-24,-2-1,2 2,-1-2,2 3,-1-1,1 1,-9 9,17-14,-2-2,1 0,0 2,1-2,-2 1,2 0,-1 0,1 0,-1 0,1-1,0 2,0-2,0 2,0-2,0 2,0-2,0 2,1 2,0-2,1 1,-1-2,0 2,2-1,0 0,-2-1,2 1,-1 1,1-3,0 2,-1 0,1-1,5 4,23 12,33 25,-60-42,-2 2,1 0,0-1,1 1,-2 0,0 1,0-2,1 2,-2-1,2 1,-2-1,2 1,-2 0,2 5,-3-6,0-1,-1 1,1 0,-2-1,2 1,-1 0,0-1,1 0,-2 0,1 1,0 0,-1-2,0 2,0-1,1 0,-2 0,2 0,-2-1,2 2,-2-2,1 0,0 1,0-1,-1 0,0 1,1-2,-1 1,0 0,1-1,-1 0,-2 2,-13 2,1 0,-2 0,-19 0,7-3,3-1</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5.377"/>
    </inkml:context>
    <inkml:brush xml:id="br0">
      <inkml:brushProperty name="width" value="0.025" units="cm"/>
      <inkml:brushProperty name="height" value="0.025" units="cm"/>
      <inkml:brushProperty name="ignorePressure" value="1"/>
    </inkml:brush>
  </inkml:definitions>
  <inkml:trace contextRef="#ctx0" brushRef="#br0">0 28,'13'0,"10"0,4 0,-2-4,-1-2,0 0,0 2,1 0,5 2,0 1,-3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EB7154-898E-4EFD-BCF5-54C80A8524A5}" type="datetimeFigureOut">
              <a:rPr lang="en-US" smtClean="0"/>
              <a:t>1/3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35B29A-7C70-4AD4-89B9-A0A48DCD5512}" type="slidenum">
              <a:rPr lang="en-US" smtClean="0"/>
              <a:t>‹#›</a:t>
            </a:fld>
            <a:endParaRPr lang="en-US"/>
          </a:p>
        </p:txBody>
      </p:sp>
    </p:spTree>
    <p:extLst>
      <p:ext uri="{BB962C8B-B14F-4D97-AF65-F5344CB8AC3E}">
        <p14:creationId xmlns:p14="http://schemas.microsoft.com/office/powerpoint/2010/main" val="11547106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3679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56871FE-075C-493B-85AE-CB41313C4FA9}"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04616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56871FE-075C-493B-85AE-CB41313C4FA9}"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650524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365759" y="1706880"/>
            <a:ext cx="10607039" cy="4267200"/>
          </a:xfrm>
          <a:prstGeom prst="rect">
            <a:avLst/>
          </a:prstGeom>
        </p:spPr>
        <p:txBody>
          <a:bodyPr wrap="square" lIns="0" tIns="0" rIns="0" bIns="0">
            <a:normAutofit/>
          </a:bodyPr>
          <a:lstStyle>
            <a:lvl1pPr marL="0" indent="0">
              <a:lnSpc>
                <a:spcPct val="100000"/>
              </a:lnSpc>
              <a:spcBef>
                <a:spcPts val="1600"/>
              </a:spcBef>
              <a:spcAft>
                <a:spcPts val="0"/>
              </a:spcAft>
              <a:buClr>
                <a:srgbClr val="AAAAAA"/>
              </a:buClr>
              <a:buFont typeface="Arial" pitchFamily="34" charset="0"/>
              <a:buNone/>
              <a:defRPr sz="1867">
                <a:solidFill>
                  <a:srgbClr val="000000"/>
                </a:solidFill>
                <a:latin typeface="Arial" panose="020B0604020202020204" pitchFamily="34" charset="0"/>
                <a:cs typeface="Arial" panose="020B0604020202020204" pitchFamily="34"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33">
                <a:solidFill>
                  <a:schemeClr val="bg2"/>
                </a:solidFill>
                <a:latin typeface="Museo Sans For Dell" pitchFamily="2"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p:txBody>
      </p:sp>
    </p:spTree>
    <p:extLst>
      <p:ext uri="{BB962C8B-B14F-4D97-AF65-F5344CB8AC3E}">
        <p14:creationId xmlns:p14="http://schemas.microsoft.com/office/powerpoint/2010/main" val="327261174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365760" y="1706880"/>
            <a:ext cx="10565848" cy="426720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580797366"/>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5759" y="1463040"/>
            <a:ext cx="10607040" cy="318456"/>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a:t>Subhead</a:t>
            </a:r>
          </a:p>
        </p:txBody>
      </p:sp>
      <p:sp>
        <p:nvSpPr>
          <p:cNvPr id="2" name="Title 1"/>
          <p:cNvSpPr>
            <a:spLocks noGrp="1"/>
          </p:cNvSpPr>
          <p:nvPr>
            <p:ph type="title" hasCustomPrompt="1"/>
          </p:nvPr>
        </p:nvSpPr>
        <p:spPr>
          <a:xfrm>
            <a:off x="365759" y="362513"/>
            <a:ext cx="10607040" cy="85344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365760" y="2072640"/>
            <a:ext cx="10607040" cy="402336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61373898"/>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365760" y="1706880"/>
            <a:ext cx="5120640" cy="4267200"/>
          </a:xfrm>
          <a:prstGeom prst="rect">
            <a:avLst/>
          </a:prstGeom>
        </p:spPr>
        <p:txBody>
          <a:bodyPr wrap="square" lIns="0" tIns="0" rIns="0" bIns="0">
            <a:normAutofit/>
          </a:bodyPr>
          <a:lstStyle>
            <a:lvl1pPr>
              <a:lnSpc>
                <a:spcPct val="100000"/>
              </a:lnSpc>
              <a:spcBef>
                <a:spcPts val="1600"/>
              </a:spcBef>
              <a:spcAft>
                <a:spcPts val="0"/>
              </a:spcAft>
              <a:buClr>
                <a:srgbClr val="AAAAAA"/>
              </a:buClr>
              <a:defRPr sz="1867" b="0">
                <a:solidFill>
                  <a:srgbClr val="000000"/>
                </a:solidFill>
                <a:latin typeface="Arial" panose="020B0604020202020204" pitchFamily="34" charset="0"/>
                <a:cs typeface="Arial" panose="020B0604020202020204" pitchFamily="34" charset="0"/>
              </a:defRPr>
            </a:lvl1pPr>
            <a:lvl2pPr marL="766214" indent="-309026">
              <a:lnSpc>
                <a:spcPct val="100000"/>
              </a:lnSpc>
              <a:spcBef>
                <a:spcPts val="400"/>
              </a:spcBef>
              <a:spcAft>
                <a:spcPts val="0"/>
              </a:spcAft>
              <a:buClr>
                <a:srgbClr val="AAAAAA"/>
              </a:buClr>
              <a:defRPr sz="1600" b="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b="0">
                <a:solidFill>
                  <a:srgbClr val="000000"/>
                </a:solidFill>
                <a:latin typeface="Arial" panose="020B0604020202020204" pitchFamily="34" charset="0"/>
                <a:cs typeface="Arial" panose="020B0604020202020204" pitchFamily="34"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5852160" y="1706880"/>
            <a:ext cx="5120640" cy="4267200"/>
          </a:xfrm>
          <a:prstGeom prst="rect">
            <a:avLst/>
          </a:prstGeom>
        </p:spPr>
        <p:txBody>
          <a:bodyPr wrap="square" lIns="0" tIns="0" rIns="0" bIns="0">
            <a:normAutofit/>
          </a:bodyPr>
          <a:lstStyle>
            <a:lvl1pPr>
              <a:lnSpc>
                <a:spcPct val="100000"/>
              </a:lnSpc>
              <a:spcBef>
                <a:spcPts val="1600"/>
              </a:spcBef>
              <a:spcAft>
                <a:spcPts val="0"/>
              </a:spcAft>
              <a:buClr>
                <a:srgbClr val="AAAAAA"/>
              </a:buClr>
              <a:defRPr sz="1867" b="0">
                <a:solidFill>
                  <a:srgbClr val="000000"/>
                </a:solidFill>
                <a:latin typeface="Arial" panose="020B0604020202020204" pitchFamily="34" charset="0"/>
                <a:cs typeface="Arial" panose="020B0604020202020204" pitchFamily="34" charset="0"/>
              </a:defRPr>
            </a:lvl1pPr>
            <a:lvl2pPr marL="766214" indent="-309026">
              <a:lnSpc>
                <a:spcPct val="100000"/>
              </a:lnSpc>
              <a:spcBef>
                <a:spcPts val="400"/>
              </a:spcBef>
              <a:spcAft>
                <a:spcPts val="0"/>
              </a:spcAft>
              <a:buClr>
                <a:srgbClr val="AAAAAA"/>
              </a:buClr>
              <a:defRPr sz="1600" b="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b="0">
                <a:solidFill>
                  <a:srgbClr val="000000"/>
                </a:solidFill>
                <a:latin typeface="Arial" panose="020B0604020202020204" pitchFamily="34" charset="0"/>
                <a:cs typeface="Arial" panose="020B0604020202020204" pitchFamily="34"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575992410"/>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4067" y="361951"/>
            <a:ext cx="5726959" cy="85344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365760" y="1706880"/>
            <a:ext cx="5711813" cy="4267200"/>
          </a:xfrm>
          <a:prstGeom prst="rect">
            <a:avLst/>
          </a:prstGeom>
        </p:spPr>
        <p:txBody>
          <a:bodyPr wrap="square" lIns="0" tIns="0" rIns="0" bIns="0">
            <a:normAutofit/>
          </a:bodyPr>
          <a:lstStyle>
            <a:lvl1pPr>
              <a:lnSpc>
                <a:spcPct val="100000"/>
              </a:lnSpc>
              <a:spcBef>
                <a:spcPts val="1600"/>
              </a:spcBef>
              <a:spcAft>
                <a:spcPts val="0"/>
              </a:spcAft>
              <a:buClr>
                <a:srgbClr val="AAAAAA"/>
              </a:buClr>
              <a:defRPr sz="1867" b="0">
                <a:solidFill>
                  <a:srgbClr val="000000"/>
                </a:solidFill>
                <a:latin typeface="Arial" panose="020B0604020202020204" pitchFamily="34" charset="0"/>
                <a:cs typeface="Arial" panose="020B0604020202020204" pitchFamily="34" charset="0"/>
              </a:defRPr>
            </a:lvl1pPr>
            <a:lvl2pPr marL="766214" indent="-309026">
              <a:lnSpc>
                <a:spcPct val="100000"/>
              </a:lnSpc>
              <a:spcBef>
                <a:spcPts val="400"/>
              </a:spcBef>
              <a:spcAft>
                <a:spcPts val="0"/>
              </a:spcAft>
              <a:buClr>
                <a:srgbClr val="AAAAAA"/>
              </a:buClr>
              <a:defRPr sz="1600" b="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b="0">
                <a:solidFill>
                  <a:srgbClr val="000000"/>
                </a:solidFill>
                <a:latin typeface="Arial" panose="020B0604020202020204" pitchFamily="34" charset="0"/>
                <a:cs typeface="Arial" panose="020B0604020202020204" pitchFamily="34" charset="0"/>
              </a:defRPr>
            </a:lvl3pPr>
            <a:lvl4pPr>
              <a:defRPr sz="1333"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864482467"/>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067" y="365408"/>
            <a:ext cx="6487072" cy="648443"/>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364067" y="1706880"/>
            <a:ext cx="5730240" cy="426720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rgbClr val="000000"/>
                </a:solidFill>
                <a:latin typeface="Arial" panose="020B0604020202020204" pitchFamily="34" charset="0"/>
                <a:cs typeface="Arial" panose="020B0604020202020204" pitchFamily="34"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364067" y="1092200"/>
            <a:ext cx="5730240" cy="318456"/>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3670117278"/>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0" y="365761"/>
            <a:ext cx="5730240" cy="886396"/>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365760" y="2072640"/>
            <a:ext cx="5730240" cy="402336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365760" y="1484464"/>
            <a:ext cx="5730240" cy="318456"/>
          </a:xfrm>
          <a:prstGeom prst="rect">
            <a:avLst/>
          </a:prstGeom>
        </p:spPr>
        <p:txBody>
          <a:bodyPr lIns="0" r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3458550678"/>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86396"/>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7476733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61563"/>
            <a:ext cx="10972800" cy="850392"/>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723279718"/>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a:lnSpc>
                <a:spcPct val="90000"/>
              </a:lnSpc>
              <a:spcBef>
                <a:spcPts val="800"/>
              </a:spcBef>
              <a:spcAft>
                <a:spcPts val="0"/>
              </a:spcAft>
              <a:buClr>
                <a:schemeClr val="bg1"/>
              </a:buClr>
            </a:pPr>
            <a:fld id="{E00CF047-7350-4707-AA1A-E56FA69586CC}" type="datetime1">
              <a:rPr lang="en-US" sz="1200" smtClean="0">
                <a:solidFill>
                  <a:schemeClr val="bg2">
                    <a:lumMod val="50000"/>
                    <a:lumOff val="50000"/>
                  </a:schemeClr>
                </a:solidFill>
                <a:latin typeface="+mn-lt"/>
              </a:rPr>
              <a:pPr>
                <a:lnSpc>
                  <a:spcPct val="90000"/>
                </a:lnSpc>
                <a:spcBef>
                  <a:spcPts val="800"/>
                </a:spcBef>
                <a:spcAft>
                  <a:spcPts val="0"/>
                </a:spcAft>
                <a:buClr>
                  <a:schemeClr val="bg1"/>
                </a:buClr>
              </a:pPr>
              <a:t>1/30/2022</a:t>
            </a:fld>
            <a:endParaRPr lang="en-US" sz="1200" dirty="0">
              <a:solidFill>
                <a:schemeClr val="bg2">
                  <a:lumMod val="50000"/>
                  <a:lumOff val="50000"/>
                </a:schemeClr>
              </a:solidFill>
              <a:latin typeface="+mn-lt"/>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a:lnSpc>
                <a:spcPct val="90000"/>
              </a:lnSpc>
              <a:spcBef>
                <a:spcPts val="800"/>
              </a:spcBef>
              <a:spcAft>
                <a:spcPts val="0"/>
              </a:spcAft>
              <a:buClr>
                <a:schemeClr val="bg1"/>
              </a:buClr>
            </a:pPr>
            <a:fld id="{E00CF047-7350-4707-AA1A-E56FA69586CC}" type="datetime1">
              <a:rPr lang="en-US" sz="1200" smtClean="0">
                <a:solidFill>
                  <a:schemeClr val="bg2">
                    <a:lumMod val="50000"/>
                    <a:lumOff val="50000"/>
                  </a:schemeClr>
                </a:solidFill>
                <a:latin typeface="+mn-lt"/>
              </a:rPr>
              <a:pPr>
                <a:lnSpc>
                  <a:spcPct val="90000"/>
                </a:lnSpc>
                <a:spcBef>
                  <a:spcPts val="800"/>
                </a:spcBef>
                <a:spcAft>
                  <a:spcPts val="0"/>
                </a:spcAft>
                <a:buClr>
                  <a:schemeClr val="bg1"/>
                </a:buClr>
              </a:pPr>
              <a:t>1/30/2022</a:t>
            </a:fld>
            <a:endParaRPr lang="en-US" sz="1200" dirty="0">
              <a:solidFill>
                <a:schemeClr val="bg2">
                  <a:lumMod val="50000"/>
                  <a:lumOff val="50000"/>
                </a:schemeClr>
              </a:solidFill>
              <a:latin typeface="+mn-lt"/>
            </a:endParaRPr>
          </a:p>
        </p:txBody>
      </p:sp>
      <p:sp>
        <p:nvSpPr>
          <p:cNvPr id="22" name="TextBox 21"/>
          <p:cNvSpPr txBox="1"/>
          <p:nvPr/>
        </p:nvSpPr>
        <p:spPr>
          <a:xfrm>
            <a:off x="393635" y="6445115"/>
            <a:ext cx="65" cy="156902"/>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1133" kern="1200" dirty="0" err="1">
              <a:solidFill>
                <a:schemeClr val="bg2">
                  <a:lumMod val="50000"/>
                  <a:lumOff val="50000"/>
                </a:schemeClr>
              </a:solidFill>
              <a:latin typeface="+mn-lt"/>
              <a:ea typeface="+mn-ea"/>
              <a:cs typeface="+mn-cs"/>
            </a:endParaRPr>
          </a:p>
        </p:txBody>
      </p:sp>
      <p:sp>
        <p:nvSpPr>
          <p:cNvPr id="24" name="TextBox 23"/>
          <p:cNvSpPr txBox="1"/>
          <p:nvPr/>
        </p:nvSpPr>
        <p:spPr>
          <a:xfrm>
            <a:off x="393635" y="6445115"/>
            <a:ext cx="65" cy="156902"/>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1133" kern="1200" dirty="0" err="1">
              <a:solidFill>
                <a:schemeClr val="bg2">
                  <a:lumMod val="50000"/>
                  <a:lumOff val="50000"/>
                </a:schemeClr>
              </a:solidFill>
              <a:latin typeface="+mn-lt"/>
              <a:ea typeface="+mn-ea"/>
              <a:cs typeface="+mn-cs"/>
            </a:endParaRPr>
          </a:p>
        </p:txBody>
      </p:sp>
      <p:sp>
        <p:nvSpPr>
          <p:cNvPr id="25" name="TextBox 24"/>
          <p:cNvSpPr txBox="1"/>
          <p:nvPr/>
        </p:nvSpPr>
        <p:spPr>
          <a:xfrm>
            <a:off x="11656929" y="6604121"/>
            <a:ext cx="176330" cy="156902"/>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1133"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1133" b="0" kern="1200" dirty="0" err="1">
              <a:solidFill>
                <a:schemeClr val="bg2">
                  <a:lumMod val="50000"/>
                  <a:lumOff val="50000"/>
                </a:schemeClr>
              </a:solidFill>
              <a:latin typeface="+mn-lt"/>
              <a:ea typeface="+mn-ea"/>
              <a:cs typeface="+mn-cs"/>
            </a:endParaRPr>
          </a:p>
        </p:txBody>
      </p:sp>
      <p:sp>
        <p:nvSpPr>
          <p:cNvPr id="3" name="MSIPCMContentMarking" descr="{&quot;HashCode&quot;:-1876667767,&quot;Placement&quot;:&quot;Footer&quot;,&quot;Top&quot;:523.380066,&quot;Left&quot;:0.0,&quot;SlideWidth&quot;:960,&quot;SlideHeight&quot;:540}">
            <a:extLst>
              <a:ext uri="{FF2B5EF4-FFF2-40B4-BE49-F238E27FC236}">
                <a16:creationId xmlns:a16="http://schemas.microsoft.com/office/drawing/2014/main" id="{6415F3A3-3877-468F-9A98-7EF1EDFBD89E}"/>
              </a:ext>
            </a:extLst>
          </p:cNvPr>
          <p:cNvSpPr txBox="1"/>
          <p:nvPr userDrawn="1"/>
        </p:nvSpPr>
        <p:spPr>
          <a:xfrm>
            <a:off x="0" y="6646927"/>
            <a:ext cx="1185008" cy="21107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700">
                <a:solidFill>
                  <a:srgbClr val="737373"/>
                </a:solidFill>
                <a:latin typeface="Calibri" panose="020F0502020204030204" pitchFamily="34" charset="0"/>
              </a:rPr>
              <a:t>Internal Use - Confidential</a:t>
            </a:r>
            <a:endParaRPr lang="en-US" sz="700" dirty="0" err="1">
              <a:solidFill>
                <a:srgbClr val="737373"/>
              </a:solidFill>
              <a:latin typeface="Calibri" panose="020F0502020204030204" pitchFamily="34" charset="0"/>
            </a:endParaRPr>
          </a:p>
        </p:txBody>
      </p:sp>
    </p:spTree>
    <p:extLst>
      <p:ext uri="{BB962C8B-B14F-4D97-AF65-F5344CB8AC3E}">
        <p14:creationId xmlns:p14="http://schemas.microsoft.com/office/powerpoint/2010/main" val="2497854730"/>
      </p:ext>
    </p:extLst>
  </p:cSld>
  <p:clrMap bg1="dk2" tx1="lt1" bg2="dk1"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spd="med">
    <p:wipe dir="r"/>
  </p:transition>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9.xml"/><Relationship Id="rId9" Type="http://schemas.openxmlformats.org/officeDocument/2006/relationships/hyperlink" Target="https://scherlund.blogspot.com/2018/01/ai-and-machine-learning-give-new.html"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www.collectedny.org/careerposts/assessing-job-offers/" TargetMode="External"/><Relationship Id="rId2" Type="http://schemas.openxmlformats.org/officeDocument/2006/relationships/image" Target="../media/image12.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https://www.pexels.com/photo/university-entrance-arch-247823/" TargetMode="External"/><Relationship Id="rId4" Type="http://schemas.openxmlformats.org/officeDocument/2006/relationships/image" Target="../media/image13.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ustomXml" Target="../ink/ink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image" Target="../media/image20.png"/><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3" Type="http://schemas.openxmlformats.org/officeDocument/2006/relationships/customXml" Target="../ink/ink3.xml"/><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customXml" Target="../ink/ink4.xml"/><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3" Type="http://schemas.openxmlformats.org/officeDocument/2006/relationships/hyperlink" Target="http://capitalcurrent.ca/opioid-overdoses-dwarf-covid-19/" TargetMode="External"/><Relationship Id="rId2" Type="http://schemas.openxmlformats.org/officeDocument/2006/relationships/image" Target="../media/image25.jpg"/><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customXml" Target="../ink/ink5.xml"/><Relationship Id="rId4" Type="http://schemas.openxmlformats.org/officeDocument/2006/relationships/hyperlink" Target="https://creativecommons.org/licenses/by-nc-nd/3.0/"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customXml" Target="../ink/ink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customXml" Target="../ink/ink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customXml" Target="../ink/ink8.xml"/><Relationship Id="rId2" Type="http://schemas.openxmlformats.org/officeDocument/2006/relationships/image" Target="../media/image29.png"/><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s://www.peakpx.com/1988/weather-forecast" TargetMode="External"/><Relationship Id="rId7" Type="http://schemas.openxmlformats.org/officeDocument/2006/relationships/hyperlink" Target="https://www.quoteinspector.com/free-images/" TargetMode="External"/><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hyperlink" Target="https://www.flickr.com/photos/brusselsairport/38822732482" TargetMode="External"/><Relationship Id="rId5" Type="http://schemas.openxmlformats.org/officeDocument/2006/relationships/hyperlink" Target="https://journalistsresource.org/tag/election-beat-2020/" TargetMode="External"/><Relationship Id="rId10" Type="http://schemas.openxmlformats.org/officeDocument/2006/relationships/image" Target="../media/image8.jpeg"/><Relationship Id="rId4" Type="http://schemas.openxmlformats.org/officeDocument/2006/relationships/image" Target="../media/image5.png"/><Relationship Id="rId9" Type="http://schemas.openxmlformats.org/officeDocument/2006/relationships/hyperlink" Target="http://dangerouslee.biz/insurance-agency-seo/"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customXml" Target="../ink/ink9.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customXml" Target="../ink/ink1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customXml" Target="../ink/ink11.xml"/><Relationship Id="rId2" Type="http://schemas.openxmlformats.org/officeDocument/2006/relationships/image" Target="../media/image35.png"/><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33.xml.rels><?xml version="1.0" encoding="UTF-8" standalone="yes"?>
<Relationships xmlns="http://schemas.openxmlformats.org/package/2006/relationships"><Relationship Id="rId3" Type="http://schemas.openxmlformats.org/officeDocument/2006/relationships/hyperlink" Target="https://blog.scielo.org/en/2015/03/27/peer-review-modalities-pros-and-cons/" TargetMode="External"/><Relationship Id="rId2" Type="http://schemas.openxmlformats.org/officeDocument/2006/relationships/image" Target="../media/image37.png"/><Relationship Id="rId1" Type="http://schemas.openxmlformats.org/officeDocument/2006/relationships/slideLayout" Target="../slideLayouts/slideLayout4.xml"/><Relationship Id="rId5" Type="http://schemas.openxmlformats.org/officeDocument/2006/relationships/image" Target="../media/image38.png"/><Relationship Id="rId4" Type="http://schemas.openxmlformats.org/officeDocument/2006/relationships/customXml" Target="../ink/ink12.xml"/></Relationships>
</file>

<file path=ppt/slides/_rels/slide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customXml" Target="../ink/ink1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0.jpg"/><Relationship Id="rId11" Type="http://schemas.openxmlformats.org/officeDocument/2006/relationships/image" Target="../media/image41.png"/><Relationship Id="rId5" Type="http://schemas.openxmlformats.org/officeDocument/2006/relationships/notesSlide" Target="../notesSlides/notesSlide4.xml"/><Relationship Id="rId10" Type="http://schemas.openxmlformats.org/officeDocument/2006/relationships/customXml" Target="../ink/ink14.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42.jp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ustomXml" Target="../ink/ink15.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customXml" Target="../ink/ink16.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hyperlink" Target="https://www.publicdomainpictures.net/view-image.php?image=176108&amp;picture=fast-sport-car" TargetMode="External"/><Relationship Id="rId2" Type="http://schemas.openxmlformats.org/officeDocument/2006/relationships/image" Target="../media/image45.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flickr.com/photos/emptyjames/4768555013" TargetMode="External"/><Relationship Id="rId2" Type="http://schemas.openxmlformats.org/officeDocument/2006/relationships/image" Target="../media/image46.jpeg"/><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customXml" Target="../ink/ink17.xml"/></Relationships>
</file>

<file path=ppt/slides/_rels/slide41.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48.jpeg"/><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customXml" Target="../ink/ink18.xml"/></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customXml" Target="../ink/ink1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48.jpeg"/><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customXml" Target="../ink/ink20.xml"/></Relationships>
</file>

<file path=ppt/slides/_rels/slide4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customXml" Target="../ink/ink2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customXml" Target="../ink/ink22.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www.publicdomainpictures.net/view-image.php?image=120577&amp;picture=forklift-truck-loading-up" TargetMode="External"/><Relationship Id="rId2" Type="http://schemas.openxmlformats.org/officeDocument/2006/relationships/image" Target="../media/image54.jpeg"/><Relationship Id="rId1" Type="http://schemas.openxmlformats.org/officeDocument/2006/relationships/slideLayout" Target="../slideLayouts/slideLayout3.xml"/><Relationship Id="rId5" Type="http://schemas.openxmlformats.org/officeDocument/2006/relationships/image" Target="../media/image55.png"/><Relationship Id="rId4" Type="http://schemas.openxmlformats.org/officeDocument/2006/relationships/customXml" Target="../ink/ink23.xml"/></Relationships>
</file>

<file path=ppt/slides/_rels/slide4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customXml" Target="../ink/ink2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6" Type="http://schemas.openxmlformats.org/officeDocument/2006/relationships/image" Target="../media/image42.png"/><Relationship Id="rId21" Type="http://schemas.openxmlformats.org/officeDocument/2006/relationships/customXml" Target="../ink/ink34.xml"/><Relationship Id="rId42" Type="http://schemas.openxmlformats.org/officeDocument/2006/relationships/image" Target="../media/image500.png"/><Relationship Id="rId47" Type="http://schemas.openxmlformats.org/officeDocument/2006/relationships/customXml" Target="../ink/ink47.xml"/><Relationship Id="rId63" Type="http://schemas.openxmlformats.org/officeDocument/2006/relationships/customXml" Target="../ink/ink55.xml"/><Relationship Id="rId68" Type="http://schemas.openxmlformats.org/officeDocument/2006/relationships/image" Target="../media/image63.png"/><Relationship Id="rId16" Type="http://schemas.openxmlformats.org/officeDocument/2006/relationships/image" Target="../media/image370.png"/><Relationship Id="rId11" Type="http://schemas.openxmlformats.org/officeDocument/2006/relationships/customXml" Target="../ink/ink29.xml"/><Relationship Id="rId24" Type="http://schemas.openxmlformats.org/officeDocument/2006/relationships/image" Target="../media/image410.png"/><Relationship Id="rId32" Type="http://schemas.openxmlformats.org/officeDocument/2006/relationships/image" Target="../media/image45.png"/><Relationship Id="rId37" Type="http://schemas.openxmlformats.org/officeDocument/2006/relationships/customXml" Target="../ink/ink42.xml"/><Relationship Id="rId40" Type="http://schemas.openxmlformats.org/officeDocument/2006/relationships/image" Target="../media/image490.png"/><Relationship Id="rId45" Type="http://schemas.openxmlformats.org/officeDocument/2006/relationships/customXml" Target="../ink/ink46.xml"/><Relationship Id="rId53" Type="http://schemas.openxmlformats.org/officeDocument/2006/relationships/customXml" Target="../ink/ink50.xml"/><Relationship Id="rId58" Type="http://schemas.openxmlformats.org/officeDocument/2006/relationships/image" Target="../media/image59.png"/><Relationship Id="rId66" Type="http://schemas.openxmlformats.org/officeDocument/2006/relationships/image" Target="../media/image62.png"/><Relationship Id="rId74" Type="http://schemas.openxmlformats.org/officeDocument/2006/relationships/image" Target="../media/image66.png"/><Relationship Id="rId5" Type="http://schemas.openxmlformats.org/officeDocument/2006/relationships/customXml" Target="../ink/ink26.xml"/><Relationship Id="rId61" Type="http://schemas.openxmlformats.org/officeDocument/2006/relationships/customXml" Target="../ink/ink54.xml"/><Relationship Id="rId19" Type="http://schemas.openxmlformats.org/officeDocument/2006/relationships/customXml" Target="../ink/ink33.xml"/><Relationship Id="rId14" Type="http://schemas.openxmlformats.org/officeDocument/2006/relationships/image" Target="../media/image360.png"/><Relationship Id="rId22" Type="http://schemas.openxmlformats.org/officeDocument/2006/relationships/image" Target="../media/image40.png"/><Relationship Id="rId27" Type="http://schemas.openxmlformats.org/officeDocument/2006/relationships/customXml" Target="../ink/ink37.xml"/><Relationship Id="rId30" Type="http://schemas.openxmlformats.org/officeDocument/2006/relationships/image" Target="../media/image440.png"/><Relationship Id="rId35" Type="http://schemas.openxmlformats.org/officeDocument/2006/relationships/customXml" Target="../ink/ink41.xml"/><Relationship Id="rId43" Type="http://schemas.openxmlformats.org/officeDocument/2006/relationships/customXml" Target="../ink/ink45.xml"/><Relationship Id="rId48" Type="http://schemas.openxmlformats.org/officeDocument/2006/relationships/image" Target="../media/image530.png"/><Relationship Id="rId56" Type="http://schemas.openxmlformats.org/officeDocument/2006/relationships/image" Target="../media/image58.png"/><Relationship Id="rId64" Type="http://schemas.openxmlformats.org/officeDocument/2006/relationships/image" Target="../media/image61.png"/><Relationship Id="rId69" Type="http://schemas.openxmlformats.org/officeDocument/2006/relationships/customXml" Target="../ink/ink58.xml"/><Relationship Id="rId77" Type="http://schemas.openxmlformats.org/officeDocument/2006/relationships/customXml" Target="../ink/ink62.xml"/><Relationship Id="rId8" Type="http://schemas.openxmlformats.org/officeDocument/2006/relationships/image" Target="../media/image330.png"/><Relationship Id="rId51" Type="http://schemas.openxmlformats.org/officeDocument/2006/relationships/customXml" Target="../ink/ink49.xml"/><Relationship Id="rId72" Type="http://schemas.openxmlformats.org/officeDocument/2006/relationships/image" Target="../media/image65.png"/><Relationship Id="rId3" Type="http://schemas.openxmlformats.org/officeDocument/2006/relationships/customXml" Target="../ink/ink25.xml"/><Relationship Id="rId12" Type="http://schemas.openxmlformats.org/officeDocument/2006/relationships/image" Target="../media/image350.png"/><Relationship Id="rId17" Type="http://schemas.openxmlformats.org/officeDocument/2006/relationships/customXml" Target="../ink/ink32.xml"/><Relationship Id="rId25" Type="http://schemas.openxmlformats.org/officeDocument/2006/relationships/customXml" Target="../ink/ink36.xml"/><Relationship Id="rId33" Type="http://schemas.openxmlformats.org/officeDocument/2006/relationships/customXml" Target="../ink/ink40.xml"/><Relationship Id="rId38" Type="http://schemas.openxmlformats.org/officeDocument/2006/relationships/image" Target="../media/image48.png"/><Relationship Id="rId46" Type="http://schemas.openxmlformats.org/officeDocument/2006/relationships/image" Target="../media/image520.png"/><Relationship Id="rId59" Type="http://schemas.openxmlformats.org/officeDocument/2006/relationships/customXml" Target="../ink/ink53.xml"/><Relationship Id="rId67" Type="http://schemas.openxmlformats.org/officeDocument/2006/relationships/customXml" Target="../ink/ink57.xml"/><Relationship Id="rId20" Type="http://schemas.openxmlformats.org/officeDocument/2006/relationships/image" Target="../media/image390.png"/><Relationship Id="rId41" Type="http://schemas.openxmlformats.org/officeDocument/2006/relationships/customXml" Target="../ink/ink44.xml"/><Relationship Id="rId54" Type="http://schemas.openxmlformats.org/officeDocument/2006/relationships/image" Target="../media/image560.png"/><Relationship Id="rId62" Type="http://schemas.openxmlformats.org/officeDocument/2006/relationships/image" Target="../media/image600.png"/><Relationship Id="rId70" Type="http://schemas.openxmlformats.org/officeDocument/2006/relationships/image" Target="../media/image64.png"/><Relationship Id="rId75" Type="http://schemas.openxmlformats.org/officeDocument/2006/relationships/customXml" Target="../ink/ink61.xml"/><Relationship Id="rId1" Type="http://schemas.openxmlformats.org/officeDocument/2006/relationships/slideLayout" Target="../slideLayouts/slideLayout3.xml"/><Relationship Id="rId6" Type="http://schemas.openxmlformats.org/officeDocument/2006/relationships/image" Target="../media/image320.png"/><Relationship Id="rId15" Type="http://schemas.openxmlformats.org/officeDocument/2006/relationships/customXml" Target="../ink/ink31.xml"/><Relationship Id="rId23" Type="http://schemas.openxmlformats.org/officeDocument/2006/relationships/customXml" Target="../ink/ink35.xml"/><Relationship Id="rId28" Type="http://schemas.openxmlformats.org/officeDocument/2006/relationships/image" Target="../media/image430.png"/><Relationship Id="rId36" Type="http://schemas.openxmlformats.org/officeDocument/2006/relationships/image" Target="../media/image470.png"/><Relationship Id="rId49" Type="http://schemas.openxmlformats.org/officeDocument/2006/relationships/customXml" Target="../ink/ink48.xml"/><Relationship Id="rId57" Type="http://schemas.openxmlformats.org/officeDocument/2006/relationships/customXml" Target="../ink/ink52.xml"/><Relationship Id="rId10" Type="http://schemas.openxmlformats.org/officeDocument/2006/relationships/image" Target="../media/image340.png"/><Relationship Id="rId31" Type="http://schemas.openxmlformats.org/officeDocument/2006/relationships/customXml" Target="../ink/ink39.xml"/><Relationship Id="rId44" Type="http://schemas.openxmlformats.org/officeDocument/2006/relationships/image" Target="../media/image510.png"/><Relationship Id="rId52" Type="http://schemas.openxmlformats.org/officeDocument/2006/relationships/image" Target="../media/image550.png"/><Relationship Id="rId60" Type="http://schemas.openxmlformats.org/officeDocument/2006/relationships/image" Target="../media/image60.png"/><Relationship Id="rId65" Type="http://schemas.openxmlformats.org/officeDocument/2006/relationships/customXml" Target="../ink/ink56.xml"/><Relationship Id="rId73" Type="http://schemas.openxmlformats.org/officeDocument/2006/relationships/customXml" Target="../ink/ink60.xml"/><Relationship Id="rId78" Type="http://schemas.openxmlformats.org/officeDocument/2006/relationships/image" Target="../media/image68.png"/><Relationship Id="rId4" Type="http://schemas.openxmlformats.org/officeDocument/2006/relationships/image" Target="../media/image310.png"/><Relationship Id="rId9" Type="http://schemas.openxmlformats.org/officeDocument/2006/relationships/customXml" Target="../ink/ink28.xml"/><Relationship Id="rId13" Type="http://schemas.openxmlformats.org/officeDocument/2006/relationships/customXml" Target="../ink/ink30.xml"/><Relationship Id="rId18" Type="http://schemas.openxmlformats.org/officeDocument/2006/relationships/image" Target="../media/image380.png"/><Relationship Id="rId39" Type="http://schemas.openxmlformats.org/officeDocument/2006/relationships/customXml" Target="../ink/ink43.xml"/><Relationship Id="rId34" Type="http://schemas.openxmlformats.org/officeDocument/2006/relationships/image" Target="../media/image46.png"/><Relationship Id="rId50" Type="http://schemas.openxmlformats.org/officeDocument/2006/relationships/image" Target="../media/image54.png"/><Relationship Id="rId55" Type="http://schemas.openxmlformats.org/officeDocument/2006/relationships/customXml" Target="../ink/ink51.xml"/><Relationship Id="rId76" Type="http://schemas.openxmlformats.org/officeDocument/2006/relationships/image" Target="../media/image67.png"/><Relationship Id="rId7" Type="http://schemas.openxmlformats.org/officeDocument/2006/relationships/customXml" Target="../ink/ink27.xml"/><Relationship Id="rId71" Type="http://schemas.openxmlformats.org/officeDocument/2006/relationships/customXml" Target="../ink/ink59.xml"/><Relationship Id="rId2" Type="http://schemas.openxmlformats.org/officeDocument/2006/relationships/image" Target="../media/image57.png"/><Relationship Id="rId29" Type="http://schemas.openxmlformats.org/officeDocument/2006/relationships/customXml" Target="../ink/ink38.xml"/></Relationships>
</file>

<file path=ppt/slides/_rels/slide49.xml.rels><?xml version="1.0" encoding="UTF-8" standalone="yes"?>
<Relationships xmlns="http://schemas.openxmlformats.org/package/2006/relationships"><Relationship Id="rId3" Type="http://schemas.openxmlformats.org/officeDocument/2006/relationships/customXml" Target="../ink/ink63.xml"/><Relationship Id="rId2" Type="http://schemas.openxmlformats.org/officeDocument/2006/relationships/image" Target="../media/image69.png"/><Relationship Id="rId1" Type="http://schemas.openxmlformats.org/officeDocument/2006/relationships/slideLayout" Target="../slideLayouts/slideLayout3.xml"/><Relationship Id="rId4" Type="http://schemas.openxmlformats.org/officeDocument/2006/relationships/image" Target="../media/image7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www.bettertechtips.com/bestbuy/dell-lightweight-laptop/" TargetMode="External"/><Relationship Id="rId2" Type="http://schemas.openxmlformats.org/officeDocument/2006/relationships/image" Target="../media/image71.jpeg"/><Relationship Id="rId1" Type="http://schemas.openxmlformats.org/officeDocument/2006/relationships/slideLayout" Target="../slideLayouts/slideLayout3.xml"/><Relationship Id="rId6" Type="http://schemas.openxmlformats.org/officeDocument/2006/relationships/image" Target="../media/image73.png"/><Relationship Id="rId5" Type="http://schemas.openxmlformats.org/officeDocument/2006/relationships/customXml" Target="../ink/ink64.xml"/><Relationship Id="rId4" Type="http://schemas.openxmlformats.org/officeDocument/2006/relationships/image" Target="../media/image72.png"/></Relationships>
</file>

<file path=ppt/slides/_rels/slide51.xml.rels><?xml version="1.0" encoding="UTF-8" standalone="yes"?>
<Relationships xmlns="http://schemas.openxmlformats.org/package/2006/relationships"><Relationship Id="rId26" Type="http://schemas.openxmlformats.org/officeDocument/2006/relationships/customXml" Target="../ink/ink77.xml"/><Relationship Id="rId21" Type="http://schemas.openxmlformats.org/officeDocument/2006/relationships/image" Target="../media/image80.png"/><Relationship Id="rId42" Type="http://schemas.openxmlformats.org/officeDocument/2006/relationships/customXml" Target="../ink/ink85.xml"/><Relationship Id="rId47" Type="http://schemas.openxmlformats.org/officeDocument/2006/relationships/image" Target="../media/image93.png"/><Relationship Id="rId63" Type="http://schemas.openxmlformats.org/officeDocument/2006/relationships/image" Target="../media/image101.png"/><Relationship Id="rId68" Type="http://schemas.openxmlformats.org/officeDocument/2006/relationships/customXml" Target="../ink/ink98.xml"/><Relationship Id="rId84" Type="http://schemas.openxmlformats.org/officeDocument/2006/relationships/customXml" Target="../ink/ink106.xml"/><Relationship Id="rId89" Type="http://schemas.openxmlformats.org/officeDocument/2006/relationships/customXml" Target="../ink/ink109.xml"/><Relationship Id="rId112" Type="http://schemas.openxmlformats.org/officeDocument/2006/relationships/customXml" Target="../ink/ink121.xml"/><Relationship Id="rId16" Type="http://schemas.openxmlformats.org/officeDocument/2006/relationships/customXml" Target="../ink/ink72.xml"/><Relationship Id="rId107" Type="http://schemas.openxmlformats.org/officeDocument/2006/relationships/image" Target="../media/image121.png"/><Relationship Id="rId11" Type="http://schemas.openxmlformats.org/officeDocument/2006/relationships/image" Target="../media/image750.png"/><Relationship Id="rId32" Type="http://schemas.openxmlformats.org/officeDocument/2006/relationships/customXml" Target="../ink/ink80.xml"/><Relationship Id="rId37" Type="http://schemas.openxmlformats.org/officeDocument/2006/relationships/image" Target="../media/image88.png"/><Relationship Id="rId53" Type="http://schemas.openxmlformats.org/officeDocument/2006/relationships/image" Target="../media/image96.png"/><Relationship Id="rId58" Type="http://schemas.openxmlformats.org/officeDocument/2006/relationships/customXml" Target="../ink/ink93.xml"/><Relationship Id="rId74" Type="http://schemas.openxmlformats.org/officeDocument/2006/relationships/customXml" Target="../ink/ink101.xml"/><Relationship Id="rId79" Type="http://schemas.openxmlformats.org/officeDocument/2006/relationships/image" Target="../media/image71.png"/><Relationship Id="rId102" Type="http://schemas.openxmlformats.org/officeDocument/2006/relationships/image" Target="../media/image119.png"/><Relationship Id="rId5" Type="http://schemas.openxmlformats.org/officeDocument/2006/relationships/image" Target="../media/image75.png"/><Relationship Id="rId90" Type="http://schemas.openxmlformats.org/officeDocument/2006/relationships/image" Target="../media/image113.png"/><Relationship Id="rId95" Type="http://schemas.openxmlformats.org/officeDocument/2006/relationships/customXml" Target="../ink/ink112.xml"/><Relationship Id="rId22" Type="http://schemas.openxmlformats.org/officeDocument/2006/relationships/customXml" Target="../ink/ink75.xml"/><Relationship Id="rId27" Type="http://schemas.openxmlformats.org/officeDocument/2006/relationships/image" Target="../media/image83.png"/><Relationship Id="rId43" Type="http://schemas.openxmlformats.org/officeDocument/2006/relationships/image" Target="../media/image91.png"/><Relationship Id="rId48" Type="http://schemas.openxmlformats.org/officeDocument/2006/relationships/customXml" Target="../ink/ink88.xml"/><Relationship Id="rId64" Type="http://schemas.openxmlformats.org/officeDocument/2006/relationships/customXml" Target="../ink/ink96.xml"/><Relationship Id="rId69" Type="http://schemas.openxmlformats.org/officeDocument/2006/relationships/image" Target="../media/image104.png"/><Relationship Id="rId113" Type="http://schemas.openxmlformats.org/officeDocument/2006/relationships/image" Target="../media/image124.png"/><Relationship Id="rId80" Type="http://schemas.openxmlformats.org/officeDocument/2006/relationships/customXml" Target="../ink/ink104.xml"/><Relationship Id="rId85" Type="http://schemas.openxmlformats.org/officeDocument/2006/relationships/customXml" Target="../ink/ink107.xml"/><Relationship Id="rId12" Type="http://schemas.openxmlformats.org/officeDocument/2006/relationships/customXml" Target="../ink/ink70.xml"/><Relationship Id="rId17"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customXml" Target="../ink/ink83.xml"/><Relationship Id="rId59" Type="http://schemas.openxmlformats.org/officeDocument/2006/relationships/image" Target="../media/image99.png"/><Relationship Id="rId103" Type="http://schemas.openxmlformats.org/officeDocument/2006/relationships/customXml" Target="../ink/ink116.xml"/><Relationship Id="rId108" Type="http://schemas.openxmlformats.org/officeDocument/2006/relationships/customXml" Target="../ink/ink119.xml"/><Relationship Id="rId54" Type="http://schemas.openxmlformats.org/officeDocument/2006/relationships/customXml" Target="../ink/ink91.xml"/><Relationship Id="rId70" Type="http://schemas.openxmlformats.org/officeDocument/2006/relationships/customXml" Target="../ink/ink99.xml"/><Relationship Id="rId75" Type="http://schemas.openxmlformats.org/officeDocument/2006/relationships/image" Target="../media/image107.png"/><Relationship Id="rId91" Type="http://schemas.openxmlformats.org/officeDocument/2006/relationships/customXml" Target="../ink/ink110.xml"/><Relationship Id="rId96" Type="http://schemas.openxmlformats.org/officeDocument/2006/relationships/image" Target="../media/image116.png"/><Relationship Id="rId1" Type="http://schemas.openxmlformats.org/officeDocument/2006/relationships/slideLayout" Target="../slideLayouts/slideLayout3.xml"/><Relationship Id="rId6" Type="http://schemas.openxmlformats.org/officeDocument/2006/relationships/customXml" Target="../ink/ink67.xml"/><Relationship Id="rId15" Type="http://schemas.openxmlformats.org/officeDocument/2006/relationships/image" Target="../media/image77.png"/><Relationship Id="rId23" Type="http://schemas.openxmlformats.org/officeDocument/2006/relationships/image" Target="../media/image81.png"/><Relationship Id="rId28" Type="http://schemas.openxmlformats.org/officeDocument/2006/relationships/customXml" Target="../ink/ink78.xml"/><Relationship Id="rId36" Type="http://schemas.openxmlformats.org/officeDocument/2006/relationships/customXml" Target="../ink/ink82.xml"/><Relationship Id="rId49" Type="http://schemas.openxmlformats.org/officeDocument/2006/relationships/image" Target="../media/image94.png"/><Relationship Id="rId57" Type="http://schemas.openxmlformats.org/officeDocument/2006/relationships/image" Target="../media/image98.png"/><Relationship Id="rId106" Type="http://schemas.openxmlformats.org/officeDocument/2006/relationships/customXml" Target="../ink/ink118.xml"/><Relationship Id="rId114" Type="http://schemas.openxmlformats.org/officeDocument/2006/relationships/customXml" Target="../ink/ink122.xml"/><Relationship Id="rId10" Type="http://schemas.openxmlformats.org/officeDocument/2006/relationships/customXml" Target="../ink/ink69.xml"/><Relationship Id="rId31" Type="http://schemas.openxmlformats.org/officeDocument/2006/relationships/image" Target="../media/image85.png"/><Relationship Id="rId44" Type="http://schemas.openxmlformats.org/officeDocument/2006/relationships/customXml" Target="../ink/ink86.xml"/><Relationship Id="rId52" Type="http://schemas.openxmlformats.org/officeDocument/2006/relationships/customXml" Target="../ink/ink90.xml"/><Relationship Id="rId60" Type="http://schemas.openxmlformats.org/officeDocument/2006/relationships/customXml" Target="../ink/ink94.xml"/><Relationship Id="rId65" Type="http://schemas.openxmlformats.org/officeDocument/2006/relationships/image" Target="../media/image102.png"/><Relationship Id="rId73" Type="http://schemas.openxmlformats.org/officeDocument/2006/relationships/image" Target="../media/image106.png"/><Relationship Id="rId78" Type="http://schemas.openxmlformats.org/officeDocument/2006/relationships/customXml" Target="../ink/ink103.xml"/><Relationship Id="rId81" Type="http://schemas.openxmlformats.org/officeDocument/2006/relationships/image" Target="../media/image109.png"/><Relationship Id="rId86" Type="http://schemas.openxmlformats.org/officeDocument/2006/relationships/image" Target="../media/image111.png"/><Relationship Id="rId94" Type="http://schemas.openxmlformats.org/officeDocument/2006/relationships/image" Target="../media/image115.png"/><Relationship Id="rId99" Type="http://schemas.openxmlformats.org/officeDocument/2006/relationships/customXml" Target="../ink/ink114.xml"/><Relationship Id="rId101" Type="http://schemas.openxmlformats.org/officeDocument/2006/relationships/customXml" Target="../ink/ink115.xml"/><Relationship Id="rId4" Type="http://schemas.openxmlformats.org/officeDocument/2006/relationships/customXml" Target="../ink/ink66.xml"/><Relationship Id="rId9" Type="http://schemas.openxmlformats.org/officeDocument/2006/relationships/image" Target="../media/image740.png"/><Relationship Id="rId13" Type="http://schemas.openxmlformats.org/officeDocument/2006/relationships/image" Target="../media/image76.png"/><Relationship Id="rId18" Type="http://schemas.openxmlformats.org/officeDocument/2006/relationships/customXml" Target="../ink/ink73.xml"/><Relationship Id="rId39" Type="http://schemas.openxmlformats.org/officeDocument/2006/relationships/image" Target="../media/image89.png"/><Relationship Id="rId109" Type="http://schemas.openxmlformats.org/officeDocument/2006/relationships/image" Target="../media/image122.png"/><Relationship Id="rId34" Type="http://schemas.openxmlformats.org/officeDocument/2006/relationships/customXml" Target="../ink/ink81.xml"/><Relationship Id="rId50" Type="http://schemas.openxmlformats.org/officeDocument/2006/relationships/customXml" Target="../ink/ink89.xml"/><Relationship Id="rId55" Type="http://schemas.openxmlformats.org/officeDocument/2006/relationships/image" Target="../media/image97.png"/><Relationship Id="rId76" Type="http://schemas.openxmlformats.org/officeDocument/2006/relationships/customXml" Target="../ink/ink102.xml"/><Relationship Id="rId97" Type="http://schemas.openxmlformats.org/officeDocument/2006/relationships/customXml" Target="../ink/ink113.xml"/><Relationship Id="rId104" Type="http://schemas.openxmlformats.org/officeDocument/2006/relationships/customXml" Target="../ink/ink117.xml"/><Relationship Id="rId7" Type="http://schemas.openxmlformats.org/officeDocument/2006/relationships/image" Target="../media/image730.png"/><Relationship Id="rId71" Type="http://schemas.openxmlformats.org/officeDocument/2006/relationships/image" Target="../media/image105.png"/><Relationship Id="rId92" Type="http://schemas.openxmlformats.org/officeDocument/2006/relationships/image" Target="../media/image114.png"/><Relationship Id="rId2" Type="http://schemas.openxmlformats.org/officeDocument/2006/relationships/customXml" Target="../ink/ink65.xml"/><Relationship Id="rId29" Type="http://schemas.openxmlformats.org/officeDocument/2006/relationships/image" Target="../media/image84.png"/><Relationship Id="rId24" Type="http://schemas.openxmlformats.org/officeDocument/2006/relationships/customXml" Target="../ink/ink76.xml"/><Relationship Id="rId40" Type="http://schemas.openxmlformats.org/officeDocument/2006/relationships/customXml" Target="../ink/ink84.xml"/><Relationship Id="rId45" Type="http://schemas.openxmlformats.org/officeDocument/2006/relationships/image" Target="../media/image92.png"/><Relationship Id="rId66" Type="http://schemas.openxmlformats.org/officeDocument/2006/relationships/customXml" Target="../ink/ink97.xml"/><Relationship Id="rId87" Type="http://schemas.openxmlformats.org/officeDocument/2006/relationships/customXml" Target="../ink/ink108.xml"/><Relationship Id="rId110" Type="http://schemas.openxmlformats.org/officeDocument/2006/relationships/customXml" Target="../ink/ink120.xml"/><Relationship Id="rId115" Type="http://schemas.openxmlformats.org/officeDocument/2006/relationships/image" Target="../media/image125.png"/><Relationship Id="rId61" Type="http://schemas.openxmlformats.org/officeDocument/2006/relationships/image" Target="../media/image100.png"/><Relationship Id="rId82" Type="http://schemas.openxmlformats.org/officeDocument/2006/relationships/customXml" Target="../ink/ink105.xml"/><Relationship Id="rId19" Type="http://schemas.openxmlformats.org/officeDocument/2006/relationships/image" Target="../media/image79.png"/><Relationship Id="rId14" Type="http://schemas.openxmlformats.org/officeDocument/2006/relationships/customXml" Target="../ink/ink71.xml"/><Relationship Id="rId30" Type="http://schemas.openxmlformats.org/officeDocument/2006/relationships/customXml" Target="../ink/ink79.xml"/><Relationship Id="rId35" Type="http://schemas.openxmlformats.org/officeDocument/2006/relationships/image" Target="../media/image87.png"/><Relationship Id="rId56" Type="http://schemas.openxmlformats.org/officeDocument/2006/relationships/customXml" Target="../ink/ink92.xml"/><Relationship Id="rId77" Type="http://schemas.openxmlformats.org/officeDocument/2006/relationships/image" Target="../media/image108.png"/><Relationship Id="rId100" Type="http://schemas.openxmlformats.org/officeDocument/2006/relationships/image" Target="../media/image118.png"/><Relationship Id="rId105" Type="http://schemas.openxmlformats.org/officeDocument/2006/relationships/image" Target="../media/image120.png"/><Relationship Id="rId8" Type="http://schemas.openxmlformats.org/officeDocument/2006/relationships/customXml" Target="../ink/ink68.xml"/><Relationship Id="rId51" Type="http://schemas.openxmlformats.org/officeDocument/2006/relationships/image" Target="../media/image95.png"/><Relationship Id="rId72" Type="http://schemas.openxmlformats.org/officeDocument/2006/relationships/customXml" Target="../ink/ink100.xml"/><Relationship Id="rId93" Type="http://schemas.openxmlformats.org/officeDocument/2006/relationships/customXml" Target="../ink/ink111.xml"/><Relationship Id="rId98" Type="http://schemas.openxmlformats.org/officeDocument/2006/relationships/image" Target="../media/image117.png"/><Relationship Id="rId3" Type="http://schemas.openxmlformats.org/officeDocument/2006/relationships/image" Target="../media/image74.png"/><Relationship Id="rId25" Type="http://schemas.openxmlformats.org/officeDocument/2006/relationships/image" Target="../media/image82.png"/><Relationship Id="rId46" Type="http://schemas.openxmlformats.org/officeDocument/2006/relationships/customXml" Target="../ink/ink87.xml"/><Relationship Id="rId67" Type="http://schemas.openxmlformats.org/officeDocument/2006/relationships/image" Target="../media/image103.png"/><Relationship Id="rId20" Type="http://schemas.openxmlformats.org/officeDocument/2006/relationships/customXml" Target="../ink/ink74.xml"/><Relationship Id="rId41" Type="http://schemas.openxmlformats.org/officeDocument/2006/relationships/image" Target="../media/image90.png"/><Relationship Id="rId62" Type="http://schemas.openxmlformats.org/officeDocument/2006/relationships/customXml" Target="../ink/ink95.xml"/><Relationship Id="rId83" Type="http://schemas.openxmlformats.org/officeDocument/2006/relationships/image" Target="../media/image110.png"/><Relationship Id="rId88" Type="http://schemas.openxmlformats.org/officeDocument/2006/relationships/image" Target="../media/image112.png"/><Relationship Id="rId111" Type="http://schemas.openxmlformats.org/officeDocument/2006/relationships/image" Target="../media/image123.png"/></Relationships>
</file>

<file path=ppt/slides/_rels/slide52.xml.rels><?xml version="1.0" encoding="UTF-8" standalone="yes"?>
<Relationships xmlns="http://schemas.openxmlformats.org/package/2006/relationships"><Relationship Id="rId3" Type="http://schemas.openxmlformats.org/officeDocument/2006/relationships/customXml" Target="../ink/ink123.xml"/><Relationship Id="rId2" Type="http://schemas.openxmlformats.org/officeDocument/2006/relationships/image" Target="../media/image126.png"/><Relationship Id="rId1" Type="http://schemas.openxmlformats.org/officeDocument/2006/relationships/slideLayout" Target="../slideLayouts/slideLayout3.xml"/><Relationship Id="rId4" Type="http://schemas.openxmlformats.org/officeDocument/2006/relationships/image" Target="../media/image127.png"/></Relationships>
</file>

<file path=ppt/slides/_rels/slide5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customXml" Target="../ink/ink124.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customXml" Target="../ink/ink125.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customXml" Target="../ink/ink126.xml"/><Relationship Id="rId2" Type="http://schemas.openxmlformats.org/officeDocument/2006/relationships/image" Target="../media/image130.png"/><Relationship Id="rId1" Type="http://schemas.openxmlformats.org/officeDocument/2006/relationships/slideLayout" Target="../slideLayouts/slideLayout3.xml"/><Relationship Id="rId4" Type="http://schemas.openxmlformats.org/officeDocument/2006/relationships/image" Target="../media/image131.png"/></Relationships>
</file>

<file path=ppt/slides/_rels/slide56.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0.png"/><Relationship Id="rId1" Type="http://schemas.openxmlformats.org/officeDocument/2006/relationships/slideLayout" Target="../slideLayouts/slideLayout3.xml"/><Relationship Id="rId5" Type="http://schemas.openxmlformats.org/officeDocument/2006/relationships/image" Target="../media/image133.png"/><Relationship Id="rId4" Type="http://schemas.openxmlformats.org/officeDocument/2006/relationships/customXml" Target="../ink/ink127.xml"/></Relationships>
</file>

<file path=ppt/slides/_rels/slide57.xml.rels><?xml version="1.0" encoding="UTF-8" standalone="yes"?>
<Relationships xmlns="http://schemas.openxmlformats.org/package/2006/relationships"><Relationship Id="rId3" Type="http://schemas.openxmlformats.org/officeDocument/2006/relationships/customXml" Target="../ink/ink128.xml"/><Relationship Id="rId2" Type="http://schemas.openxmlformats.org/officeDocument/2006/relationships/image" Target="../media/image134.png"/><Relationship Id="rId1" Type="http://schemas.openxmlformats.org/officeDocument/2006/relationships/slideLayout" Target="../slideLayouts/slideLayout3.xml"/><Relationship Id="rId4" Type="http://schemas.openxmlformats.org/officeDocument/2006/relationships/image" Target="../media/image135.png"/></Relationships>
</file>

<file path=ppt/slides/_rels/slide58.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hyperlink" Target="https://www.mathsisfun.com/mean.html" TargetMode="External"/><Relationship Id="rId1" Type="http://schemas.openxmlformats.org/officeDocument/2006/relationships/slideLayout" Target="../slideLayouts/slideLayout3.xml"/><Relationship Id="rId5" Type="http://schemas.openxmlformats.org/officeDocument/2006/relationships/image" Target="../media/image137.png"/><Relationship Id="rId4" Type="http://schemas.openxmlformats.org/officeDocument/2006/relationships/customXml" Target="../ink/ink129.xml"/></Relationships>
</file>

<file path=ppt/slides/_rels/slide59.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138.png"/><Relationship Id="rId1" Type="http://schemas.openxmlformats.org/officeDocument/2006/relationships/slideLayout" Target="../slideLayouts/slideLayout3.xml"/><Relationship Id="rId6" Type="http://schemas.openxmlformats.org/officeDocument/2006/relationships/image" Target="../media/image140.png"/><Relationship Id="rId5" Type="http://schemas.openxmlformats.org/officeDocument/2006/relationships/customXml" Target="../ink/ink130.xml"/><Relationship Id="rId4" Type="http://schemas.openxmlformats.org/officeDocument/2006/relationships/hyperlink" Target="http://intersection4learning.blogspot.com/2012/01/wonder-wednesday-most-important.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thebluediamondgallery.com/handwriting/s/statistics.html" TargetMode="External"/><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www.pexels.com/photo/black-dslr-camera-mounted-on-black-tripod-212372/" TargetMode="External"/><Relationship Id="rId2" Type="http://schemas.openxmlformats.org/officeDocument/2006/relationships/image" Target="../media/image141.jpeg"/><Relationship Id="rId1" Type="http://schemas.openxmlformats.org/officeDocument/2006/relationships/slideLayout" Target="../slideLayouts/slideLayout3.xml"/><Relationship Id="rId5" Type="http://schemas.openxmlformats.org/officeDocument/2006/relationships/image" Target="../media/image142.png"/><Relationship Id="rId4" Type="http://schemas.openxmlformats.org/officeDocument/2006/relationships/customXml" Target="../ink/ink131.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525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524001" y="1"/>
            <a:ext cx="158751" cy="158751"/>
          </a:xfrm>
          <a:prstGeom prst="rect">
            <a:avLst/>
          </a:prstGeom>
          <a:solidFill>
            <a:schemeClr val="bg1"/>
          </a:solidFill>
          <a:ln w="12700" cmpd="sng">
            <a:noFill/>
          </a:ln>
          <a:effectLst/>
        </p:spPr>
        <p:txBody>
          <a:bodyPr vert="horz" wrap="none" lIns="0" tIns="0" rIns="0" bIns="0" numCol="1" spcCol="0" rtlCol="0" anchor="ctr" anchorCtr="0">
            <a:noAutofit/>
          </a:bodyPr>
          <a:lstStyle/>
          <a:p>
            <a:pPr algn="ctr" defTabSz="1219170" fontAlgn="base">
              <a:lnSpc>
                <a:spcPct val="90000"/>
              </a:lnSpc>
              <a:spcBef>
                <a:spcPct val="0"/>
              </a:spcBef>
              <a:spcAft>
                <a:spcPct val="0"/>
              </a:spcAft>
            </a:pPr>
            <a:endParaRPr lang="en-US" sz="2800" dirty="0"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108559" y="1405305"/>
            <a:ext cx="3824612" cy="4047391"/>
          </a:xfrm>
        </p:spPr>
        <p:txBody>
          <a:bodyPr/>
          <a:lstStyle/>
          <a:p>
            <a:r>
              <a:rPr lang="en-US" sz="6400" dirty="0"/>
              <a:t>Statistics for </a:t>
            </a:r>
            <a:br>
              <a:rPr lang="en-US" sz="6400" dirty="0"/>
            </a:br>
            <a:r>
              <a:rPr lang="en-US" sz="6400" dirty="0">
                <a:solidFill>
                  <a:schemeClr val="tx2">
                    <a:lumMod val="50000"/>
                  </a:schemeClr>
                </a:solidFill>
              </a:rPr>
              <a:t>Data Science</a:t>
            </a:r>
            <a:br>
              <a:rPr lang="en-US" dirty="0"/>
            </a:br>
            <a:br>
              <a:rPr lang="en-US" dirty="0"/>
            </a:br>
            <a:r>
              <a:rPr lang="en-US" dirty="0"/>
              <a:t> </a:t>
            </a:r>
          </a:p>
        </p:txBody>
      </p:sp>
      <p:pic>
        <p:nvPicPr>
          <p:cNvPr id="44" name="Picture 43" descr="Background pattern&#10;&#10;Description automatically generated">
            <a:extLst>
              <a:ext uri="{FF2B5EF4-FFF2-40B4-BE49-F238E27FC236}">
                <a16:creationId xmlns:a16="http://schemas.microsoft.com/office/drawing/2014/main" id="{4BA223F5-9515-4D0A-940B-6C002E1DC056}"/>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242147" y="-1"/>
            <a:ext cx="7949852" cy="6858000"/>
          </a:xfrm>
          <a:prstGeom prst="rect">
            <a:avLst/>
          </a:prstGeom>
        </p:spPr>
      </p:pic>
    </p:spTree>
    <p:extLst>
      <p:ext uri="{BB962C8B-B14F-4D97-AF65-F5344CB8AC3E}">
        <p14:creationId xmlns:p14="http://schemas.microsoft.com/office/powerpoint/2010/main" val="1576393387"/>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425927352"/>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AD2AC30-CBBF-43EB-AF23-963B8A7A6A13}"/>
              </a:ext>
            </a:extLst>
          </p:cNvPr>
          <p:cNvSpPr/>
          <p:nvPr/>
        </p:nvSpPr>
        <p:spPr>
          <a:xfrm>
            <a:off x="176829" y="2370209"/>
            <a:ext cx="10060729" cy="645217"/>
          </a:xfrm>
          <a:prstGeom prst="rect">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endParaRPr lang="en-US" sz="2667" dirty="0" err="1">
              <a:solidFill>
                <a:srgbClr val="FFFFFF"/>
              </a:solidFill>
              <a:latin typeface="Arial"/>
            </a:endParaRPr>
          </a:p>
        </p:txBody>
      </p:sp>
      <p:pic>
        <p:nvPicPr>
          <p:cNvPr id="7" name="Picture 6" descr="A hand holding a sign&#10;&#10;Description automatically generated with low confidence">
            <a:extLst>
              <a:ext uri="{FF2B5EF4-FFF2-40B4-BE49-F238E27FC236}">
                <a16:creationId xmlns:a16="http://schemas.microsoft.com/office/drawing/2014/main" id="{E7CF08A8-2253-494F-B061-34EC8A35B25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923511" y="4487793"/>
            <a:ext cx="2983283" cy="1988855"/>
          </a:xfrm>
          <a:prstGeom prst="rect">
            <a:avLst/>
          </a:prstGeom>
        </p:spPr>
      </p:pic>
      <p:sp>
        <p:nvSpPr>
          <p:cNvPr id="2" name="Title 1">
            <a:extLst>
              <a:ext uri="{FF2B5EF4-FFF2-40B4-BE49-F238E27FC236}">
                <a16:creationId xmlns:a16="http://schemas.microsoft.com/office/drawing/2014/main" id="{0346C8A9-0ABB-4118-8AEB-EBEA4B84D459}"/>
              </a:ext>
            </a:extLst>
          </p:cNvPr>
          <p:cNvSpPr>
            <a:spLocks noGrp="1"/>
          </p:cNvSpPr>
          <p:nvPr>
            <p:ph type="title"/>
          </p:nvPr>
        </p:nvSpPr>
        <p:spPr>
          <a:xfrm>
            <a:off x="106888" y="70241"/>
            <a:ext cx="10607040" cy="853440"/>
          </a:xfrm>
        </p:spPr>
        <p:txBody>
          <a:bodyPr/>
          <a:lstStyle/>
          <a:p>
            <a:r>
              <a:rPr lang="en-US" dirty="0"/>
              <a:t>Population &amp; Sample</a:t>
            </a:r>
          </a:p>
        </p:txBody>
      </p:sp>
      <p:sp>
        <p:nvSpPr>
          <p:cNvPr id="3" name="Content Placeholder 2">
            <a:extLst>
              <a:ext uri="{FF2B5EF4-FFF2-40B4-BE49-F238E27FC236}">
                <a16:creationId xmlns:a16="http://schemas.microsoft.com/office/drawing/2014/main" id="{ED8E31E5-95A7-4252-A308-0E980CDDFA19}"/>
              </a:ext>
            </a:extLst>
          </p:cNvPr>
          <p:cNvSpPr>
            <a:spLocks noGrp="1"/>
          </p:cNvSpPr>
          <p:nvPr>
            <p:ph sz="half" idx="1"/>
          </p:nvPr>
        </p:nvSpPr>
        <p:spPr>
          <a:xfrm>
            <a:off x="106888" y="923681"/>
            <a:ext cx="10565848" cy="4267200"/>
          </a:xfrm>
        </p:spPr>
        <p:txBody>
          <a:bodyPr/>
          <a:lstStyle/>
          <a:p>
            <a:r>
              <a:rPr lang="en-US" dirty="0">
                <a:solidFill>
                  <a:schemeClr val="bg2">
                    <a:lumMod val="50000"/>
                    <a:lumOff val="50000"/>
                  </a:schemeClr>
                </a:solidFill>
              </a:rPr>
              <a:t>A </a:t>
            </a:r>
            <a:r>
              <a:rPr lang="en-US" b="1" dirty="0">
                <a:solidFill>
                  <a:schemeClr val="bg1"/>
                </a:solidFill>
              </a:rPr>
              <a:t>population</a:t>
            </a:r>
            <a:r>
              <a:rPr lang="en-US" dirty="0">
                <a:solidFill>
                  <a:schemeClr val="bg2">
                    <a:lumMod val="50000"/>
                    <a:lumOff val="50000"/>
                  </a:schemeClr>
                </a:solidFill>
              </a:rPr>
              <a:t> is the collection of all items of interest to our study and is usually denoted with an uppercase N.. The numbers we've obtained when using a population are called parameters..</a:t>
            </a:r>
          </a:p>
          <a:p>
            <a:r>
              <a:rPr lang="en-US" dirty="0">
                <a:solidFill>
                  <a:schemeClr val="bg2">
                    <a:lumMod val="50000"/>
                    <a:lumOff val="50000"/>
                  </a:schemeClr>
                </a:solidFill>
              </a:rPr>
              <a:t>A </a:t>
            </a:r>
            <a:r>
              <a:rPr lang="en-US" b="1" dirty="0">
                <a:solidFill>
                  <a:schemeClr val="bg1"/>
                </a:solidFill>
              </a:rPr>
              <a:t>sample</a:t>
            </a:r>
            <a:r>
              <a:rPr lang="en-US" dirty="0">
                <a:solidFill>
                  <a:schemeClr val="bg2">
                    <a:lumMod val="50000"/>
                    <a:lumOff val="50000"/>
                  </a:schemeClr>
                </a:solidFill>
              </a:rPr>
              <a:t> is a subset of the population and is denoted with a lowercase n and the numbers we've obtained when working with the sample are called statistics.</a:t>
            </a:r>
          </a:p>
        </p:txBody>
      </p:sp>
      <p:pic>
        <p:nvPicPr>
          <p:cNvPr id="5" name="Picture 4" descr="A picture containing tree, outdoor, sky, grass&#10;&#10;Description automatically generated">
            <a:extLst>
              <a:ext uri="{FF2B5EF4-FFF2-40B4-BE49-F238E27FC236}">
                <a16:creationId xmlns:a16="http://schemas.microsoft.com/office/drawing/2014/main" id="{431BA9D4-D8FA-4E00-8D33-B168C9712A2F}"/>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497774" y="3429001"/>
            <a:ext cx="2851476" cy="1662929"/>
          </a:xfrm>
          <a:prstGeom prst="rect">
            <a:avLst/>
          </a:prstGeom>
        </p:spPr>
      </p:pic>
      <p:pic>
        <p:nvPicPr>
          <p:cNvPr id="10" name="Picture 9">
            <a:extLst>
              <a:ext uri="{FF2B5EF4-FFF2-40B4-BE49-F238E27FC236}">
                <a16:creationId xmlns:a16="http://schemas.microsoft.com/office/drawing/2014/main" id="{356CE689-21BC-4E4B-B48F-87112F3A0EA6}"/>
              </a:ext>
            </a:extLst>
          </p:cNvPr>
          <p:cNvPicPr>
            <a:picLocks noChangeAspect="1"/>
          </p:cNvPicPr>
          <p:nvPr/>
        </p:nvPicPr>
        <p:blipFill>
          <a:blip r:embed="rId6"/>
          <a:stretch>
            <a:fillRect/>
          </a:stretch>
        </p:blipFill>
        <p:spPr>
          <a:xfrm>
            <a:off x="5974731" y="3215777"/>
            <a:ext cx="5765943" cy="3171687"/>
          </a:xfrm>
          <a:prstGeom prst="rect">
            <a:avLst/>
          </a:prstGeom>
        </p:spPr>
      </p:pic>
      <p:sp>
        <p:nvSpPr>
          <p:cNvPr id="11" name="TextBox 10">
            <a:extLst>
              <a:ext uri="{FF2B5EF4-FFF2-40B4-BE49-F238E27FC236}">
                <a16:creationId xmlns:a16="http://schemas.microsoft.com/office/drawing/2014/main" id="{828B196D-C3C6-48AA-BBC5-176FE77028BF}"/>
              </a:ext>
            </a:extLst>
          </p:cNvPr>
          <p:cNvSpPr txBox="1"/>
          <p:nvPr/>
        </p:nvSpPr>
        <p:spPr>
          <a:xfrm>
            <a:off x="176830" y="2370208"/>
            <a:ext cx="10130669" cy="954300"/>
          </a:xfrm>
          <a:prstGeom prst="rect">
            <a:avLst/>
          </a:prstGeom>
          <a:noFill/>
        </p:spPr>
        <p:txBody>
          <a:bodyPr wrap="square" rtlCol="0">
            <a:spAutoFit/>
          </a:bodyPr>
          <a:lstStyle/>
          <a:p>
            <a:pPr defTabSz="1219170" fontAlgn="base">
              <a:buClr>
                <a:srgbClr val="007DB8"/>
              </a:buClr>
            </a:pPr>
            <a:r>
              <a:rPr lang="en-US" sz="1867" dirty="0">
                <a:solidFill>
                  <a:srgbClr val="FFFFFF"/>
                </a:solidFill>
                <a:latin typeface="Arial" panose="020B0604020202020204" pitchFamily="34" charset="0"/>
                <a:cs typeface="Arial" panose="020B0604020202020204" pitchFamily="34" charset="0"/>
              </a:rPr>
              <a:t>Example : Let's say we want to perform a survey of the job prospects of the students studying in the New York University, what is the population?</a:t>
            </a:r>
          </a:p>
          <a:p>
            <a:pPr defTabSz="1219170" fontAlgn="base">
              <a:buClr>
                <a:srgbClr val="007DB8"/>
              </a:buClr>
            </a:pPr>
            <a:r>
              <a:rPr lang="en-US" sz="1867" dirty="0">
                <a:solidFill>
                  <a:srgbClr val="000000"/>
                </a:solidFill>
                <a:latin typeface="Arial"/>
              </a:rPr>
              <a:t> </a:t>
            </a:r>
          </a:p>
        </p:txBody>
      </p:sp>
    </p:spTree>
    <p:extLst>
      <p:ext uri="{BB962C8B-B14F-4D97-AF65-F5344CB8AC3E}">
        <p14:creationId xmlns:p14="http://schemas.microsoft.com/office/powerpoint/2010/main" val="1833670930"/>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922280354"/>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4B5D2-0728-491B-B188-E55DA3F71DBD}"/>
              </a:ext>
            </a:extLst>
          </p:cNvPr>
          <p:cNvSpPr>
            <a:spLocks noGrp="1"/>
          </p:cNvSpPr>
          <p:nvPr>
            <p:ph type="title"/>
          </p:nvPr>
        </p:nvSpPr>
        <p:spPr>
          <a:xfrm>
            <a:off x="106888" y="195501"/>
            <a:ext cx="11408707" cy="853440"/>
          </a:xfrm>
        </p:spPr>
        <p:txBody>
          <a:bodyPr/>
          <a:lstStyle/>
          <a:p>
            <a:r>
              <a:rPr lang="en-US" dirty="0"/>
              <a:t>Why Sample should be Random &amp; Representative? </a:t>
            </a:r>
          </a:p>
        </p:txBody>
      </p:sp>
      <p:sp>
        <p:nvSpPr>
          <p:cNvPr id="3" name="Content Placeholder 2">
            <a:extLst>
              <a:ext uri="{FF2B5EF4-FFF2-40B4-BE49-F238E27FC236}">
                <a16:creationId xmlns:a16="http://schemas.microsoft.com/office/drawing/2014/main" id="{FB513912-8764-42DB-B71C-BF2285B701A9}"/>
              </a:ext>
            </a:extLst>
          </p:cNvPr>
          <p:cNvSpPr>
            <a:spLocks noGrp="1"/>
          </p:cNvSpPr>
          <p:nvPr>
            <p:ph sz="half" idx="1"/>
          </p:nvPr>
        </p:nvSpPr>
        <p:spPr>
          <a:xfrm>
            <a:off x="248847" y="1180786"/>
            <a:ext cx="11592423" cy="5040473"/>
          </a:xfrm>
        </p:spPr>
        <p:txBody>
          <a:bodyPr>
            <a:normAutofit/>
          </a:bodyPr>
          <a:lstStyle/>
          <a:p>
            <a:r>
              <a:rPr lang="en-US" sz="2400" dirty="0">
                <a:solidFill>
                  <a:schemeClr val="bg2">
                    <a:lumMod val="50000"/>
                    <a:lumOff val="50000"/>
                  </a:schemeClr>
                </a:solidFill>
              </a:rPr>
              <a:t>Sampling involves selecting units from a population of interest such that the sampling units </a:t>
            </a:r>
            <a:r>
              <a:rPr lang="en-US" sz="2400" b="1" dirty="0">
                <a:solidFill>
                  <a:schemeClr val="accent1"/>
                </a:solidFill>
              </a:rPr>
              <a:t>represent the whole population</a:t>
            </a:r>
            <a:r>
              <a:rPr lang="en-US" sz="2400" dirty="0">
                <a:solidFill>
                  <a:schemeClr val="bg2">
                    <a:lumMod val="50000"/>
                    <a:lumOff val="50000"/>
                  </a:schemeClr>
                </a:solidFill>
              </a:rPr>
              <a:t>. If sample is bias the resultant statistics can bias and will not be representative. </a:t>
            </a:r>
          </a:p>
          <a:p>
            <a:r>
              <a:rPr lang="en-US" sz="2400" dirty="0">
                <a:solidFill>
                  <a:schemeClr val="bg2">
                    <a:lumMod val="50000"/>
                    <a:lumOff val="50000"/>
                  </a:schemeClr>
                </a:solidFill>
              </a:rPr>
              <a:t>Random sampling is one such procedure that selects a sample of units from a population </a:t>
            </a:r>
            <a:r>
              <a:rPr lang="en-US" sz="2400" b="1" dirty="0">
                <a:solidFill>
                  <a:schemeClr val="accent1"/>
                </a:solidFill>
              </a:rPr>
              <a:t>by chance</a:t>
            </a:r>
            <a:r>
              <a:rPr lang="en-US" sz="2400" dirty="0">
                <a:solidFill>
                  <a:schemeClr val="bg2">
                    <a:lumMod val="50000"/>
                    <a:lumOff val="50000"/>
                  </a:schemeClr>
                </a:solidFill>
              </a:rPr>
              <a:t>, typically to </a:t>
            </a:r>
            <a:r>
              <a:rPr lang="en-US" sz="2400" b="1" dirty="0">
                <a:solidFill>
                  <a:schemeClr val="accent1"/>
                </a:solidFill>
              </a:rPr>
              <a:t>facilitate generalization </a:t>
            </a:r>
            <a:r>
              <a:rPr lang="en-US" sz="2400" dirty="0">
                <a:solidFill>
                  <a:schemeClr val="bg2">
                    <a:lumMod val="50000"/>
                    <a:lumOff val="50000"/>
                  </a:schemeClr>
                </a:solidFill>
              </a:rPr>
              <a:t>from the sample to the population. </a:t>
            </a:r>
          </a:p>
          <a:p>
            <a:r>
              <a:rPr lang="en-US" sz="2400" dirty="0">
                <a:solidFill>
                  <a:schemeClr val="bg2">
                    <a:lumMod val="50000"/>
                    <a:lumOff val="50000"/>
                  </a:schemeClr>
                </a:solidFill>
              </a:rPr>
              <a:t>Random sampling ensures that results obtained from your sample should approximate what would have been obtained </a:t>
            </a:r>
            <a:r>
              <a:rPr lang="en-US" sz="2400" b="1" dirty="0">
                <a:solidFill>
                  <a:schemeClr val="accent1"/>
                </a:solidFill>
              </a:rPr>
              <a:t>if the entire population had been measured</a:t>
            </a:r>
            <a:r>
              <a:rPr lang="en-US" sz="2400" dirty="0">
                <a:solidFill>
                  <a:schemeClr val="bg2">
                    <a:lumMod val="50000"/>
                    <a:lumOff val="50000"/>
                  </a:schemeClr>
                </a:solidFill>
              </a:rPr>
              <a:t>. The simplest random sample allows all the units in the population to have an </a:t>
            </a:r>
            <a:r>
              <a:rPr lang="en-US" sz="2400" b="1" dirty="0">
                <a:solidFill>
                  <a:schemeClr val="accent1"/>
                </a:solidFill>
              </a:rPr>
              <a:t>equal chance </a:t>
            </a:r>
            <a:r>
              <a:rPr lang="en-US" sz="2400" dirty="0">
                <a:solidFill>
                  <a:schemeClr val="bg2">
                    <a:lumMod val="50000"/>
                    <a:lumOff val="50000"/>
                  </a:schemeClr>
                </a:solidFill>
              </a:rPr>
              <a:t>of being selected. </a:t>
            </a:r>
            <a:r>
              <a:rPr lang="en-US" sz="2400" b="1" i="1" dirty="0">
                <a:solidFill>
                  <a:schemeClr val="bg2">
                    <a:lumMod val="50000"/>
                    <a:lumOff val="50000"/>
                  </a:schemeClr>
                </a:solidFill>
              </a:rPr>
              <a:t>Often in practice we rely on more complex sampling techniques.</a:t>
            </a:r>
          </a:p>
        </p:txBody>
      </p:sp>
    </p:spTree>
    <p:extLst>
      <p:ext uri="{BB962C8B-B14F-4D97-AF65-F5344CB8AC3E}">
        <p14:creationId xmlns:p14="http://schemas.microsoft.com/office/powerpoint/2010/main" val="3661297187"/>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C4F0-02D4-4D34-9B21-249283527E45}"/>
              </a:ext>
            </a:extLst>
          </p:cNvPr>
          <p:cNvSpPr>
            <a:spLocks noGrp="1"/>
          </p:cNvSpPr>
          <p:nvPr>
            <p:ph type="title"/>
          </p:nvPr>
        </p:nvSpPr>
        <p:spPr>
          <a:xfrm>
            <a:off x="0" y="30480"/>
            <a:ext cx="10607040" cy="853440"/>
          </a:xfrm>
        </p:spPr>
        <p:txBody>
          <a:bodyPr/>
          <a:lstStyle/>
          <a:p>
            <a:r>
              <a:rPr lang="en-US" b="1" dirty="0">
                <a:solidFill>
                  <a:schemeClr val="accent1"/>
                </a:solidFill>
              </a:rPr>
              <a:t>Bias in sampling :</a:t>
            </a:r>
            <a:br>
              <a:rPr lang="en-US" b="1" dirty="0">
                <a:solidFill>
                  <a:schemeClr val="accent1"/>
                </a:solidFill>
              </a:rPr>
            </a:br>
            <a:endParaRPr lang="en-US" dirty="0"/>
          </a:p>
        </p:txBody>
      </p:sp>
      <p:sp>
        <p:nvSpPr>
          <p:cNvPr id="3" name="Content Placeholder 2">
            <a:extLst>
              <a:ext uri="{FF2B5EF4-FFF2-40B4-BE49-F238E27FC236}">
                <a16:creationId xmlns:a16="http://schemas.microsoft.com/office/drawing/2014/main" id="{AC6D725B-4977-4966-9898-81C64E843334}"/>
              </a:ext>
            </a:extLst>
          </p:cNvPr>
          <p:cNvSpPr>
            <a:spLocks noGrp="1"/>
          </p:cNvSpPr>
          <p:nvPr>
            <p:ph sz="half" idx="1"/>
          </p:nvPr>
        </p:nvSpPr>
        <p:spPr>
          <a:xfrm>
            <a:off x="41191" y="697783"/>
            <a:ext cx="11471407" cy="5462435"/>
          </a:xfrm>
        </p:spPr>
        <p:txBody>
          <a:bodyPr>
            <a:normAutofit/>
          </a:bodyPr>
          <a:lstStyle/>
          <a:p>
            <a:pPr marL="0" indent="0">
              <a:buNone/>
            </a:pPr>
            <a:r>
              <a:rPr lang="en-US" sz="1600" dirty="0">
                <a:solidFill>
                  <a:schemeClr val="bg2">
                    <a:lumMod val="50000"/>
                    <a:lumOff val="50000"/>
                  </a:schemeClr>
                </a:solidFill>
              </a:rPr>
              <a:t>There are five important potential sources of bias that should be considered when selecting a sample, irrespective of the method used. Sampling bias may be introduced when:</a:t>
            </a:r>
          </a:p>
          <a:p>
            <a:r>
              <a:rPr lang="en-US" sz="1600" dirty="0">
                <a:solidFill>
                  <a:schemeClr val="bg2">
                    <a:lumMod val="50000"/>
                    <a:lumOff val="50000"/>
                  </a:schemeClr>
                </a:solidFill>
              </a:rPr>
              <a:t>Any pre-agreed sampling rules are deviated from</a:t>
            </a:r>
          </a:p>
          <a:p>
            <a:r>
              <a:rPr lang="en-US" sz="1600" dirty="0">
                <a:solidFill>
                  <a:schemeClr val="bg2">
                    <a:lumMod val="50000"/>
                    <a:lumOff val="50000"/>
                  </a:schemeClr>
                </a:solidFill>
              </a:rPr>
              <a:t>People in hard-to-reach groups are omitted</a:t>
            </a:r>
          </a:p>
          <a:p>
            <a:r>
              <a:rPr lang="en-US" sz="1600" dirty="0">
                <a:solidFill>
                  <a:schemeClr val="bg2">
                    <a:lumMod val="50000"/>
                    <a:lumOff val="50000"/>
                  </a:schemeClr>
                </a:solidFill>
              </a:rPr>
              <a:t>Selected individuals are replaced with others, for example if they are difficult to contact</a:t>
            </a:r>
          </a:p>
          <a:p>
            <a:r>
              <a:rPr lang="en-US" sz="1600" dirty="0">
                <a:solidFill>
                  <a:schemeClr val="bg2">
                    <a:lumMod val="50000"/>
                    <a:lumOff val="50000"/>
                  </a:schemeClr>
                </a:solidFill>
              </a:rPr>
              <a:t>There are low response rates</a:t>
            </a:r>
          </a:p>
          <a:p>
            <a:r>
              <a:rPr lang="en-US" sz="1600" dirty="0">
                <a:solidFill>
                  <a:schemeClr val="bg2">
                    <a:lumMod val="50000"/>
                    <a:lumOff val="50000"/>
                  </a:schemeClr>
                </a:solidFill>
              </a:rPr>
              <a:t>An out-of-date list is used as the sample frame (for example, if it excludes people who have recently moved to an area)</a:t>
            </a:r>
          </a:p>
          <a:p>
            <a:pPr marL="0" indent="0">
              <a:buNone/>
            </a:pPr>
            <a:endParaRPr lang="en-US" sz="1600" dirty="0">
              <a:solidFill>
                <a:schemeClr val="bg2">
                  <a:lumMod val="50000"/>
                  <a:lumOff val="50000"/>
                </a:schemeClr>
              </a:solidFill>
            </a:endParaRPr>
          </a:p>
          <a:p>
            <a:pPr marL="0" indent="0">
              <a:buNone/>
            </a:pPr>
            <a:r>
              <a:rPr lang="en-US" sz="2667" b="1" dirty="0">
                <a:solidFill>
                  <a:schemeClr val="accent1"/>
                </a:solidFill>
              </a:rPr>
              <a:t>Types of Sampling : </a:t>
            </a:r>
          </a:p>
          <a:p>
            <a:pPr marL="0" indent="0">
              <a:buNone/>
            </a:pPr>
            <a:r>
              <a:rPr lang="en-US" sz="1600" b="1" dirty="0">
                <a:solidFill>
                  <a:schemeClr val="accent1"/>
                </a:solidFill>
              </a:rPr>
              <a:t>Probability sampling </a:t>
            </a:r>
            <a:r>
              <a:rPr lang="en-US" sz="1600" dirty="0">
                <a:solidFill>
                  <a:schemeClr val="bg2">
                    <a:lumMod val="50000"/>
                    <a:lumOff val="50000"/>
                  </a:schemeClr>
                </a:solidFill>
              </a:rPr>
              <a:t>involves random selection, allowing you to make strong statistical inferences about the whole group.</a:t>
            </a:r>
          </a:p>
          <a:p>
            <a:pPr marL="0" indent="0">
              <a:buNone/>
            </a:pPr>
            <a:r>
              <a:rPr lang="en-US" sz="1600" b="1" dirty="0">
                <a:solidFill>
                  <a:schemeClr val="accent1"/>
                </a:solidFill>
              </a:rPr>
              <a:t>Non-probability</a:t>
            </a:r>
            <a:r>
              <a:rPr lang="en-US" sz="1600" dirty="0">
                <a:solidFill>
                  <a:schemeClr val="bg2">
                    <a:lumMod val="50000"/>
                    <a:lumOff val="50000"/>
                  </a:schemeClr>
                </a:solidFill>
              </a:rPr>
              <a:t> sampling involves non-random selection based on convenience or other criteria, allowing you to easily collect data.</a:t>
            </a:r>
          </a:p>
          <a:p>
            <a:pPr marL="0" indent="0">
              <a:buNone/>
            </a:pPr>
            <a:endParaRPr lang="en-US" sz="2133" b="1" dirty="0">
              <a:solidFill>
                <a:schemeClr val="accent1"/>
              </a:solidFill>
            </a:endParaRPr>
          </a:p>
          <a:p>
            <a:endParaRPr lang="en-US" dirty="0"/>
          </a:p>
        </p:txBody>
      </p:sp>
    </p:spTree>
    <p:extLst>
      <p:ext uri="{BB962C8B-B14F-4D97-AF65-F5344CB8AC3E}">
        <p14:creationId xmlns:p14="http://schemas.microsoft.com/office/powerpoint/2010/main" val="3121719466"/>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A937C-9F74-4776-9FBD-887D88497E3E}"/>
              </a:ext>
            </a:extLst>
          </p:cNvPr>
          <p:cNvSpPr>
            <a:spLocks noGrp="1"/>
          </p:cNvSpPr>
          <p:nvPr>
            <p:ph type="title"/>
          </p:nvPr>
        </p:nvSpPr>
        <p:spPr/>
        <p:txBody>
          <a:bodyPr/>
          <a:lstStyle/>
          <a:p>
            <a:r>
              <a:rPr lang="en-US" dirty="0"/>
              <a:t>Worksheet</a:t>
            </a:r>
          </a:p>
        </p:txBody>
      </p:sp>
    </p:spTree>
    <p:extLst>
      <p:ext uri="{BB962C8B-B14F-4D97-AF65-F5344CB8AC3E}">
        <p14:creationId xmlns:p14="http://schemas.microsoft.com/office/powerpoint/2010/main" val="2707576164"/>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FD079F-47A3-45E3-A49E-72DE938F0F45}"/>
              </a:ext>
            </a:extLst>
          </p:cNvPr>
          <p:cNvSpPr>
            <a:spLocks noGrp="1"/>
          </p:cNvSpPr>
          <p:nvPr>
            <p:ph sz="half" idx="1"/>
          </p:nvPr>
        </p:nvSpPr>
        <p:spPr>
          <a:xfrm>
            <a:off x="232148" y="938615"/>
            <a:ext cx="11592421" cy="5032124"/>
          </a:xfrm>
        </p:spPr>
        <p:txBody>
          <a:bodyPr>
            <a:normAutofit/>
          </a:bodyPr>
          <a:lstStyle/>
          <a:p>
            <a:pPr marL="0" indent="0">
              <a:buNone/>
            </a:pPr>
            <a:r>
              <a:rPr lang="en-US" sz="5867"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fter understanding Population and Sample it opens the gate to understand what is </a:t>
            </a:r>
            <a:r>
              <a:rPr lang="en-US" sz="5867"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Inferential</a:t>
            </a:r>
            <a:r>
              <a:rPr lang="en-US" sz="5867"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 and </a:t>
            </a:r>
            <a:r>
              <a:rPr lang="en-US" sz="5867"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Descriptive</a:t>
            </a:r>
            <a:r>
              <a:rPr lang="en-US" sz="5867"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 statistics. </a:t>
            </a:r>
          </a:p>
          <a:p>
            <a:endParaRPr lang="en-US" dirty="0"/>
          </a:p>
        </p:txBody>
      </p:sp>
    </p:spTree>
    <p:extLst>
      <p:ext uri="{BB962C8B-B14F-4D97-AF65-F5344CB8AC3E}">
        <p14:creationId xmlns:p14="http://schemas.microsoft.com/office/powerpoint/2010/main" val="2499727815"/>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6363-8571-4CA8-BD5B-4BCEDCED9AA5}"/>
              </a:ext>
            </a:extLst>
          </p:cNvPr>
          <p:cNvSpPr>
            <a:spLocks noGrp="1"/>
          </p:cNvSpPr>
          <p:nvPr>
            <p:ph type="title"/>
          </p:nvPr>
        </p:nvSpPr>
        <p:spPr>
          <a:xfrm>
            <a:off x="365759" y="362515"/>
            <a:ext cx="10607040" cy="853440"/>
          </a:xfrm>
        </p:spPr>
        <p:txBody>
          <a:bodyPr>
            <a:normAutofit/>
          </a:bodyPr>
          <a:lstStyle/>
          <a:p>
            <a:r>
              <a:rPr lang="en-US" dirty="0"/>
              <a:t>Inferential Statistics</a:t>
            </a:r>
          </a:p>
        </p:txBody>
      </p:sp>
      <p:pic>
        <p:nvPicPr>
          <p:cNvPr id="4" name="Picture 3" descr="Diagram&#10;&#10;Description automatically generated">
            <a:extLst>
              <a:ext uri="{FF2B5EF4-FFF2-40B4-BE49-F238E27FC236}">
                <a16:creationId xmlns:a16="http://schemas.microsoft.com/office/drawing/2014/main" id="{A23D665F-D2CC-432A-AED2-8E451589AF69}"/>
              </a:ext>
            </a:extLst>
          </p:cNvPr>
          <p:cNvPicPr>
            <a:picLocks noChangeAspect="1"/>
          </p:cNvPicPr>
          <p:nvPr/>
        </p:nvPicPr>
        <p:blipFill>
          <a:blip r:embed="rId2"/>
          <a:stretch>
            <a:fillRect/>
          </a:stretch>
        </p:blipFill>
        <p:spPr>
          <a:xfrm>
            <a:off x="365759" y="2020825"/>
            <a:ext cx="5120640" cy="2816351"/>
          </a:xfrm>
          <a:prstGeom prst="rect">
            <a:avLst/>
          </a:prstGeom>
          <a:noFill/>
        </p:spPr>
      </p:pic>
      <p:sp>
        <p:nvSpPr>
          <p:cNvPr id="3" name="Content Placeholder 2">
            <a:extLst>
              <a:ext uri="{FF2B5EF4-FFF2-40B4-BE49-F238E27FC236}">
                <a16:creationId xmlns:a16="http://schemas.microsoft.com/office/drawing/2014/main" id="{96CA5976-21EA-4CB3-8846-6F15841EE927}"/>
              </a:ext>
            </a:extLst>
          </p:cNvPr>
          <p:cNvSpPr>
            <a:spLocks noGrp="1"/>
          </p:cNvSpPr>
          <p:nvPr>
            <p:ph sz="half" idx="14"/>
          </p:nvPr>
        </p:nvSpPr>
        <p:spPr>
          <a:xfrm>
            <a:off x="5852158" y="1215955"/>
            <a:ext cx="5880553" cy="5080461"/>
          </a:xfrm>
          <a:prstGeom prst="rect">
            <a:avLst/>
          </a:prstGeom>
        </p:spPr>
        <p:txBody>
          <a:bodyPr wrap="square">
            <a:normAutofit/>
          </a:bodyPr>
          <a:lstStyle/>
          <a:p>
            <a:r>
              <a:rPr lang="en-US" dirty="0">
                <a:solidFill>
                  <a:schemeClr val="bg2">
                    <a:lumMod val="50000"/>
                    <a:lumOff val="50000"/>
                  </a:schemeClr>
                </a:solidFill>
              </a:rPr>
              <a:t>T</a:t>
            </a:r>
            <a:r>
              <a:rPr lang="en-US" dirty="0">
                <a:solidFill>
                  <a:schemeClr val="bg2">
                    <a:lumMod val="50000"/>
                    <a:lumOff val="50000"/>
                  </a:schemeClr>
                </a:solidFill>
                <a:effectLst/>
              </a:rPr>
              <a:t>he methods used to determine something about a population on the basics of a sample.</a:t>
            </a:r>
          </a:p>
          <a:p>
            <a:r>
              <a:rPr lang="en-US" dirty="0">
                <a:solidFill>
                  <a:schemeClr val="accent1"/>
                </a:solidFill>
              </a:rPr>
              <a:t>Inferential statistics </a:t>
            </a:r>
            <a:r>
              <a:rPr lang="en-US" dirty="0">
                <a:solidFill>
                  <a:schemeClr val="bg2">
                    <a:lumMod val="50000"/>
                    <a:lumOff val="50000"/>
                  </a:schemeClr>
                </a:solidFill>
              </a:rPr>
              <a:t>allow you to test a hypothesis or assess whether your data is generalizable to the broader population.</a:t>
            </a: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r>
              <a:rPr lang="en-US" dirty="0">
                <a:solidFill>
                  <a:schemeClr val="bg2">
                    <a:lumMod val="50000"/>
                    <a:lumOff val="50000"/>
                  </a:schemeClr>
                </a:solidFill>
              </a:rPr>
              <a:t>We often hear the assumption that female students tend to have higher mathematical values than men. Is that right?</a:t>
            </a:r>
          </a:p>
        </p:txBody>
      </p:sp>
    </p:spTree>
    <p:extLst>
      <p:ext uri="{BB962C8B-B14F-4D97-AF65-F5344CB8AC3E}">
        <p14:creationId xmlns:p14="http://schemas.microsoft.com/office/powerpoint/2010/main" val="592860241"/>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19E3-33F8-45DD-9B54-B567FCE03CC1}"/>
              </a:ext>
            </a:extLst>
          </p:cNvPr>
          <p:cNvSpPr>
            <a:spLocks noGrp="1"/>
          </p:cNvSpPr>
          <p:nvPr>
            <p:ph type="title"/>
          </p:nvPr>
        </p:nvSpPr>
        <p:spPr>
          <a:xfrm>
            <a:off x="0" y="111995"/>
            <a:ext cx="10607040" cy="853440"/>
          </a:xfrm>
        </p:spPr>
        <p:txBody>
          <a:bodyPr/>
          <a:lstStyle/>
          <a:p>
            <a:r>
              <a:rPr lang="en-US" dirty="0"/>
              <a:t>Descriptive Statistics</a:t>
            </a:r>
          </a:p>
        </p:txBody>
      </p:sp>
      <p:sp>
        <p:nvSpPr>
          <p:cNvPr id="3" name="Content Placeholder 2">
            <a:extLst>
              <a:ext uri="{FF2B5EF4-FFF2-40B4-BE49-F238E27FC236}">
                <a16:creationId xmlns:a16="http://schemas.microsoft.com/office/drawing/2014/main" id="{C4821D91-408E-4E7F-A0CC-421C8F3872D1}"/>
              </a:ext>
            </a:extLst>
          </p:cNvPr>
          <p:cNvSpPr>
            <a:spLocks noGrp="1"/>
          </p:cNvSpPr>
          <p:nvPr>
            <p:ph sz="half" idx="13"/>
          </p:nvPr>
        </p:nvSpPr>
        <p:spPr>
          <a:xfrm>
            <a:off x="73485" y="1020757"/>
            <a:ext cx="11308497" cy="1625043"/>
          </a:xfrm>
        </p:spPr>
        <p:txBody>
          <a:bodyPr>
            <a:noAutofit/>
          </a:bodyPr>
          <a:lstStyle/>
          <a:p>
            <a:r>
              <a:rPr lang="en-US" dirty="0">
                <a:solidFill>
                  <a:schemeClr val="bg2">
                    <a:lumMod val="50000"/>
                    <a:lumOff val="50000"/>
                  </a:schemeClr>
                </a:solidFill>
              </a:rPr>
              <a:t>Descriptive statistics is a term given to the analysis of data that helps to describe, show and summarize data in a meaningful way. It is a simple way to describe our data.</a:t>
            </a:r>
          </a:p>
          <a:p>
            <a:r>
              <a:rPr lang="en-US" dirty="0">
                <a:solidFill>
                  <a:schemeClr val="bg2">
                    <a:lumMod val="50000"/>
                    <a:lumOff val="50000"/>
                  </a:schemeClr>
                </a:solidFill>
              </a:rPr>
              <a:t> Descriptive statistics is very important to present our raw data in effective/meaningful way using numerical calculations or graphs or tables. This type of statistics is applied on already known data.</a:t>
            </a:r>
          </a:p>
          <a:p>
            <a:r>
              <a:rPr lang="en-US" dirty="0">
                <a:solidFill>
                  <a:schemeClr val="bg2">
                    <a:lumMod val="50000"/>
                    <a:lumOff val="50000"/>
                  </a:schemeClr>
                </a:solidFill>
              </a:rPr>
              <a:t>Types of Descriptive Statistics</a:t>
            </a:r>
          </a:p>
          <a:p>
            <a:pPr lvl="1"/>
            <a:r>
              <a:rPr lang="en-US" sz="1867" dirty="0">
                <a:solidFill>
                  <a:schemeClr val="bg2">
                    <a:lumMod val="50000"/>
                    <a:lumOff val="50000"/>
                  </a:schemeClr>
                </a:solidFill>
              </a:rPr>
              <a:t>Measure of Central tendency</a:t>
            </a:r>
          </a:p>
          <a:p>
            <a:pPr lvl="1"/>
            <a:r>
              <a:rPr lang="en-US" sz="1867" dirty="0">
                <a:solidFill>
                  <a:schemeClr val="bg2">
                    <a:lumMod val="50000"/>
                    <a:lumOff val="50000"/>
                  </a:schemeClr>
                </a:solidFill>
              </a:rPr>
              <a:t>Measure of Variability</a:t>
            </a:r>
          </a:p>
          <a:p>
            <a:pPr lvl="1"/>
            <a:endParaRPr lang="en-US" sz="1867" dirty="0">
              <a:solidFill>
                <a:schemeClr val="bg2">
                  <a:lumMod val="50000"/>
                  <a:lumOff val="50000"/>
                </a:schemeClr>
              </a:solidFill>
            </a:endParaRP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endParaRPr lang="en-US" sz="1867" dirty="0">
              <a:solidFill>
                <a:schemeClr val="bg2">
                  <a:lumMod val="50000"/>
                  <a:lumOff val="50000"/>
                </a:schemeClr>
              </a:solidFill>
            </a:endParaRPr>
          </a:p>
        </p:txBody>
      </p:sp>
      <p:pic>
        <p:nvPicPr>
          <p:cNvPr id="6" name="Picture 5">
            <a:extLst>
              <a:ext uri="{FF2B5EF4-FFF2-40B4-BE49-F238E27FC236}">
                <a16:creationId xmlns:a16="http://schemas.microsoft.com/office/drawing/2014/main" id="{A5F33009-BB40-478D-B2AE-ADDA39C6592A}"/>
              </a:ext>
            </a:extLst>
          </p:cNvPr>
          <p:cNvPicPr>
            <a:picLocks noChangeAspect="1"/>
          </p:cNvPicPr>
          <p:nvPr/>
        </p:nvPicPr>
        <p:blipFill>
          <a:blip r:embed="rId2"/>
          <a:stretch>
            <a:fillRect/>
          </a:stretch>
        </p:blipFill>
        <p:spPr>
          <a:xfrm>
            <a:off x="4477090" y="2811607"/>
            <a:ext cx="6129951" cy="2234132"/>
          </a:xfrm>
          <a:prstGeom prst="rect">
            <a:avLst/>
          </a:prstGeom>
        </p:spPr>
      </p:pic>
      <p:sp>
        <p:nvSpPr>
          <p:cNvPr id="4" name="Rectangle 3">
            <a:extLst>
              <a:ext uri="{FF2B5EF4-FFF2-40B4-BE49-F238E27FC236}">
                <a16:creationId xmlns:a16="http://schemas.microsoft.com/office/drawing/2014/main" id="{E7D97A91-589E-4FF7-B191-1179B210D296}"/>
              </a:ext>
            </a:extLst>
          </p:cNvPr>
          <p:cNvSpPr/>
          <p:nvPr/>
        </p:nvSpPr>
        <p:spPr>
          <a:xfrm>
            <a:off x="8757763" y="4690662"/>
            <a:ext cx="735244" cy="223367"/>
          </a:xfrm>
          <a:prstGeom prst="rect">
            <a:avLst/>
          </a:prstGeom>
          <a:solidFill>
            <a:schemeClr val="tx2"/>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endParaRPr lang="en-US" sz="2667" dirty="0">
              <a:solidFill>
                <a:srgbClr val="FFFFFF"/>
              </a:solidFill>
              <a:latin typeface="Arial"/>
            </a:endParaRPr>
          </a:p>
        </p:txBody>
      </p:sp>
      <p:sp>
        <p:nvSpPr>
          <p:cNvPr id="5" name="TextBox 4">
            <a:extLst>
              <a:ext uri="{FF2B5EF4-FFF2-40B4-BE49-F238E27FC236}">
                <a16:creationId xmlns:a16="http://schemas.microsoft.com/office/drawing/2014/main" id="{2717AC45-F872-450C-BBDC-D605C3F757A6}"/>
              </a:ext>
            </a:extLst>
          </p:cNvPr>
          <p:cNvSpPr txBox="1"/>
          <p:nvPr/>
        </p:nvSpPr>
        <p:spPr>
          <a:xfrm>
            <a:off x="8646081" y="4595992"/>
            <a:ext cx="1693851" cy="605422"/>
          </a:xfrm>
          <a:prstGeom prst="rect">
            <a:avLst/>
          </a:prstGeom>
          <a:noFill/>
        </p:spPr>
        <p:txBody>
          <a:bodyPr wrap="square" rtlCol="0">
            <a:spAutoFit/>
          </a:bodyPr>
          <a:lstStyle/>
          <a:p>
            <a:pPr defTabSz="1219170" fontAlgn="base">
              <a:buClr>
                <a:srgbClr val="007DB8"/>
              </a:buClr>
            </a:pPr>
            <a:r>
              <a:rPr lang="en-US" sz="1467" b="1" dirty="0">
                <a:solidFill>
                  <a:srgbClr val="6EA204">
                    <a:lumMod val="75000"/>
                  </a:srgbClr>
                </a:solidFill>
                <a:latin typeface="Arial"/>
              </a:rPr>
              <a:t>Variance</a:t>
            </a:r>
          </a:p>
          <a:p>
            <a:pPr defTabSz="1219170" fontAlgn="base">
              <a:buClr>
                <a:srgbClr val="007DB8"/>
              </a:buClr>
            </a:pPr>
            <a:endParaRPr lang="en-US" sz="1867" dirty="0" err="1">
              <a:solidFill>
                <a:srgbClr val="000000"/>
              </a:solidFill>
              <a:latin typeface="Arial"/>
            </a:endParaRPr>
          </a:p>
        </p:txBody>
      </p:sp>
    </p:spTree>
    <p:extLst>
      <p:ext uri="{BB962C8B-B14F-4D97-AF65-F5344CB8AC3E}">
        <p14:creationId xmlns:p14="http://schemas.microsoft.com/office/powerpoint/2010/main" val="999464151"/>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04F4-B3AA-4651-8827-B73C49F7833D}"/>
              </a:ext>
            </a:extLst>
          </p:cNvPr>
          <p:cNvSpPr>
            <a:spLocks noGrp="1"/>
          </p:cNvSpPr>
          <p:nvPr>
            <p:ph type="title"/>
          </p:nvPr>
        </p:nvSpPr>
        <p:spPr>
          <a:xfrm>
            <a:off x="123589" y="120345"/>
            <a:ext cx="10607040" cy="853440"/>
          </a:xfrm>
        </p:spPr>
        <p:txBody>
          <a:bodyPr/>
          <a:lstStyle/>
          <a:p>
            <a:r>
              <a:rPr lang="en-US" dirty="0"/>
              <a:t>Descriptive Statistics – Example</a:t>
            </a:r>
            <a:br>
              <a:rPr lang="en-US" dirty="0"/>
            </a:br>
            <a:r>
              <a:rPr lang="en-US" sz="1867" dirty="0">
                <a:solidFill>
                  <a:schemeClr val="bg2">
                    <a:lumMod val="50000"/>
                    <a:lumOff val="50000"/>
                  </a:schemeClr>
                </a:solidFill>
                <a:latin typeface="Raleway" panose="020B0604020202020204" pitchFamily="2" charset="0"/>
              </a:rPr>
              <a:t>You’ve performed a survey to 40 respondents about their favorite car color. And now you have a spreadsheet with the results.</a:t>
            </a:r>
            <a:endParaRPr lang="en-US" sz="1867" dirty="0">
              <a:solidFill>
                <a:schemeClr val="bg2">
                  <a:lumMod val="50000"/>
                  <a:lumOff val="50000"/>
                </a:schemeClr>
              </a:solidFill>
            </a:endParaRPr>
          </a:p>
        </p:txBody>
      </p:sp>
      <p:pic>
        <p:nvPicPr>
          <p:cNvPr id="6" name="Picture 5">
            <a:extLst>
              <a:ext uri="{FF2B5EF4-FFF2-40B4-BE49-F238E27FC236}">
                <a16:creationId xmlns:a16="http://schemas.microsoft.com/office/drawing/2014/main" id="{B3228BA1-7BCC-4DBF-B8DF-46CA5095B60A}"/>
              </a:ext>
            </a:extLst>
          </p:cNvPr>
          <p:cNvPicPr>
            <a:picLocks noChangeAspect="1"/>
          </p:cNvPicPr>
          <p:nvPr/>
        </p:nvPicPr>
        <p:blipFill>
          <a:blip r:embed="rId2"/>
          <a:stretch>
            <a:fillRect/>
          </a:stretch>
        </p:blipFill>
        <p:spPr>
          <a:xfrm>
            <a:off x="6623469" y="1335201"/>
            <a:ext cx="5093049" cy="5160284"/>
          </a:xfrm>
          <a:prstGeom prst="rect">
            <a:avLst/>
          </a:prstGeom>
        </p:spPr>
      </p:pic>
      <p:pic>
        <p:nvPicPr>
          <p:cNvPr id="8" name="Picture 7">
            <a:extLst>
              <a:ext uri="{FF2B5EF4-FFF2-40B4-BE49-F238E27FC236}">
                <a16:creationId xmlns:a16="http://schemas.microsoft.com/office/drawing/2014/main" id="{55E05251-8E9D-4D6A-B576-9C5E754984C9}"/>
              </a:ext>
            </a:extLst>
          </p:cNvPr>
          <p:cNvPicPr>
            <a:picLocks noChangeAspect="1"/>
          </p:cNvPicPr>
          <p:nvPr/>
        </p:nvPicPr>
        <p:blipFill>
          <a:blip r:embed="rId3"/>
          <a:stretch>
            <a:fillRect/>
          </a:stretch>
        </p:blipFill>
        <p:spPr>
          <a:xfrm>
            <a:off x="1" y="1759471"/>
            <a:ext cx="5448300" cy="3873500"/>
          </a:xfrm>
          <a:prstGeom prst="rect">
            <a:avLst/>
          </a:prstGeom>
        </p:spPr>
      </p:pic>
      <p:sp>
        <p:nvSpPr>
          <p:cNvPr id="9" name="Arrow: Right 8">
            <a:extLst>
              <a:ext uri="{FF2B5EF4-FFF2-40B4-BE49-F238E27FC236}">
                <a16:creationId xmlns:a16="http://schemas.microsoft.com/office/drawing/2014/main" id="{0469365B-6D82-45DF-992A-981C62806CBC}"/>
              </a:ext>
            </a:extLst>
          </p:cNvPr>
          <p:cNvSpPr/>
          <p:nvPr/>
        </p:nvSpPr>
        <p:spPr>
          <a:xfrm>
            <a:off x="5568534" y="3429001"/>
            <a:ext cx="627676" cy="303756"/>
          </a:xfrm>
          <a:prstGeom prst="rightArrow">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endParaRPr lang="en-US" sz="2667" dirty="0" err="1">
              <a:solidFill>
                <a:srgbClr val="FFFFFF"/>
              </a:solidFill>
              <a:latin typeface="Arial"/>
            </a:endParaRPr>
          </a:p>
        </p:txBody>
      </p:sp>
      <p:sp>
        <p:nvSpPr>
          <p:cNvPr id="10" name="TextBox 9">
            <a:extLst>
              <a:ext uri="{FF2B5EF4-FFF2-40B4-BE49-F238E27FC236}">
                <a16:creationId xmlns:a16="http://schemas.microsoft.com/office/drawing/2014/main" id="{7316BE2A-45A8-4088-860B-9805A9D5C7B4}"/>
              </a:ext>
            </a:extLst>
          </p:cNvPr>
          <p:cNvSpPr txBox="1"/>
          <p:nvPr/>
        </p:nvSpPr>
        <p:spPr>
          <a:xfrm>
            <a:off x="150312" y="5761973"/>
            <a:ext cx="5878883" cy="379656"/>
          </a:xfrm>
          <a:prstGeom prst="rect">
            <a:avLst/>
          </a:prstGeom>
          <a:noFill/>
        </p:spPr>
        <p:txBody>
          <a:bodyPr wrap="square" rtlCol="0">
            <a:spAutoFit/>
          </a:bodyPr>
          <a:lstStyle/>
          <a:p>
            <a:pPr defTabSz="1219170" fontAlgn="base">
              <a:buClr>
                <a:srgbClr val="007DB8"/>
              </a:buClr>
            </a:pPr>
            <a:r>
              <a:rPr lang="en-US" sz="1867" b="1" i="1" dirty="0">
                <a:solidFill>
                  <a:srgbClr val="000000">
                    <a:lumMod val="50000"/>
                    <a:lumOff val="50000"/>
                  </a:srgbClr>
                </a:solidFill>
                <a:latin typeface="Arial"/>
              </a:rPr>
              <a:t>Descriptive statistics simply describes the data</a:t>
            </a:r>
          </a:p>
        </p:txBody>
      </p:sp>
    </p:spTree>
    <p:extLst>
      <p:ext uri="{BB962C8B-B14F-4D97-AF65-F5344CB8AC3E}">
        <p14:creationId xmlns:p14="http://schemas.microsoft.com/office/powerpoint/2010/main" val="889781105"/>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E2B6-F6CD-4C05-BF18-6EBE6281B8B8}"/>
              </a:ext>
            </a:extLst>
          </p:cNvPr>
          <p:cNvSpPr>
            <a:spLocks noGrp="1"/>
          </p:cNvSpPr>
          <p:nvPr>
            <p:ph type="title"/>
          </p:nvPr>
        </p:nvSpPr>
        <p:spPr>
          <a:xfrm>
            <a:off x="257385" y="366209"/>
            <a:ext cx="10607040" cy="853440"/>
          </a:xfrm>
        </p:spPr>
        <p:txBody>
          <a:bodyPr>
            <a:normAutofit/>
          </a:bodyPr>
          <a:lstStyle/>
          <a:p>
            <a:r>
              <a:rPr lang="en-US" dirty="0"/>
              <a:t>What is Statistics ? </a:t>
            </a:r>
          </a:p>
        </p:txBody>
      </p:sp>
      <p:pic>
        <p:nvPicPr>
          <p:cNvPr id="4" name="Picture 3">
            <a:extLst>
              <a:ext uri="{FF2B5EF4-FFF2-40B4-BE49-F238E27FC236}">
                <a16:creationId xmlns:a16="http://schemas.microsoft.com/office/drawing/2014/main" id="{695DD122-1AE0-4635-B074-79C43F8020D2}"/>
              </a:ext>
            </a:extLst>
          </p:cNvPr>
          <p:cNvPicPr>
            <a:picLocks noChangeAspect="1"/>
          </p:cNvPicPr>
          <p:nvPr/>
        </p:nvPicPr>
        <p:blipFill>
          <a:blip r:embed="rId3"/>
          <a:stretch>
            <a:fillRect/>
          </a:stretch>
        </p:blipFill>
        <p:spPr>
          <a:xfrm>
            <a:off x="124640" y="1094389"/>
            <a:ext cx="11443149" cy="3232688"/>
          </a:xfrm>
          <a:prstGeom prst="rect">
            <a:avLst/>
          </a:prstGeom>
          <a:noFill/>
        </p:spPr>
      </p:pic>
      <p:sp>
        <p:nvSpPr>
          <p:cNvPr id="5" name="TextBox 4">
            <a:extLst>
              <a:ext uri="{FF2B5EF4-FFF2-40B4-BE49-F238E27FC236}">
                <a16:creationId xmlns:a16="http://schemas.microsoft.com/office/drawing/2014/main" id="{5491C1A3-7396-478E-AAB2-394B8BEDC9DE}"/>
              </a:ext>
            </a:extLst>
          </p:cNvPr>
          <p:cNvSpPr txBox="1"/>
          <p:nvPr/>
        </p:nvSpPr>
        <p:spPr>
          <a:xfrm>
            <a:off x="488577" y="4452338"/>
            <a:ext cx="11214847" cy="1649811"/>
          </a:xfrm>
          <a:prstGeom prst="rect">
            <a:avLst/>
          </a:prstGeom>
          <a:noFill/>
        </p:spPr>
        <p:txBody>
          <a:bodyPr wrap="square" rtlCol="0">
            <a:spAutoFit/>
          </a:bodyPr>
          <a:lstStyle/>
          <a:p>
            <a:pPr defTabSz="1219170" fontAlgn="base">
              <a:lnSpc>
                <a:spcPct val="107000"/>
              </a:lnSpc>
              <a:spcAft>
                <a:spcPts val="1067"/>
              </a:spcAft>
            </a:pPr>
            <a:r>
              <a:rPr lang="en-US" sz="3200" dirty="0">
                <a:solidFill>
                  <a:srgbClr val="444444"/>
                </a:solidFill>
                <a:latin typeface="Calibri" panose="020F0502020204030204" pitchFamily="34" charset="0"/>
                <a:ea typeface="DengXian" panose="02010600030101010101" pitchFamily="2" charset="-122"/>
                <a:cs typeface="Times New Roman" panose="02020603050405020304" pitchFamily="18" charset="0"/>
              </a:rPr>
              <a:t>Statistics is simply the study of data, facts, figures and measurements. Statistics is used to convert </a:t>
            </a:r>
            <a:r>
              <a:rPr lang="en-US" sz="3200" b="1" i="1" dirty="0">
                <a:solidFill>
                  <a:srgbClr val="444444"/>
                </a:solidFill>
                <a:latin typeface="Calibri" panose="020F0502020204030204" pitchFamily="34" charset="0"/>
                <a:ea typeface="DengXian" panose="02010600030101010101" pitchFamily="2" charset="-122"/>
                <a:cs typeface="Times New Roman" panose="02020603050405020304" pitchFamily="18" charset="0"/>
              </a:rPr>
              <a:t>raw numerical data </a:t>
            </a:r>
            <a:r>
              <a:rPr lang="en-US" sz="3200" dirty="0">
                <a:solidFill>
                  <a:srgbClr val="444444"/>
                </a:solidFill>
                <a:latin typeface="Calibri" panose="020F0502020204030204" pitchFamily="34" charset="0"/>
                <a:ea typeface="DengXian" panose="02010600030101010101" pitchFamily="2" charset="-122"/>
                <a:cs typeface="Times New Roman" panose="02020603050405020304" pitchFamily="18" charset="0"/>
              </a:rPr>
              <a:t>into </a:t>
            </a:r>
            <a:r>
              <a:rPr lang="en-US" sz="3200" b="1" i="1" dirty="0">
                <a:solidFill>
                  <a:srgbClr val="444444"/>
                </a:solidFill>
                <a:latin typeface="Calibri" panose="020F0502020204030204" pitchFamily="34" charset="0"/>
                <a:ea typeface="DengXian" panose="02010600030101010101" pitchFamily="2" charset="-122"/>
                <a:cs typeface="Times New Roman" panose="02020603050405020304" pitchFamily="18" charset="0"/>
              </a:rPr>
              <a:t>useful information </a:t>
            </a:r>
            <a:r>
              <a:rPr lang="en-US" sz="3200" dirty="0">
                <a:solidFill>
                  <a:srgbClr val="444444"/>
                </a:solidFill>
                <a:latin typeface="Calibri" panose="020F0502020204030204" pitchFamily="34" charset="0"/>
                <a:ea typeface="DengXian" panose="02010600030101010101" pitchFamily="2" charset="-122"/>
                <a:cs typeface="Times New Roman" panose="02020603050405020304" pitchFamily="18" charset="0"/>
              </a:rPr>
              <a:t>for relevant users. </a:t>
            </a:r>
          </a:p>
        </p:txBody>
      </p:sp>
    </p:spTree>
    <p:extLst>
      <p:ext uri="{BB962C8B-B14F-4D97-AF65-F5344CB8AC3E}">
        <p14:creationId xmlns:p14="http://schemas.microsoft.com/office/powerpoint/2010/main" val="36472934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F6A-9246-4D32-89E2-3F5351AEB908}"/>
              </a:ext>
            </a:extLst>
          </p:cNvPr>
          <p:cNvSpPr>
            <a:spLocks noGrp="1"/>
          </p:cNvSpPr>
          <p:nvPr>
            <p:ph type="title"/>
          </p:nvPr>
        </p:nvSpPr>
        <p:spPr>
          <a:xfrm>
            <a:off x="0" y="30480"/>
            <a:ext cx="11751085" cy="853440"/>
          </a:xfrm>
        </p:spPr>
        <p:txBody>
          <a:bodyPr/>
          <a:lstStyle/>
          <a:p>
            <a:r>
              <a:rPr lang="en-US" dirty="0"/>
              <a:t>Difference between Descriptive &amp; Inferential Statistics</a:t>
            </a:r>
          </a:p>
        </p:txBody>
      </p:sp>
      <p:sp>
        <p:nvSpPr>
          <p:cNvPr id="3" name="Content Placeholder 2">
            <a:extLst>
              <a:ext uri="{FF2B5EF4-FFF2-40B4-BE49-F238E27FC236}">
                <a16:creationId xmlns:a16="http://schemas.microsoft.com/office/drawing/2014/main" id="{15960CB5-F854-43A7-A136-BE3BA4C2B693}"/>
              </a:ext>
            </a:extLst>
          </p:cNvPr>
          <p:cNvSpPr>
            <a:spLocks noGrp="1"/>
          </p:cNvSpPr>
          <p:nvPr>
            <p:ph sz="half" idx="13"/>
          </p:nvPr>
        </p:nvSpPr>
        <p:spPr/>
        <p:txBody>
          <a:bodyPr/>
          <a:lstStyle/>
          <a:p>
            <a:endParaRPr lang="en-US" dirty="0"/>
          </a:p>
        </p:txBody>
      </p:sp>
      <p:sp>
        <p:nvSpPr>
          <p:cNvPr id="4" name="Content Placeholder 3">
            <a:extLst>
              <a:ext uri="{FF2B5EF4-FFF2-40B4-BE49-F238E27FC236}">
                <a16:creationId xmlns:a16="http://schemas.microsoft.com/office/drawing/2014/main" id="{D0BD7AFE-1A0A-4FDF-8FF1-3E5CEB10A8A3}"/>
              </a:ext>
            </a:extLst>
          </p:cNvPr>
          <p:cNvSpPr>
            <a:spLocks noGrp="1"/>
          </p:cNvSpPr>
          <p:nvPr>
            <p:ph sz="half" idx="14"/>
          </p:nvPr>
        </p:nvSpPr>
        <p:spPr/>
        <p:txBody>
          <a:bodyPr/>
          <a:lstStyle/>
          <a:p>
            <a:endParaRPr lang="en-US" dirty="0"/>
          </a:p>
        </p:txBody>
      </p:sp>
    </p:spTree>
    <p:extLst>
      <p:ext uri="{BB962C8B-B14F-4D97-AF65-F5344CB8AC3E}">
        <p14:creationId xmlns:p14="http://schemas.microsoft.com/office/powerpoint/2010/main" val="1717064405"/>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8215-06B8-4351-9335-9403B3D730B9}"/>
              </a:ext>
            </a:extLst>
          </p:cNvPr>
          <p:cNvSpPr>
            <a:spLocks noGrp="1"/>
          </p:cNvSpPr>
          <p:nvPr>
            <p:ph type="title"/>
          </p:nvPr>
        </p:nvSpPr>
        <p:spPr>
          <a:xfrm>
            <a:off x="0" y="0"/>
            <a:ext cx="10607040" cy="853440"/>
          </a:xfrm>
        </p:spPr>
        <p:txBody>
          <a:bodyPr/>
          <a:lstStyle/>
          <a:p>
            <a:r>
              <a:rPr lang="en-US" dirty="0"/>
              <a:t>Independent, Dependent &amp; Control variable</a:t>
            </a:r>
          </a:p>
        </p:txBody>
      </p:sp>
      <p:pic>
        <p:nvPicPr>
          <p:cNvPr id="8" name="Picture 7">
            <a:extLst>
              <a:ext uri="{FF2B5EF4-FFF2-40B4-BE49-F238E27FC236}">
                <a16:creationId xmlns:a16="http://schemas.microsoft.com/office/drawing/2014/main" id="{AD1BE78B-FDD2-4D9B-AFEC-AC74CC8BAC9D}"/>
              </a:ext>
            </a:extLst>
          </p:cNvPr>
          <p:cNvPicPr>
            <a:picLocks noChangeAspect="1"/>
          </p:cNvPicPr>
          <p:nvPr/>
        </p:nvPicPr>
        <p:blipFill>
          <a:blip r:embed="rId2"/>
          <a:stretch>
            <a:fillRect/>
          </a:stretch>
        </p:blipFill>
        <p:spPr>
          <a:xfrm>
            <a:off x="0" y="1227857"/>
            <a:ext cx="12192000" cy="2019728"/>
          </a:xfrm>
          <a:prstGeom prst="rect">
            <a:avLst/>
          </a:prstGeom>
        </p:spPr>
      </p:pic>
      <p:sp>
        <p:nvSpPr>
          <p:cNvPr id="9" name="TextBox 8">
            <a:extLst>
              <a:ext uri="{FF2B5EF4-FFF2-40B4-BE49-F238E27FC236}">
                <a16:creationId xmlns:a16="http://schemas.microsoft.com/office/drawing/2014/main" id="{C743302E-AC6C-4AE7-821D-EAB10932335B}"/>
              </a:ext>
            </a:extLst>
          </p:cNvPr>
          <p:cNvSpPr txBox="1"/>
          <p:nvPr/>
        </p:nvSpPr>
        <p:spPr>
          <a:xfrm>
            <a:off x="65148" y="3622003"/>
            <a:ext cx="11186859" cy="2472152"/>
          </a:xfrm>
          <a:prstGeom prst="rect">
            <a:avLst/>
          </a:prstGeom>
          <a:noFill/>
        </p:spPr>
        <p:txBody>
          <a:bodyPr wrap="square" rtlCol="0">
            <a:spAutoFit/>
          </a:bodyPr>
          <a:lstStyle/>
          <a:p>
            <a:pPr defTabSz="1219170" fontAlgn="base">
              <a:spcBef>
                <a:spcPct val="0"/>
              </a:spcBef>
              <a:spcAft>
                <a:spcPct val="0"/>
              </a:spcAft>
            </a:pPr>
            <a:r>
              <a:rPr lang="en-US" sz="1467" b="1" dirty="0">
                <a:solidFill>
                  <a:srgbClr val="000000"/>
                </a:solidFill>
                <a:latin typeface="Open Sans" panose="020B0606030504020204" pitchFamily="34" charset="0"/>
              </a:rPr>
              <a:t>Importance of the Control Variables</a:t>
            </a:r>
          </a:p>
          <a:p>
            <a:pPr defTabSz="1219170" fontAlgn="base">
              <a:spcBef>
                <a:spcPct val="0"/>
              </a:spcBef>
              <a:spcAft>
                <a:spcPct val="0"/>
              </a:spcAft>
            </a:pPr>
            <a:endParaRPr lang="en-US" sz="1467" dirty="0">
              <a:solidFill>
                <a:srgbClr val="000000"/>
              </a:solidFill>
              <a:latin typeface="Open Sans" panose="020B0606030504020204" pitchFamily="34" charset="0"/>
            </a:endParaRPr>
          </a:p>
          <a:p>
            <a:pPr marL="228594" indent="-228594" defTabSz="1219170" fontAlgn="base">
              <a:spcBef>
                <a:spcPct val="0"/>
              </a:spcBef>
              <a:spcAft>
                <a:spcPct val="0"/>
              </a:spcAft>
              <a:buFont typeface="Arial" panose="020B0604020202020204" pitchFamily="34" charset="0"/>
              <a:buChar char="•"/>
            </a:pPr>
            <a:r>
              <a:rPr lang="en-US" sz="1333" dirty="0">
                <a:solidFill>
                  <a:srgbClr val="000000">
                    <a:lumMod val="50000"/>
                    <a:lumOff val="50000"/>
                  </a:srgbClr>
                </a:solidFill>
                <a:latin typeface="Arial"/>
              </a:rPr>
              <a:t>Although control variables may not be measured as they are not recorded, yet they can have a significant effect on the outcome of an experiment.</a:t>
            </a:r>
          </a:p>
          <a:p>
            <a:pPr marL="228594" indent="-228594" defTabSz="1219170" fontAlgn="base">
              <a:spcBef>
                <a:spcPct val="0"/>
              </a:spcBef>
              <a:spcAft>
                <a:spcPct val="0"/>
              </a:spcAft>
              <a:buFont typeface="Arial" panose="020B0604020202020204" pitchFamily="34" charset="0"/>
              <a:buChar char="•"/>
            </a:pPr>
            <a:r>
              <a:rPr lang="en-US" sz="1333" dirty="0">
                <a:solidFill>
                  <a:srgbClr val="000000">
                    <a:lumMod val="50000"/>
                    <a:lumOff val="50000"/>
                  </a:srgbClr>
                </a:solidFill>
                <a:latin typeface="Arial"/>
              </a:rPr>
              <a:t>Therefore, the lack of awareness of control variables may lead to faulty results or what is called “confounding variables”. So, recording control variables makes it easier to reproduce an experiment and to establish the relationship between the independent and dependent variables.</a:t>
            </a:r>
          </a:p>
          <a:p>
            <a:pPr marL="228594" indent="-228594" defTabSz="1219170" fontAlgn="base">
              <a:spcBef>
                <a:spcPct val="0"/>
              </a:spcBef>
              <a:spcAft>
                <a:spcPct val="0"/>
              </a:spcAft>
              <a:buFont typeface="Arial" panose="020B0604020202020204" pitchFamily="34" charset="0"/>
              <a:buChar char="•"/>
            </a:pPr>
            <a:r>
              <a:rPr lang="en-US" sz="1333" dirty="0">
                <a:solidFill>
                  <a:srgbClr val="000000">
                    <a:lumMod val="50000"/>
                    <a:lumOff val="50000"/>
                  </a:srgbClr>
                </a:solidFill>
                <a:latin typeface="Arial"/>
              </a:rPr>
              <a:t>For example, suppose we are trying to determine whether a particular fertilizer influences plant growth. Here, the independent variable is the presence or absence of the fertilizer, whereas the dependent variable is the height of the plant or rate of growth.</a:t>
            </a:r>
          </a:p>
          <a:p>
            <a:pPr marL="228594" indent="-228594" defTabSz="1219170" fontAlgn="base">
              <a:spcBef>
                <a:spcPct val="0"/>
              </a:spcBef>
              <a:spcAft>
                <a:spcPct val="0"/>
              </a:spcAft>
              <a:buFont typeface="Arial" panose="020B0604020202020204" pitchFamily="34" charset="0"/>
              <a:buChar char="•"/>
            </a:pPr>
            <a:r>
              <a:rPr lang="en-US" sz="1333" dirty="0">
                <a:solidFill>
                  <a:srgbClr val="000000">
                    <a:lumMod val="50000"/>
                    <a:lumOff val="50000"/>
                  </a:srgbClr>
                </a:solidFill>
                <a:latin typeface="Arial"/>
              </a:rPr>
              <a:t>If we don’t control the amount of light, for example, we perform some part of the experiment in the summer and some part during the winter, we may skew our results.</a:t>
            </a:r>
          </a:p>
          <a:p>
            <a:pPr defTabSz="1219170" fontAlgn="base">
              <a:buClr>
                <a:srgbClr val="007DB8"/>
              </a:buClr>
            </a:pPr>
            <a:endParaRPr lang="en-US" sz="1867" dirty="0" err="1">
              <a:solidFill>
                <a:srgbClr val="000000"/>
              </a:solidFill>
              <a:latin typeface="Arial"/>
            </a:endParaRPr>
          </a:p>
        </p:txBody>
      </p:sp>
    </p:spTree>
    <p:extLst>
      <p:ext uri="{BB962C8B-B14F-4D97-AF65-F5344CB8AC3E}">
        <p14:creationId xmlns:p14="http://schemas.microsoft.com/office/powerpoint/2010/main" val="2513017721"/>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8F0AD-7FFD-4732-86A0-DD18718379E4}"/>
              </a:ext>
            </a:extLst>
          </p:cNvPr>
          <p:cNvSpPr>
            <a:spLocks noGrp="1"/>
          </p:cNvSpPr>
          <p:nvPr>
            <p:ph type="title"/>
          </p:nvPr>
        </p:nvSpPr>
        <p:spPr>
          <a:xfrm>
            <a:off x="182880" y="30480"/>
            <a:ext cx="10607040" cy="853440"/>
          </a:xfrm>
        </p:spPr>
        <p:txBody>
          <a:bodyPr/>
          <a:lstStyle/>
          <a:p>
            <a:r>
              <a:rPr lang="en-US" dirty="0"/>
              <a:t>Types of Statistical Studies</a:t>
            </a:r>
          </a:p>
        </p:txBody>
      </p:sp>
      <p:sp>
        <p:nvSpPr>
          <p:cNvPr id="3" name="Content Placeholder 2">
            <a:extLst>
              <a:ext uri="{FF2B5EF4-FFF2-40B4-BE49-F238E27FC236}">
                <a16:creationId xmlns:a16="http://schemas.microsoft.com/office/drawing/2014/main" id="{51EABE99-0FF9-42EC-AD6B-E1B530304558}"/>
              </a:ext>
            </a:extLst>
          </p:cNvPr>
          <p:cNvSpPr>
            <a:spLocks noGrp="1"/>
          </p:cNvSpPr>
          <p:nvPr>
            <p:ph sz="half" idx="13"/>
          </p:nvPr>
        </p:nvSpPr>
        <p:spPr>
          <a:xfrm>
            <a:off x="324006" y="1295400"/>
            <a:ext cx="11124783" cy="4267200"/>
          </a:xfrm>
        </p:spPr>
        <p:txBody>
          <a:bodyPr/>
          <a:lstStyle/>
          <a:p>
            <a:r>
              <a:rPr lang="en-US" dirty="0">
                <a:solidFill>
                  <a:schemeClr val="bg2">
                    <a:lumMod val="50000"/>
                    <a:lumOff val="50000"/>
                  </a:schemeClr>
                </a:solidFill>
              </a:rPr>
              <a:t>When we talk about using data to learn something about the world, we are usually talking about performing a study or an experiment </a:t>
            </a:r>
          </a:p>
          <a:p>
            <a:r>
              <a:rPr lang="en-US" dirty="0">
                <a:solidFill>
                  <a:schemeClr val="bg2">
                    <a:lumMod val="50000"/>
                    <a:lumOff val="50000"/>
                  </a:schemeClr>
                </a:solidFill>
              </a:rPr>
              <a:t>In general, there are two types of statistical studies: </a:t>
            </a:r>
            <a:r>
              <a:rPr lang="en-US" b="1" dirty="0">
                <a:solidFill>
                  <a:schemeClr val="accent1"/>
                </a:solidFill>
              </a:rPr>
              <a:t>Observational studies </a:t>
            </a:r>
            <a:r>
              <a:rPr lang="en-US" dirty="0">
                <a:solidFill>
                  <a:schemeClr val="bg2">
                    <a:lumMod val="50000"/>
                    <a:lumOff val="50000"/>
                  </a:schemeClr>
                </a:solidFill>
              </a:rPr>
              <a:t>and</a:t>
            </a:r>
            <a:r>
              <a:rPr lang="en-US" dirty="0"/>
              <a:t> </a:t>
            </a:r>
            <a:r>
              <a:rPr lang="en-US" b="1" dirty="0">
                <a:solidFill>
                  <a:schemeClr val="accent1"/>
                </a:solidFill>
              </a:rPr>
              <a:t>Experiments</a:t>
            </a:r>
          </a:p>
        </p:txBody>
      </p:sp>
      <p:sp>
        <p:nvSpPr>
          <p:cNvPr id="5" name="Oval 4">
            <a:extLst>
              <a:ext uri="{FF2B5EF4-FFF2-40B4-BE49-F238E27FC236}">
                <a16:creationId xmlns:a16="http://schemas.microsoft.com/office/drawing/2014/main" id="{C10FF536-7FE0-4E2C-8F4A-A9E4EAE14BC5}"/>
              </a:ext>
            </a:extLst>
          </p:cNvPr>
          <p:cNvSpPr/>
          <p:nvPr/>
        </p:nvSpPr>
        <p:spPr>
          <a:xfrm>
            <a:off x="1260955" y="4477011"/>
            <a:ext cx="3686549" cy="1085589"/>
          </a:xfrm>
          <a:prstGeom prst="ellipse">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r>
              <a:rPr lang="en-US" sz="2667" dirty="0">
                <a:solidFill>
                  <a:srgbClr val="FFFFFF"/>
                </a:solidFill>
                <a:latin typeface="Arial"/>
              </a:rPr>
              <a:t>Observational</a:t>
            </a:r>
          </a:p>
          <a:p>
            <a:pPr algn="ctr" defTabSz="1219170" fontAlgn="base">
              <a:lnSpc>
                <a:spcPct val="90000"/>
              </a:lnSpc>
              <a:spcBef>
                <a:spcPts val="800"/>
              </a:spcBef>
            </a:pPr>
            <a:r>
              <a:rPr lang="en-US" sz="2667" dirty="0">
                <a:solidFill>
                  <a:srgbClr val="FFFFFF"/>
                </a:solidFill>
                <a:latin typeface="Arial"/>
              </a:rPr>
              <a:t>Study</a:t>
            </a:r>
          </a:p>
        </p:txBody>
      </p:sp>
      <p:sp>
        <p:nvSpPr>
          <p:cNvPr id="6" name="Oval 5">
            <a:extLst>
              <a:ext uri="{FF2B5EF4-FFF2-40B4-BE49-F238E27FC236}">
                <a16:creationId xmlns:a16="http://schemas.microsoft.com/office/drawing/2014/main" id="{EF6BB1B6-3440-4E16-AA74-7538562431A4}"/>
              </a:ext>
            </a:extLst>
          </p:cNvPr>
          <p:cNvSpPr/>
          <p:nvPr/>
        </p:nvSpPr>
        <p:spPr>
          <a:xfrm>
            <a:off x="6334274" y="4493712"/>
            <a:ext cx="3394273" cy="1085589"/>
          </a:xfrm>
          <a:prstGeom prst="ellipse">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r>
              <a:rPr lang="en-US" sz="2667" dirty="0">
                <a:solidFill>
                  <a:srgbClr val="FFFFFF"/>
                </a:solidFill>
                <a:latin typeface="Arial"/>
              </a:rPr>
              <a:t>Experiments</a:t>
            </a:r>
          </a:p>
        </p:txBody>
      </p:sp>
      <p:sp>
        <p:nvSpPr>
          <p:cNvPr id="7" name="Rectangle: Rounded Corners 6">
            <a:extLst>
              <a:ext uri="{FF2B5EF4-FFF2-40B4-BE49-F238E27FC236}">
                <a16:creationId xmlns:a16="http://schemas.microsoft.com/office/drawing/2014/main" id="{BAAEBE95-2F1B-4168-94E4-96BB97737860}"/>
              </a:ext>
            </a:extLst>
          </p:cNvPr>
          <p:cNvSpPr/>
          <p:nvPr/>
        </p:nvSpPr>
        <p:spPr>
          <a:xfrm>
            <a:off x="4162816" y="2666166"/>
            <a:ext cx="2647168" cy="824421"/>
          </a:xfrm>
          <a:prstGeom prst="roundRect">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r>
              <a:rPr lang="en-US" sz="2667" dirty="0">
                <a:solidFill>
                  <a:srgbClr val="FFFFFF"/>
                </a:solidFill>
                <a:latin typeface="Arial"/>
              </a:rPr>
              <a:t>Statistical Studies</a:t>
            </a:r>
          </a:p>
        </p:txBody>
      </p:sp>
      <p:cxnSp>
        <p:nvCxnSpPr>
          <p:cNvPr id="9" name="Straight Arrow Connector 8">
            <a:extLst>
              <a:ext uri="{FF2B5EF4-FFF2-40B4-BE49-F238E27FC236}">
                <a16:creationId xmlns:a16="http://schemas.microsoft.com/office/drawing/2014/main" id="{C0ACEFDC-C19C-4513-8D70-A2B3D29D65B0}"/>
              </a:ext>
            </a:extLst>
          </p:cNvPr>
          <p:cNvCxnSpPr>
            <a:cxnSpLocks/>
            <a:endCxn id="5" idx="0"/>
          </p:cNvCxnSpPr>
          <p:nvPr/>
        </p:nvCxnSpPr>
        <p:spPr>
          <a:xfrm flipH="1">
            <a:off x="3104229" y="3498938"/>
            <a:ext cx="2382171" cy="978073"/>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63CFE5AD-4E34-4C2A-9489-63A58828807D}"/>
              </a:ext>
            </a:extLst>
          </p:cNvPr>
          <p:cNvCxnSpPr>
            <a:stCxn id="7" idx="2"/>
            <a:endCxn id="6" idx="0"/>
          </p:cNvCxnSpPr>
          <p:nvPr/>
        </p:nvCxnSpPr>
        <p:spPr>
          <a:xfrm>
            <a:off x="5486400" y="3490587"/>
            <a:ext cx="2545011" cy="100312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C41A19D2-B0F4-4F05-9FA4-E82E3B9E2D22}"/>
                  </a:ext>
                </a:extLst>
              </p14:cNvPr>
              <p14:cNvContentPartPr/>
              <p14:nvPr/>
            </p14:nvContentPartPr>
            <p14:xfrm>
              <a:off x="1193760" y="2902080"/>
              <a:ext cx="9728640" cy="2915040"/>
            </p14:xfrm>
          </p:contentPart>
        </mc:Choice>
        <mc:Fallback>
          <p:pic>
            <p:nvPicPr>
              <p:cNvPr id="4" name="Ink 3">
                <a:extLst>
                  <a:ext uri="{FF2B5EF4-FFF2-40B4-BE49-F238E27FC236}">
                    <a16:creationId xmlns:a16="http://schemas.microsoft.com/office/drawing/2014/main" id="{C41A19D2-B0F4-4F05-9FA4-E82E3B9E2D22}"/>
                  </a:ext>
                </a:extLst>
              </p:cNvPr>
              <p:cNvPicPr/>
              <p:nvPr/>
            </p:nvPicPr>
            <p:blipFill>
              <a:blip r:embed="rId3"/>
              <a:stretch>
                <a:fillRect/>
              </a:stretch>
            </p:blipFill>
            <p:spPr>
              <a:xfrm>
                <a:off x="1184400" y="2892720"/>
                <a:ext cx="9747360" cy="2933761"/>
              </a:xfrm>
              <a:prstGeom prst="rect">
                <a:avLst/>
              </a:prstGeom>
            </p:spPr>
          </p:pic>
        </mc:Fallback>
      </mc:AlternateContent>
    </p:spTree>
    <p:extLst>
      <p:ext uri="{BB962C8B-B14F-4D97-AF65-F5344CB8AC3E}">
        <p14:creationId xmlns:p14="http://schemas.microsoft.com/office/powerpoint/2010/main" val="929397678"/>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CE8DB-7C7A-4DDC-A4AF-37EFDD4F3167}"/>
              </a:ext>
            </a:extLst>
          </p:cNvPr>
          <p:cNvSpPr>
            <a:spLocks noGrp="1"/>
          </p:cNvSpPr>
          <p:nvPr>
            <p:ph type="title"/>
          </p:nvPr>
        </p:nvSpPr>
        <p:spPr>
          <a:xfrm>
            <a:off x="2503" y="30480"/>
            <a:ext cx="11951501" cy="85344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pic>
        <p:nvPicPr>
          <p:cNvPr id="8" name="Picture 7">
            <a:extLst>
              <a:ext uri="{FF2B5EF4-FFF2-40B4-BE49-F238E27FC236}">
                <a16:creationId xmlns:a16="http://schemas.microsoft.com/office/drawing/2014/main" id="{7A762CF4-1B9D-4987-8C10-992B4959F552}"/>
              </a:ext>
            </a:extLst>
          </p:cNvPr>
          <p:cNvPicPr>
            <a:picLocks noChangeAspect="1"/>
          </p:cNvPicPr>
          <p:nvPr/>
        </p:nvPicPr>
        <p:blipFill>
          <a:blip r:embed="rId2"/>
          <a:stretch>
            <a:fillRect/>
          </a:stretch>
        </p:blipFill>
        <p:spPr>
          <a:xfrm>
            <a:off x="7663328" y="1796441"/>
            <a:ext cx="4528673" cy="2871592"/>
          </a:xfrm>
          <a:prstGeom prst="rect">
            <a:avLst/>
          </a:prstGeom>
        </p:spPr>
      </p:pic>
      <p:sp>
        <p:nvSpPr>
          <p:cNvPr id="10" name="Content Placeholder 9">
            <a:extLst>
              <a:ext uri="{FF2B5EF4-FFF2-40B4-BE49-F238E27FC236}">
                <a16:creationId xmlns:a16="http://schemas.microsoft.com/office/drawing/2014/main" id="{78499D2F-5C34-4281-8B7C-D04161065915}"/>
              </a:ext>
            </a:extLst>
          </p:cNvPr>
          <p:cNvSpPr>
            <a:spLocks noGrp="1"/>
          </p:cNvSpPr>
          <p:nvPr>
            <p:ph sz="half" idx="13"/>
          </p:nvPr>
        </p:nvSpPr>
        <p:spPr>
          <a:xfrm>
            <a:off x="-1" y="1295400"/>
            <a:ext cx="7465513" cy="4267200"/>
          </a:xfrm>
        </p:spPr>
        <p:txBody>
          <a:bodyPr/>
          <a:lstStyle/>
          <a:p>
            <a:pPr marL="0" indent="0">
              <a:buNone/>
            </a:pPr>
            <a:r>
              <a:rPr lang="en-US" sz="1600" b="1" i="1" dirty="0">
                <a:solidFill>
                  <a:schemeClr val="bg2">
                    <a:lumMod val="50000"/>
                    <a:lumOff val="50000"/>
                  </a:schemeClr>
                </a:solidFill>
              </a:rPr>
              <a:t>Many students listen to music while studying. Does listening to music improve learning? Students in a statistics class decide to investigate this question. </a:t>
            </a:r>
          </a:p>
          <a:p>
            <a:pPr marL="0" indent="0">
              <a:buNone/>
            </a:pPr>
            <a:r>
              <a:rPr lang="en-US" sz="1600" b="1" i="1" dirty="0">
                <a:solidFill>
                  <a:schemeClr val="accent1"/>
                </a:solidFill>
              </a:rPr>
              <a:t>Study 1 : </a:t>
            </a:r>
          </a:p>
          <a:p>
            <a:pPr marL="0" indent="0">
              <a:buNone/>
            </a:pPr>
            <a:r>
              <a:rPr lang="en-US" sz="1600" i="1" dirty="0">
                <a:solidFill>
                  <a:schemeClr val="bg2">
                    <a:lumMod val="50000"/>
                    <a:lumOff val="50000"/>
                  </a:schemeClr>
                </a:solidFill>
              </a:rPr>
              <a:t>Do the majority of college students listen to music while they study? Do the majority of college students believe that listening to music improves their learning?</a:t>
            </a:r>
          </a:p>
          <a:p>
            <a:pPr marL="0" indent="0">
              <a:buNone/>
            </a:pPr>
            <a:r>
              <a:rPr lang="en-US" sz="1600" i="1" dirty="0">
                <a:solidFill>
                  <a:schemeClr val="accent1"/>
                </a:solidFill>
              </a:rPr>
              <a:t>Survey Questions : Sent to all the students</a:t>
            </a:r>
          </a:p>
          <a:p>
            <a:pPr marL="0" indent="0">
              <a:buNone/>
            </a:pPr>
            <a:r>
              <a:rPr lang="en-US" sz="1600" i="1" dirty="0">
                <a:solidFill>
                  <a:schemeClr val="bg2">
                    <a:lumMod val="50000"/>
                    <a:lumOff val="50000"/>
                  </a:schemeClr>
                </a:solidFill>
              </a:rPr>
              <a:t>Do you listen to music while you study?</a:t>
            </a:r>
          </a:p>
          <a:p>
            <a:pPr marL="0" indent="0">
              <a:buNone/>
            </a:pPr>
            <a:r>
              <a:rPr lang="en-US" sz="1600" i="1" dirty="0">
                <a:solidFill>
                  <a:schemeClr val="bg2">
                    <a:lumMod val="50000"/>
                    <a:lumOff val="50000"/>
                  </a:schemeClr>
                </a:solidFill>
              </a:rPr>
              <a:t>Do you think listening to music improves your concentration and memory?</a:t>
            </a:r>
          </a:p>
          <a:p>
            <a:pPr marL="0" indent="0">
              <a:buNone/>
            </a:pPr>
            <a:endParaRPr lang="en-US" sz="1600" b="1" i="1" dirty="0">
              <a:solidFill>
                <a:schemeClr val="bg2">
                  <a:lumMod val="50000"/>
                  <a:lumOff val="50000"/>
                </a:schemeClr>
              </a:solidFill>
            </a:endParaRP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D5A6A115-7CF1-460F-B96B-6F15C71385F6}"/>
                  </a:ext>
                </a:extLst>
              </p14:cNvPr>
              <p14:cNvContentPartPr/>
              <p14:nvPr/>
            </p14:nvContentPartPr>
            <p14:xfrm>
              <a:off x="768480" y="768480"/>
              <a:ext cx="10947840" cy="5226240"/>
            </p14:xfrm>
          </p:contentPart>
        </mc:Choice>
        <mc:Fallback>
          <p:pic>
            <p:nvPicPr>
              <p:cNvPr id="3" name="Ink 2">
                <a:extLst>
                  <a:ext uri="{FF2B5EF4-FFF2-40B4-BE49-F238E27FC236}">
                    <a16:creationId xmlns:a16="http://schemas.microsoft.com/office/drawing/2014/main" id="{D5A6A115-7CF1-460F-B96B-6F15C71385F6}"/>
                  </a:ext>
                </a:extLst>
              </p:cNvPr>
              <p:cNvPicPr/>
              <p:nvPr/>
            </p:nvPicPr>
            <p:blipFill>
              <a:blip r:embed="rId4"/>
              <a:stretch>
                <a:fillRect/>
              </a:stretch>
            </p:blipFill>
            <p:spPr>
              <a:xfrm>
                <a:off x="759120" y="759120"/>
                <a:ext cx="10966560" cy="5244960"/>
              </a:xfrm>
              <a:prstGeom prst="rect">
                <a:avLst/>
              </a:prstGeom>
            </p:spPr>
          </p:pic>
        </mc:Fallback>
      </mc:AlternateContent>
    </p:spTree>
    <p:extLst>
      <p:ext uri="{BB962C8B-B14F-4D97-AF65-F5344CB8AC3E}">
        <p14:creationId xmlns:p14="http://schemas.microsoft.com/office/powerpoint/2010/main" val="647538906"/>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18BCBB9-C3AC-40C5-95B3-3E911B1A5E73}"/>
              </a:ext>
            </a:extLst>
          </p:cNvPr>
          <p:cNvSpPr>
            <a:spLocks noGrp="1"/>
          </p:cNvSpPr>
          <p:nvPr>
            <p:ph type="title"/>
          </p:nvPr>
        </p:nvSpPr>
        <p:spPr>
          <a:xfrm>
            <a:off x="0" y="0"/>
            <a:ext cx="11951501" cy="85344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8" name="TextBox 7">
            <a:extLst>
              <a:ext uri="{FF2B5EF4-FFF2-40B4-BE49-F238E27FC236}">
                <a16:creationId xmlns:a16="http://schemas.microsoft.com/office/drawing/2014/main" id="{39BACF91-6D93-4CB5-9A9C-CEEF211954A4}"/>
              </a:ext>
            </a:extLst>
          </p:cNvPr>
          <p:cNvSpPr txBox="1"/>
          <p:nvPr/>
        </p:nvSpPr>
        <p:spPr>
          <a:xfrm>
            <a:off x="-91858" y="1587289"/>
            <a:ext cx="7665929" cy="3252109"/>
          </a:xfrm>
          <a:prstGeom prst="rect">
            <a:avLst/>
          </a:prstGeom>
          <a:noFill/>
        </p:spPr>
        <p:txBody>
          <a:bodyPr wrap="square" rtlCol="0">
            <a:spAutoFit/>
          </a:bodyPr>
          <a:lstStyle/>
          <a:p>
            <a:pPr defTabSz="1219170" fontAlgn="base">
              <a:spcBef>
                <a:spcPct val="0"/>
              </a:spcBef>
              <a:spcAft>
                <a:spcPct val="0"/>
              </a:spcAft>
            </a:pPr>
            <a:r>
              <a:rPr lang="en-US" sz="1867" b="1" i="1" dirty="0">
                <a:solidFill>
                  <a:srgbClr val="007DB8"/>
                </a:solidFill>
                <a:latin typeface="Arial" charset="0"/>
              </a:rPr>
              <a:t>Study 2 : </a:t>
            </a:r>
          </a:p>
          <a:p>
            <a:pPr defTabSz="1219170" fontAlgn="base">
              <a:spcBef>
                <a:spcPct val="0"/>
              </a:spcBef>
              <a:spcAft>
                <a:spcPct val="0"/>
              </a:spcAft>
            </a:pPr>
            <a:r>
              <a:rPr lang="en-US" sz="1867" i="1" dirty="0">
                <a:solidFill>
                  <a:srgbClr val="000000">
                    <a:lumMod val="50000"/>
                    <a:lumOff val="50000"/>
                  </a:srgbClr>
                </a:solidFill>
                <a:latin typeface="Arial" charset="0"/>
              </a:rPr>
              <a:t>When we compare students who study with music to students who study in a quiet environment, which group gives higher ratings for understanding what they studied?</a:t>
            </a:r>
          </a:p>
          <a:p>
            <a:pPr defTabSz="1219170" fontAlgn="base">
              <a:spcBef>
                <a:spcPct val="0"/>
              </a:spcBef>
              <a:spcAft>
                <a:spcPct val="0"/>
              </a:spcAft>
            </a:pPr>
            <a:endParaRPr lang="en-US" sz="1867" i="1" dirty="0">
              <a:solidFill>
                <a:srgbClr val="000000">
                  <a:lumMod val="50000"/>
                  <a:lumOff val="50000"/>
                </a:srgbClr>
              </a:solidFill>
              <a:latin typeface="Arial"/>
            </a:endParaRPr>
          </a:p>
          <a:p>
            <a:pPr defTabSz="1219170" fontAlgn="base">
              <a:spcBef>
                <a:spcPct val="0"/>
              </a:spcBef>
              <a:spcAft>
                <a:spcPct val="0"/>
              </a:spcAft>
            </a:pPr>
            <a:r>
              <a:rPr lang="en-US" sz="1333" dirty="0">
                <a:solidFill>
                  <a:srgbClr val="000000">
                    <a:lumMod val="50000"/>
                    <a:lumOff val="50000"/>
                  </a:srgbClr>
                </a:solidFill>
                <a:latin typeface="Arial"/>
              </a:rPr>
              <a:t>To investigate this question, the instructor divides the class into two groups: (1) those who listen to music when they study and (2) those who do not listen to music when they study. The students keep a journal for a week. Each time they study, they record the following information:</a:t>
            </a:r>
          </a:p>
          <a:p>
            <a:pPr defTabSz="1219170" fontAlgn="base">
              <a:spcBef>
                <a:spcPct val="0"/>
              </a:spcBef>
              <a:spcAft>
                <a:spcPct val="0"/>
              </a:spcAft>
            </a:pPr>
            <a:endParaRPr lang="en-US" sz="1333" dirty="0">
              <a:solidFill>
                <a:srgbClr val="000000">
                  <a:lumMod val="50000"/>
                  <a:lumOff val="50000"/>
                </a:srgbClr>
              </a:solidFill>
              <a:latin typeface="Arial"/>
            </a:endParaRPr>
          </a:p>
          <a:p>
            <a:pPr defTabSz="1219170" fontAlgn="base">
              <a:spcBef>
                <a:spcPct val="0"/>
              </a:spcBef>
              <a:spcAft>
                <a:spcPct val="0"/>
              </a:spcAft>
              <a:buFont typeface="Arial" panose="020B0604020202020204" pitchFamily="34" charset="0"/>
              <a:buChar char="•"/>
            </a:pPr>
            <a:r>
              <a:rPr lang="en-US" sz="1333" dirty="0">
                <a:solidFill>
                  <a:srgbClr val="000000">
                    <a:lumMod val="50000"/>
                    <a:lumOff val="50000"/>
                  </a:srgbClr>
                </a:solidFill>
                <a:latin typeface="Arial"/>
              </a:rPr>
              <a:t> Length of study session (in minutes)</a:t>
            </a:r>
          </a:p>
          <a:p>
            <a:pPr defTabSz="1219170" fontAlgn="base">
              <a:spcBef>
                <a:spcPct val="0"/>
              </a:spcBef>
              <a:spcAft>
                <a:spcPct val="0"/>
              </a:spcAft>
              <a:buFont typeface="Arial" panose="020B0604020202020204" pitchFamily="34" charset="0"/>
              <a:buChar char="•"/>
            </a:pPr>
            <a:r>
              <a:rPr lang="en-US" sz="1333" dirty="0">
                <a:solidFill>
                  <a:srgbClr val="000000">
                    <a:lumMod val="50000"/>
                    <a:lumOff val="50000"/>
                  </a:srgbClr>
                </a:solidFill>
                <a:latin typeface="Arial"/>
              </a:rPr>
              <a:t> A rating of how well they understood what they studied, on a scale of 1–10: 1 = no understanding,    10 = excellent understanding.</a:t>
            </a:r>
          </a:p>
          <a:p>
            <a:pPr defTabSz="1219170" fontAlgn="base">
              <a:spcBef>
                <a:spcPct val="0"/>
              </a:spcBef>
              <a:spcAft>
                <a:spcPct val="0"/>
              </a:spcAft>
            </a:pPr>
            <a:endParaRPr lang="en-US" sz="1867" dirty="0">
              <a:solidFill>
                <a:srgbClr val="000000"/>
              </a:solidFill>
              <a:latin typeface="Arial"/>
            </a:endParaRPr>
          </a:p>
        </p:txBody>
      </p:sp>
      <p:pic>
        <p:nvPicPr>
          <p:cNvPr id="10" name="Picture 9">
            <a:extLst>
              <a:ext uri="{FF2B5EF4-FFF2-40B4-BE49-F238E27FC236}">
                <a16:creationId xmlns:a16="http://schemas.microsoft.com/office/drawing/2014/main" id="{22D22767-FE1F-4CAD-8B74-C0E62202ACDE}"/>
              </a:ext>
            </a:extLst>
          </p:cNvPr>
          <p:cNvPicPr>
            <a:picLocks noChangeAspect="1"/>
          </p:cNvPicPr>
          <p:nvPr/>
        </p:nvPicPr>
        <p:blipFill>
          <a:blip r:embed="rId2"/>
          <a:stretch>
            <a:fillRect/>
          </a:stretch>
        </p:blipFill>
        <p:spPr>
          <a:xfrm>
            <a:off x="7574071" y="2032396"/>
            <a:ext cx="4437556" cy="2793209"/>
          </a:xfrm>
          <a:prstGeom prst="rect">
            <a:avLst/>
          </a:prstGeom>
        </p:spPr>
      </p:pic>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BA4F262D-5D2A-4E8E-930F-0BDF5F5702F3}"/>
                  </a:ext>
                </a:extLst>
              </p14:cNvPr>
              <p14:cNvContentPartPr/>
              <p14:nvPr/>
            </p14:nvContentPartPr>
            <p14:xfrm>
              <a:off x="139680" y="514560"/>
              <a:ext cx="11112960" cy="6337440"/>
            </p14:xfrm>
          </p:contentPart>
        </mc:Choice>
        <mc:Fallback>
          <p:pic>
            <p:nvPicPr>
              <p:cNvPr id="2" name="Ink 1">
                <a:extLst>
                  <a:ext uri="{FF2B5EF4-FFF2-40B4-BE49-F238E27FC236}">
                    <a16:creationId xmlns:a16="http://schemas.microsoft.com/office/drawing/2014/main" id="{BA4F262D-5D2A-4E8E-930F-0BDF5F5702F3}"/>
                  </a:ext>
                </a:extLst>
              </p:cNvPr>
              <p:cNvPicPr/>
              <p:nvPr/>
            </p:nvPicPr>
            <p:blipFill>
              <a:blip r:embed="rId4"/>
              <a:stretch>
                <a:fillRect/>
              </a:stretch>
            </p:blipFill>
            <p:spPr>
              <a:xfrm>
                <a:off x="130320" y="505200"/>
                <a:ext cx="11131680" cy="6356160"/>
              </a:xfrm>
              <a:prstGeom prst="rect">
                <a:avLst/>
              </a:prstGeom>
            </p:spPr>
          </p:pic>
        </mc:Fallback>
      </mc:AlternateContent>
    </p:spTree>
    <p:extLst>
      <p:ext uri="{BB962C8B-B14F-4D97-AF65-F5344CB8AC3E}">
        <p14:creationId xmlns:p14="http://schemas.microsoft.com/office/powerpoint/2010/main" val="1317899603"/>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B392B1B-F39D-4768-935E-054CB31A20FF}"/>
              </a:ext>
            </a:extLst>
          </p:cNvPr>
          <p:cNvSpPr>
            <a:spLocks noGrp="1"/>
          </p:cNvSpPr>
          <p:nvPr>
            <p:ph type="title"/>
          </p:nvPr>
        </p:nvSpPr>
        <p:spPr>
          <a:xfrm>
            <a:off x="0" y="0"/>
            <a:ext cx="11951501" cy="85344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6" name="TextBox 5">
            <a:extLst>
              <a:ext uri="{FF2B5EF4-FFF2-40B4-BE49-F238E27FC236}">
                <a16:creationId xmlns:a16="http://schemas.microsoft.com/office/drawing/2014/main" id="{DCB63690-E772-4BAF-822C-38DD0D858D8E}"/>
              </a:ext>
            </a:extLst>
          </p:cNvPr>
          <p:cNvSpPr txBox="1"/>
          <p:nvPr/>
        </p:nvSpPr>
        <p:spPr>
          <a:xfrm>
            <a:off x="57580" y="2272990"/>
            <a:ext cx="7955635" cy="2062103"/>
          </a:xfrm>
          <a:prstGeom prst="rect">
            <a:avLst/>
          </a:prstGeom>
          <a:noFill/>
        </p:spPr>
        <p:txBody>
          <a:bodyPr wrap="square" rtlCol="0">
            <a:spAutoFit/>
          </a:bodyPr>
          <a:lstStyle/>
          <a:p>
            <a:pPr defTabSz="1219170" fontAlgn="base">
              <a:spcBef>
                <a:spcPct val="0"/>
              </a:spcBef>
              <a:spcAft>
                <a:spcPct val="0"/>
              </a:spcAft>
            </a:pPr>
            <a:r>
              <a:rPr lang="en-US" sz="1867" b="1" i="1" dirty="0">
                <a:solidFill>
                  <a:srgbClr val="007DB8"/>
                </a:solidFill>
                <a:latin typeface="Arial" charset="0"/>
              </a:rPr>
              <a:t>Study 3 : </a:t>
            </a:r>
          </a:p>
          <a:p>
            <a:pPr defTabSz="1219170" fontAlgn="base">
              <a:spcBef>
                <a:spcPct val="0"/>
              </a:spcBef>
              <a:spcAft>
                <a:spcPct val="0"/>
              </a:spcAft>
            </a:pPr>
            <a:r>
              <a:rPr lang="en-US" sz="1867" i="1" dirty="0">
                <a:solidFill>
                  <a:srgbClr val="000000">
                    <a:lumMod val="50000"/>
                    <a:lumOff val="50000"/>
                  </a:srgbClr>
                </a:solidFill>
                <a:latin typeface="Arial" charset="0"/>
              </a:rPr>
              <a:t>Does listening to music improve students’ ability to quickly identify information?</a:t>
            </a:r>
          </a:p>
          <a:p>
            <a:pPr defTabSz="1219170" fontAlgn="base">
              <a:spcBef>
                <a:spcPct val="0"/>
              </a:spcBef>
              <a:spcAft>
                <a:spcPct val="0"/>
              </a:spcAft>
            </a:pPr>
            <a:endParaRPr lang="en-US" sz="1867" i="1" dirty="0">
              <a:solidFill>
                <a:srgbClr val="000000">
                  <a:lumMod val="50000"/>
                  <a:lumOff val="50000"/>
                </a:srgbClr>
              </a:solidFill>
              <a:latin typeface="Arial"/>
            </a:endParaRPr>
          </a:p>
          <a:p>
            <a:pPr defTabSz="1219170" fontAlgn="base">
              <a:spcBef>
                <a:spcPct val="0"/>
              </a:spcBef>
              <a:spcAft>
                <a:spcPct val="0"/>
              </a:spcAft>
            </a:pPr>
            <a:r>
              <a:rPr lang="en-US" sz="1333" dirty="0">
                <a:solidFill>
                  <a:srgbClr val="000000">
                    <a:lumMod val="50000"/>
                    <a:lumOff val="50000"/>
                  </a:srgbClr>
                </a:solidFill>
                <a:latin typeface="Arial"/>
              </a:rPr>
              <a:t>To investigate this question, the instructor uses word-search puzzles. She divides the class into two groups. Students on one side of the room do a word puzzle for 3 minutes while listening to music on an iPod. Students on the other side of the room do a word puzzle for 3 minutes without music. The instructor calculates the average number of words found by each group.</a:t>
            </a:r>
          </a:p>
        </p:txBody>
      </p:sp>
      <p:pic>
        <p:nvPicPr>
          <p:cNvPr id="7" name="Picture 6">
            <a:extLst>
              <a:ext uri="{FF2B5EF4-FFF2-40B4-BE49-F238E27FC236}">
                <a16:creationId xmlns:a16="http://schemas.microsoft.com/office/drawing/2014/main" id="{7313401C-CCD6-4372-B248-82C8D3522CA6}"/>
              </a:ext>
            </a:extLst>
          </p:cNvPr>
          <p:cNvPicPr>
            <a:picLocks noChangeAspect="1"/>
          </p:cNvPicPr>
          <p:nvPr/>
        </p:nvPicPr>
        <p:blipFill>
          <a:blip r:embed="rId2"/>
          <a:stretch>
            <a:fillRect/>
          </a:stretch>
        </p:blipFill>
        <p:spPr>
          <a:xfrm>
            <a:off x="8013215" y="2032396"/>
            <a:ext cx="3998412" cy="2793209"/>
          </a:xfrm>
          <a:prstGeom prst="rect">
            <a:avLst/>
          </a:prstGeom>
        </p:spPr>
      </p:pic>
      <mc:AlternateContent xmlns:mc="http://schemas.openxmlformats.org/markup-compatibility/2006">
        <mc:Choice xmlns:p14="http://schemas.microsoft.com/office/powerpoint/2010/main" Requires="p14">
          <p:contentPart p14:bwMode="auto" r:id="rId3">
            <p14:nvContentPartPr>
              <p14:cNvPr id="8" name="Ink 7">
                <a:extLst>
                  <a:ext uri="{FF2B5EF4-FFF2-40B4-BE49-F238E27FC236}">
                    <a16:creationId xmlns:a16="http://schemas.microsoft.com/office/drawing/2014/main" id="{39D6D076-357C-45DE-9BF6-33CC9FE987C9}"/>
                  </a:ext>
                </a:extLst>
              </p14:cNvPr>
              <p14:cNvContentPartPr/>
              <p14:nvPr/>
            </p14:nvContentPartPr>
            <p14:xfrm>
              <a:off x="520800" y="558720"/>
              <a:ext cx="9106080" cy="6293280"/>
            </p14:xfrm>
          </p:contentPart>
        </mc:Choice>
        <mc:Fallback>
          <p:pic>
            <p:nvPicPr>
              <p:cNvPr id="8" name="Ink 7">
                <a:extLst>
                  <a:ext uri="{FF2B5EF4-FFF2-40B4-BE49-F238E27FC236}">
                    <a16:creationId xmlns:a16="http://schemas.microsoft.com/office/drawing/2014/main" id="{39D6D076-357C-45DE-9BF6-33CC9FE987C9}"/>
                  </a:ext>
                </a:extLst>
              </p:cNvPr>
              <p:cNvPicPr/>
              <p:nvPr/>
            </p:nvPicPr>
            <p:blipFill>
              <a:blip r:embed="rId4"/>
              <a:stretch>
                <a:fillRect/>
              </a:stretch>
            </p:blipFill>
            <p:spPr>
              <a:xfrm>
                <a:off x="511440" y="549360"/>
                <a:ext cx="9124800" cy="6312000"/>
              </a:xfrm>
              <a:prstGeom prst="rect">
                <a:avLst/>
              </a:prstGeom>
            </p:spPr>
          </p:pic>
        </mc:Fallback>
      </mc:AlternateContent>
    </p:spTree>
    <p:extLst>
      <p:ext uri="{BB962C8B-B14F-4D97-AF65-F5344CB8AC3E}">
        <p14:creationId xmlns:p14="http://schemas.microsoft.com/office/powerpoint/2010/main" val="4271565730"/>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93A03-5898-4C6C-BF44-6F13B753C34B}"/>
              </a:ext>
            </a:extLst>
          </p:cNvPr>
          <p:cNvSpPr>
            <a:spLocks noGrp="1"/>
          </p:cNvSpPr>
          <p:nvPr>
            <p:ph type="title"/>
          </p:nvPr>
        </p:nvSpPr>
        <p:spPr>
          <a:xfrm>
            <a:off x="182880" y="30480"/>
            <a:ext cx="10607040" cy="853440"/>
          </a:xfrm>
        </p:spPr>
        <p:txBody>
          <a:bodyPr/>
          <a:lstStyle/>
          <a:p>
            <a:r>
              <a:rPr lang="en-US" dirty="0"/>
              <a:t>Control Experiment – drug test example</a:t>
            </a:r>
          </a:p>
        </p:txBody>
      </p:sp>
      <p:sp>
        <p:nvSpPr>
          <p:cNvPr id="3" name="Content Placeholder 2">
            <a:extLst>
              <a:ext uri="{FF2B5EF4-FFF2-40B4-BE49-F238E27FC236}">
                <a16:creationId xmlns:a16="http://schemas.microsoft.com/office/drawing/2014/main" id="{B284F41B-5C6B-486A-A6B7-4AF38B491853}"/>
              </a:ext>
            </a:extLst>
          </p:cNvPr>
          <p:cNvSpPr>
            <a:spLocks noGrp="1"/>
          </p:cNvSpPr>
          <p:nvPr>
            <p:ph sz="half" idx="13"/>
          </p:nvPr>
        </p:nvSpPr>
        <p:spPr>
          <a:xfrm>
            <a:off x="307305" y="955319"/>
            <a:ext cx="10607039" cy="4267200"/>
          </a:xfrm>
        </p:spPr>
        <p:txBody>
          <a:bodyPr/>
          <a:lstStyle/>
          <a:p>
            <a:r>
              <a:rPr lang="en-US" dirty="0">
                <a:solidFill>
                  <a:schemeClr val="bg2">
                    <a:lumMod val="50000"/>
                    <a:lumOff val="50000"/>
                  </a:schemeClr>
                </a:solidFill>
              </a:rPr>
              <a:t>If we are studying the effectiveness of a pill, we should also compare it to a placebo. It is often the case that the act of receiving a treatment that a person believe will be beneficial with itself result in a beneficial effect. Regardless of whether the treatment is otherwise effective</a:t>
            </a:r>
          </a:p>
        </p:txBody>
      </p:sp>
      <p:pic>
        <p:nvPicPr>
          <p:cNvPr id="5" name="Picture 4" descr="A picture containing table, indoor, wooden, slice&#10;&#10;Description automatically generated">
            <a:extLst>
              <a:ext uri="{FF2B5EF4-FFF2-40B4-BE49-F238E27FC236}">
                <a16:creationId xmlns:a16="http://schemas.microsoft.com/office/drawing/2014/main" id="{2ABCDDB0-5640-4524-AB37-630EFD094CB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926376" y="2550083"/>
            <a:ext cx="5112576" cy="2875824"/>
          </a:xfrm>
          <a:prstGeom prst="rect">
            <a:avLst/>
          </a:prstGeom>
        </p:spPr>
      </p:pic>
      <p:sp>
        <p:nvSpPr>
          <p:cNvPr id="6" name="TextBox 5">
            <a:extLst>
              <a:ext uri="{FF2B5EF4-FFF2-40B4-BE49-F238E27FC236}">
                <a16:creationId xmlns:a16="http://schemas.microsoft.com/office/drawing/2014/main" id="{DCF10603-437E-4C7A-980F-322B67C14954}"/>
              </a:ext>
            </a:extLst>
          </p:cNvPr>
          <p:cNvSpPr txBox="1"/>
          <p:nvPr/>
        </p:nvSpPr>
        <p:spPr>
          <a:xfrm>
            <a:off x="5463133" y="6994163"/>
            <a:ext cx="6728867" cy="276999"/>
          </a:xfrm>
          <a:prstGeom prst="rect">
            <a:avLst/>
          </a:prstGeom>
          <a:noFill/>
        </p:spPr>
        <p:txBody>
          <a:bodyPr wrap="square" rtlCol="0">
            <a:spAutoFit/>
          </a:bodyPr>
          <a:lstStyle/>
          <a:p>
            <a:pPr defTabSz="1219170" fontAlgn="base">
              <a:spcBef>
                <a:spcPct val="0"/>
              </a:spcBef>
              <a:spcAft>
                <a:spcPct val="0"/>
              </a:spcAft>
            </a:pPr>
            <a:r>
              <a:rPr lang="en-US" sz="1200">
                <a:solidFill>
                  <a:srgbClr val="444444"/>
                </a:solidFill>
                <a:latin typeface="Arial" charset="0"/>
                <a:hlinkClick r:id="rId3" tooltip="http://capitalcurrent.ca/opioid-overdoses-dwarf-covid-19/"/>
              </a:rPr>
              <a:t>This Photo</a:t>
            </a:r>
            <a:r>
              <a:rPr lang="en-US" sz="1200">
                <a:solidFill>
                  <a:srgbClr val="444444"/>
                </a:solidFill>
                <a:latin typeface="Arial" charset="0"/>
              </a:rPr>
              <a:t> by Unknown Author is licensed under </a:t>
            </a:r>
            <a:r>
              <a:rPr lang="en-US" sz="1200">
                <a:solidFill>
                  <a:srgbClr val="444444"/>
                </a:solidFill>
                <a:latin typeface="Arial" charset="0"/>
                <a:hlinkClick r:id="rId4" tooltip="https://creativecommons.org/licenses/by-nc-nd/3.0/"/>
              </a:rPr>
              <a:t>CC BY-NC-ND</a:t>
            </a:r>
            <a:endParaRPr lang="en-US" sz="1200">
              <a:solidFill>
                <a:srgbClr val="444444"/>
              </a:solidFill>
              <a:latin typeface="Arial" charset="0"/>
            </a:endParaRPr>
          </a:p>
        </p:txBody>
      </p:sp>
      <mc:AlternateContent xmlns:mc="http://schemas.openxmlformats.org/markup-compatibility/2006">
        <mc:Choice xmlns:p14="http://schemas.microsoft.com/office/powerpoint/2010/main" Requires="p14">
          <p:contentPart p14:bwMode="auto" r:id="rId5">
            <p14:nvContentPartPr>
              <p14:cNvPr id="7" name="Ink 6">
                <a:extLst>
                  <a:ext uri="{FF2B5EF4-FFF2-40B4-BE49-F238E27FC236}">
                    <a16:creationId xmlns:a16="http://schemas.microsoft.com/office/drawing/2014/main" id="{47AE1968-5105-44A2-B010-2B97EE07EBB9}"/>
                  </a:ext>
                </a:extLst>
              </p14:cNvPr>
              <p14:cNvContentPartPr/>
              <p14:nvPr/>
            </p14:nvContentPartPr>
            <p14:xfrm>
              <a:off x="641280" y="88800"/>
              <a:ext cx="10890720" cy="6763200"/>
            </p14:xfrm>
          </p:contentPart>
        </mc:Choice>
        <mc:Fallback>
          <p:pic>
            <p:nvPicPr>
              <p:cNvPr id="7" name="Ink 6">
                <a:extLst>
                  <a:ext uri="{FF2B5EF4-FFF2-40B4-BE49-F238E27FC236}">
                    <a16:creationId xmlns:a16="http://schemas.microsoft.com/office/drawing/2014/main" id="{47AE1968-5105-44A2-B010-2B97EE07EBB9}"/>
                  </a:ext>
                </a:extLst>
              </p:cNvPr>
              <p:cNvPicPr/>
              <p:nvPr/>
            </p:nvPicPr>
            <p:blipFill>
              <a:blip r:embed="rId6"/>
              <a:stretch>
                <a:fillRect/>
              </a:stretch>
            </p:blipFill>
            <p:spPr>
              <a:xfrm>
                <a:off x="631920" y="79440"/>
                <a:ext cx="10909440" cy="6781921"/>
              </a:xfrm>
              <a:prstGeom prst="rect">
                <a:avLst/>
              </a:prstGeom>
            </p:spPr>
          </p:pic>
        </mc:Fallback>
      </mc:AlternateContent>
    </p:spTree>
    <p:extLst>
      <p:ext uri="{BB962C8B-B14F-4D97-AF65-F5344CB8AC3E}">
        <p14:creationId xmlns:p14="http://schemas.microsoft.com/office/powerpoint/2010/main" val="4145885228"/>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10BFA-B9A1-46D8-8A38-A0F4A1088A5A}"/>
              </a:ext>
            </a:extLst>
          </p:cNvPr>
          <p:cNvSpPr>
            <a:spLocks noGrp="1"/>
          </p:cNvSpPr>
          <p:nvPr>
            <p:ph type="title"/>
          </p:nvPr>
        </p:nvSpPr>
        <p:spPr>
          <a:xfrm>
            <a:off x="90185" y="145397"/>
            <a:ext cx="10607040" cy="853440"/>
          </a:xfrm>
        </p:spPr>
        <p:txBody>
          <a:bodyPr/>
          <a:lstStyle/>
          <a:p>
            <a:r>
              <a:rPr lang="en-US" dirty="0"/>
              <a:t>Controlled Experiment</a:t>
            </a:r>
          </a:p>
        </p:txBody>
      </p:sp>
      <p:sp>
        <p:nvSpPr>
          <p:cNvPr id="3" name="Content Placeholder 2">
            <a:extLst>
              <a:ext uri="{FF2B5EF4-FFF2-40B4-BE49-F238E27FC236}">
                <a16:creationId xmlns:a16="http://schemas.microsoft.com/office/drawing/2014/main" id="{8DB84CCF-42DD-4079-ADB2-9916B5BABF84}"/>
              </a:ext>
            </a:extLst>
          </p:cNvPr>
          <p:cNvSpPr>
            <a:spLocks noGrp="1"/>
          </p:cNvSpPr>
          <p:nvPr>
            <p:ph sz="half" idx="13"/>
          </p:nvPr>
        </p:nvSpPr>
        <p:spPr>
          <a:xfrm>
            <a:off x="90186" y="1172436"/>
            <a:ext cx="11358601" cy="4267200"/>
          </a:xfrm>
        </p:spPr>
        <p:txBody>
          <a:bodyPr/>
          <a:lstStyle/>
          <a:p>
            <a:r>
              <a:rPr lang="en-US" dirty="0">
                <a:solidFill>
                  <a:schemeClr val="bg2">
                    <a:lumMod val="50000"/>
                    <a:lumOff val="50000"/>
                  </a:schemeClr>
                </a:solidFill>
              </a:rPr>
              <a:t>In a controlled experiment, we can be reasonably comfortable inferring that the treatment applied to one group but not to the other caused whatever difference we observe between the two</a:t>
            </a:r>
          </a:p>
          <a:p>
            <a:r>
              <a:rPr lang="en-US" dirty="0">
                <a:solidFill>
                  <a:schemeClr val="bg2">
                    <a:lumMod val="50000"/>
                    <a:lumOff val="50000"/>
                  </a:schemeClr>
                </a:solidFill>
              </a:rPr>
              <a:t>But other we must remember that correlation does not imply causation </a:t>
            </a:r>
          </a:p>
          <a:p>
            <a:r>
              <a:rPr lang="en-US" dirty="0">
                <a:solidFill>
                  <a:schemeClr val="bg2">
                    <a:lumMod val="50000"/>
                    <a:lumOff val="50000"/>
                  </a:schemeClr>
                </a:solidFill>
              </a:rPr>
              <a:t>Variables are correlated if they “move together”, </a:t>
            </a:r>
            <a:r>
              <a:rPr lang="en-US" dirty="0" err="1">
                <a:solidFill>
                  <a:schemeClr val="bg2">
                    <a:lumMod val="50000"/>
                    <a:lumOff val="50000"/>
                  </a:schemeClr>
                </a:solidFill>
              </a:rPr>
              <a:t>i.e</a:t>
            </a:r>
            <a:r>
              <a:rPr lang="en-US" dirty="0">
                <a:solidFill>
                  <a:schemeClr val="bg2">
                    <a:lumMod val="50000"/>
                    <a:lumOff val="50000"/>
                  </a:schemeClr>
                </a:solidFill>
              </a:rPr>
              <a:t> when one variable changes the other one trends to change as well</a:t>
            </a:r>
          </a:p>
          <a:p>
            <a:r>
              <a:rPr lang="en-US" b="1" dirty="0">
                <a:solidFill>
                  <a:schemeClr val="bg2">
                    <a:lumMod val="50000"/>
                    <a:lumOff val="50000"/>
                  </a:schemeClr>
                </a:solidFill>
              </a:rPr>
              <a:t>Ex : </a:t>
            </a:r>
          </a:p>
          <a:p>
            <a:pPr lvl="1"/>
            <a:r>
              <a:rPr lang="en-US" dirty="0">
                <a:solidFill>
                  <a:schemeClr val="bg2">
                    <a:lumMod val="50000"/>
                    <a:lumOff val="50000"/>
                  </a:schemeClr>
                </a:solidFill>
              </a:rPr>
              <a:t>Temp is related to the time of the day</a:t>
            </a:r>
          </a:p>
          <a:p>
            <a:pPr lvl="1"/>
            <a:r>
              <a:rPr lang="en-US" dirty="0">
                <a:solidFill>
                  <a:schemeClr val="bg2">
                    <a:lumMod val="50000"/>
                    <a:lumOff val="50000"/>
                  </a:schemeClr>
                </a:solidFill>
              </a:rPr>
              <a:t>Human height correlated to human weight</a:t>
            </a:r>
          </a:p>
        </p:txBody>
      </p:sp>
      <p:sp>
        <p:nvSpPr>
          <p:cNvPr id="5" name="TextBox 4">
            <a:extLst>
              <a:ext uri="{FF2B5EF4-FFF2-40B4-BE49-F238E27FC236}">
                <a16:creationId xmlns:a16="http://schemas.microsoft.com/office/drawing/2014/main" id="{5CEE9E77-FE13-4C40-8BC2-E1D5843FD82C}"/>
              </a:ext>
            </a:extLst>
          </p:cNvPr>
          <p:cNvSpPr txBox="1"/>
          <p:nvPr/>
        </p:nvSpPr>
        <p:spPr>
          <a:xfrm>
            <a:off x="90185" y="4454751"/>
            <a:ext cx="11776075" cy="666977"/>
          </a:xfrm>
          <a:prstGeom prst="rect">
            <a:avLst/>
          </a:prstGeom>
          <a:noFill/>
        </p:spPr>
        <p:txBody>
          <a:bodyPr wrap="square" rtlCol="0">
            <a:spAutoFit/>
          </a:bodyPr>
          <a:lstStyle/>
          <a:p>
            <a:pPr defTabSz="1219170" fontAlgn="base">
              <a:buClr>
                <a:srgbClr val="007DB8"/>
              </a:buClr>
            </a:pPr>
            <a:r>
              <a:rPr lang="en-US" sz="1867" dirty="0">
                <a:solidFill>
                  <a:srgbClr val="000000">
                    <a:lumMod val="50000"/>
                    <a:lumOff val="50000"/>
                  </a:srgbClr>
                </a:solidFill>
                <a:latin typeface="Arial"/>
              </a:rPr>
              <a:t>When height increase human weight increase. When one variable change the other variable also changes. It can increase or decrease. Hence, I am using the word changes, this is called as correlation</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411A8951-BF3E-477D-812D-9475EAB0D756}"/>
                  </a:ext>
                </a:extLst>
              </p14:cNvPr>
              <p14:cNvContentPartPr/>
              <p14:nvPr/>
            </p14:nvContentPartPr>
            <p14:xfrm>
              <a:off x="495360" y="425280"/>
              <a:ext cx="11176320" cy="5868000"/>
            </p14:xfrm>
          </p:contentPart>
        </mc:Choice>
        <mc:Fallback>
          <p:pic>
            <p:nvPicPr>
              <p:cNvPr id="4" name="Ink 3">
                <a:extLst>
                  <a:ext uri="{FF2B5EF4-FFF2-40B4-BE49-F238E27FC236}">
                    <a16:creationId xmlns:a16="http://schemas.microsoft.com/office/drawing/2014/main" id="{411A8951-BF3E-477D-812D-9475EAB0D756}"/>
                  </a:ext>
                </a:extLst>
              </p:cNvPr>
              <p:cNvPicPr/>
              <p:nvPr/>
            </p:nvPicPr>
            <p:blipFill>
              <a:blip r:embed="rId3"/>
              <a:stretch>
                <a:fillRect/>
              </a:stretch>
            </p:blipFill>
            <p:spPr>
              <a:xfrm>
                <a:off x="486000" y="415920"/>
                <a:ext cx="11195040" cy="5886720"/>
              </a:xfrm>
              <a:prstGeom prst="rect">
                <a:avLst/>
              </a:prstGeom>
            </p:spPr>
          </p:pic>
        </mc:Fallback>
      </mc:AlternateContent>
    </p:spTree>
    <p:extLst>
      <p:ext uri="{BB962C8B-B14F-4D97-AF65-F5344CB8AC3E}">
        <p14:creationId xmlns:p14="http://schemas.microsoft.com/office/powerpoint/2010/main" val="2719943119"/>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40426-E2C8-4003-8D16-72F1439DEA50}"/>
              </a:ext>
            </a:extLst>
          </p:cNvPr>
          <p:cNvSpPr>
            <a:spLocks noGrp="1"/>
          </p:cNvSpPr>
          <p:nvPr>
            <p:ph type="title"/>
          </p:nvPr>
        </p:nvSpPr>
        <p:spPr>
          <a:xfrm>
            <a:off x="182880" y="139149"/>
            <a:ext cx="10607040" cy="853440"/>
          </a:xfrm>
        </p:spPr>
        <p:txBody>
          <a:bodyPr/>
          <a:lstStyle/>
          <a:p>
            <a:r>
              <a:rPr lang="en-US" dirty="0"/>
              <a:t>Correlation and Causation</a:t>
            </a:r>
          </a:p>
        </p:txBody>
      </p:sp>
      <p:sp>
        <p:nvSpPr>
          <p:cNvPr id="3" name="Content Placeholder 2">
            <a:extLst>
              <a:ext uri="{FF2B5EF4-FFF2-40B4-BE49-F238E27FC236}">
                <a16:creationId xmlns:a16="http://schemas.microsoft.com/office/drawing/2014/main" id="{56A6245D-E2DD-4B22-B2B2-507AB068A965}"/>
              </a:ext>
            </a:extLst>
          </p:cNvPr>
          <p:cNvSpPr>
            <a:spLocks noGrp="1"/>
          </p:cNvSpPr>
          <p:nvPr>
            <p:ph sz="half" idx="13"/>
          </p:nvPr>
        </p:nvSpPr>
        <p:spPr>
          <a:xfrm>
            <a:off x="182880" y="1081341"/>
            <a:ext cx="10979315" cy="4267200"/>
          </a:xfrm>
        </p:spPr>
        <p:txBody>
          <a:bodyPr/>
          <a:lstStyle/>
          <a:p>
            <a:r>
              <a:rPr lang="en-US" dirty="0">
                <a:solidFill>
                  <a:schemeClr val="bg2">
                    <a:lumMod val="50000"/>
                    <a:lumOff val="50000"/>
                  </a:schemeClr>
                </a:solidFill>
              </a:rPr>
              <a:t>If changing one variable caused a change in another, they will be correlated. But the converse is not necessarily true</a:t>
            </a:r>
          </a:p>
          <a:p>
            <a:r>
              <a:rPr lang="en-US" dirty="0">
                <a:solidFill>
                  <a:schemeClr val="bg2">
                    <a:lumMod val="50000"/>
                    <a:lumOff val="50000"/>
                  </a:schemeClr>
                </a:solidFill>
              </a:rPr>
              <a:t>If two variable are correlated, it is not necessarily the case that one has caused the other to change</a:t>
            </a:r>
          </a:p>
          <a:p>
            <a:r>
              <a:rPr lang="en-US" dirty="0">
                <a:solidFill>
                  <a:schemeClr val="bg2">
                    <a:lumMod val="50000"/>
                    <a:lumOff val="50000"/>
                  </a:schemeClr>
                </a:solidFill>
              </a:rPr>
              <a:t>For instance, Marriage &amp; Income</a:t>
            </a:r>
          </a:p>
          <a:p>
            <a:pPr lvl="1"/>
            <a:r>
              <a:rPr lang="en-US" dirty="0">
                <a:solidFill>
                  <a:schemeClr val="bg2">
                    <a:lumMod val="50000"/>
                    <a:lumOff val="50000"/>
                  </a:schemeClr>
                </a:solidFill>
              </a:rPr>
              <a:t>It is said that people who are married make more money, But is it not true that more money can get people married </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ADA7D511-395E-41DF-BDC3-3C9EAFC30B5D}"/>
                  </a:ext>
                </a:extLst>
              </p14:cNvPr>
              <p14:cNvContentPartPr/>
              <p14:nvPr/>
            </p14:nvContentPartPr>
            <p14:xfrm>
              <a:off x="177600" y="31680"/>
              <a:ext cx="11976960" cy="6509280"/>
            </p14:xfrm>
          </p:contentPart>
        </mc:Choice>
        <mc:Fallback>
          <p:pic>
            <p:nvPicPr>
              <p:cNvPr id="4" name="Ink 3">
                <a:extLst>
                  <a:ext uri="{FF2B5EF4-FFF2-40B4-BE49-F238E27FC236}">
                    <a16:creationId xmlns:a16="http://schemas.microsoft.com/office/drawing/2014/main" id="{ADA7D511-395E-41DF-BDC3-3C9EAFC30B5D}"/>
                  </a:ext>
                </a:extLst>
              </p:cNvPr>
              <p:cNvPicPr/>
              <p:nvPr/>
            </p:nvPicPr>
            <p:blipFill>
              <a:blip r:embed="rId3"/>
              <a:stretch>
                <a:fillRect/>
              </a:stretch>
            </p:blipFill>
            <p:spPr>
              <a:xfrm>
                <a:off x="168240" y="22320"/>
                <a:ext cx="11995680" cy="6528000"/>
              </a:xfrm>
              <a:prstGeom prst="rect">
                <a:avLst/>
              </a:prstGeom>
            </p:spPr>
          </p:pic>
        </mc:Fallback>
      </mc:AlternateContent>
    </p:spTree>
    <p:extLst>
      <p:ext uri="{BB962C8B-B14F-4D97-AF65-F5344CB8AC3E}">
        <p14:creationId xmlns:p14="http://schemas.microsoft.com/office/powerpoint/2010/main" val="3561234959"/>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C837C-ACCC-4FC8-BB8D-6A764353E397}"/>
              </a:ext>
            </a:extLst>
          </p:cNvPr>
          <p:cNvSpPr>
            <a:spLocks noGrp="1"/>
          </p:cNvSpPr>
          <p:nvPr>
            <p:ph type="title"/>
          </p:nvPr>
        </p:nvSpPr>
        <p:spPr>
          <a:xfrm>
            <a:off x="0" y="0"/>
            <a:ext cx="10607040" cy="853440"/>
          </a:xfrm>
        </p:spPr>
        <p:txBody>
          <a:bodyPr/>
          <a:lstStyle/>
          <a:p>
            <a:r>
              <a:rPr lang="en-US" dirty="0"/>
              <a:t>Confounding Variable</a:t>
            </a:r>
          </a:p>
        </p:txBody>
      </p:sp>
      <p:sp>
        <p:nvSpPr>
          <p:cNvPr id="3" name="Content Placeholder 2">
            <a:extLst>
              <a:ext uri="{FF2B5EF4-FFF2-40B4-BE49-F238E27FC236}">
                <a16:creationId xmlns:a16="http://schemas.microsoft.com/office/drawing/2014/main" id="{3E01CF73-0B6D-4BB3-8A14-4D46D9C0DF3D}"/>
              </a:ext>
            </a:extLst>
          </p:cNvPr>
          <p:cNvSpPr>
            <a:spLocks noGrp="1"/>
          </p:cNvSpPr>
          <p:nvPr>
            <p:ph sz="half" idx="13"/>
          </p:nvPr>
        </p:nvSpPr>
        <p:spPr>
          <a:xfrm>
            <a:off x="182880" y="853441"/>
            <a:ext cx="11224085" cy="2134065"/>
          </a:xfrm>
        </p:spPr>
        <p:txBody>
          <a:bodyPr>
            <a:normAutofit/>
          </a:bodyPr>
          <a:lstStyle/>
          <a:p>
            <a:r>
              <a:rPr lang="en-US" sz="1600" kern="1200" dirty="0">
                <a:solidFill>
                  <a:schemeClr val="bg2">
                    <a:lumMod val="50000"/>
                    <a:lumOff val="50000"/>
                  </a:schemeClr>
                </a:solidFill>
                <a:latin typeface="+mn-lt"/>
                <a:ea typeface="+mn-ea"/>
                <a:cs typeface="+mn-cs"/>
              </a:rPr>
              <a:t>Confounding variables (a.k.a. confounders or confounding factors) are a type of extraneous variable that are related to a study’s independent and dependent variables. A variable must meet two conditions to be a confounder:</a:t>
            </a:r>
          </a:p>
          <a:p>
            <a:pPr lvl="1"/>
            <a:r>
              <a:rPr lang="en-US" kern="1200" dirty="0">
                <a:solidFill>
                  <a:schemeClr val="bg2">
                    <a:lumMod val="50000"/>
                    <a:lumOff val="50000"/>
                  </a:schemeClr>
                </a:solidFill>
                <a:latin typeface="+mn-lt"/>
                <a:ea typeface="+mn-ea"/>
                <a:cs typeface="+mn-cs"/>
              </a:rPr>
              <a:t>It must be correlated with the independent variable. This may be a causal relationship, but it does not have to be.</a:t>
            </a:r>
          </a:p>
          <a:p>
            <a:pPr lvl="1"/>
            <a:r>
              <a:rPr lang="en-US" kern="1200" dirty="0">
                <a:solidFill>
                  <a:schemeClr val="bg2">
                    <a:lumMod val="50000"/>
                    <a:lumOff val="50000"/>
                  </a:schemeClr>
                </a:solidFill>
                <a:latin typeface="+mn-lt"/>
                <a:ea typeface="+mn-ea"/>
                <a:cs typeface="+mn-cs"/>
              </a:rPr>
              <a:t>It must be causally related to the dependent variable.</a:t>
            </a:r>
          </a:p>
          <a:p>
            <a:r>
              <a:rPr lang="en-US" sz="1600" kern="1200" dirty="0">
                <a:solidFill>
                  <a:schemeClr val="bg2">
                    <a:lumMod val="50000"/>
                    <a:lumOff val="50000"/>
                  </a:schemeClr>
                </a:solidFill>
                <a:latin typeface="+mn-lt"/>
                <a:ea typeface="+mn-ea"/>
                <a:cs typeface="+mn-cs"/>
              </a:rPr>
              <a:t>A variable that hides the true effect of another variable in your experiment. This can happen when another variable is closely related to a variable you are interested in, but you haven’t controlled it in your experiment.</a:t>
            </a:r>
          </a:p>
        </p:txBody>
      </p:sp>
      <p:sp>
        <p:nvSpPr>
          <p:cNvPr id="5" name="Rectangle 4">
            <a:extLst>
              <a:ext uri="{FF2B5EF4-FFF2-40B4-BE49-F238E27FC236}">
                <a16:creationId xmlns:a16="http://schemas.microsoft.com/office/drawing/2014/main" id="{05419016-60B7-41A0-8339-FA52456F977A}"/>
              </a:ext>
            </a:extLst>
          </p:cNvPr>
          <p:cNvSpPr/>
          <p:nvPr/>
        </p:nvSpPr>
        <p:spPr>
          <a:xfrm>
            <a:off x="182880" y="2846741"/>
            <a:ext cx="11224085" cy="1023756"/>
          </a:xfrm>
          <a:prstGeom prst="rect">
            <a:avLst/>
          </a:prstGeom>
          <a:solidFill>
            <a:schemeClr val="tx1">
              <a:lumMod val="20000"/>
              <a:lumOff val="80000"/>
            </a:schemeClr>
          </a:solidFill>
          <a:ln w="12700" cmpd="sng">
            <a:noFill/>
          </a:ln>
          <a:effectLst/>
        </p:spPr>
        <p:txBody>
          <a:bodyPr wrap="square" lIns="243840" tIns="182880" rIns="182880" bIns="182880" rtlCol="0" anchor="ctr">
            <a:noAutofit/>
          </a:bodyPr>
          <a:lstStyle/>
          <a:p>
            <a:pPr defTabSz="1219170" fontAlgn="base">
              <a:lnSpc>
                <a:spcPct val="90000"/>
              </a:lnSpc>
              <a:spcBef>
                <a:spcPts val="800"/>
              </a:spcBef>
            </a:pPr>
            <a:r>
              <a:rPr lang="en-US" sz="1600" dirty="0">
                <a:solidFill>
                  <a:srgbClr val="444444"/>
                </a:solidFill>
                <a:latin typeface="Arial"/>
              </a:rPr>
              <a:t>You collect data on sunburns and ice cream consumption. You find that higher ice cream consumption is associated with a higher probability of sunburn. Does that mean ice cream consumption causes sunburn?</a:t>
            </a:r>
          </a:p>
          <a:p>
            <a:pPr defTabSz="1219170" fontAlgn="base">
              <a:lnSpc>
                <a:spcPct val="90000"/>
              </a:lnSpc>
              <a:spcBef>
                <a:spcPts val="800"/>
              </a:spcBef>
            </a:pPr>
            <a:r>
              <a:rPr lang="en-US" sz="1600" dirty="0">
                <a:solidFill>
                  <a:srgbClr val="444444"/>
                </a:solidFill>
                <a:latin typeface="Arial"/>
              </a:rPr>
              <a:t>Here, the confounding variable is temperature: hot temperatures cause people to both eat more ice cream and spend more time outdoors under the sun, resulting in more sunburns.</a:t>
            </a:r>
          </a:p>
        </p:txBody>
      </p:sp>
      <p:sp>
        <p:nvSpPr>
          <p:cNvPr id="6" name="Rectangle 5">
            <a:extLst>
              <a:ext uri="{FF2B5EF4-FFF2-40B4-BE49-F238E27FC236}">
                <a16:creationId xmlns:a16="http://schemas.microsoft.com/office/drawing/2014/main" id="{3D92DDC2-8FCD-45ED-B27B-D1857B405C77}"/>
              </a:ext>
            </a:extLst>
          </p:cNvPr>
          <p:cNvSpPr/>
          <p:nvPr/>
        </p:nvSpPr>
        <p:spPr>
          <a:xfrm>
            <a:off x="182880" y="2846742"/>
            <a:ext cx="180088" cy="1005141"/>
          </a:xfrm>
          <a:prstGeom prst="rect">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endParaRPr lang="en-US" sz="2667" dirty="0" err="1">
              <a:solidFill>
                <a:srgbClr val="FFFFFF"/>
              </a:solidFill>
              <a:latin typeface="Arial"/>
            </a:endParaRPr>
          </a:p>
        </p:txBody>
      </p:sp>
      <p:pic>
        <p:nvPicPr>
          <p:cNvPr id="8" name="Picture 7">
            <a:extLst>
              <a:ext uri="{FF2B5EF4-FFF2-40B4-BE49-F238E27FC236}">
                <a16:creationId xmlns:a16="http://schemas.microsoft.com/office/drawing/2014/main" id="{E6C9A3F4-824D-4ACA-A39D-E5D996A7F2E9}"/>
              </a:ext>
            </a:extLst>
          </p:cNvPr>
          <p:cNvPicPr>
            <a:picLocks noChangeAspect="1"/>
          </p:cNvPicPr>
          <p:nvPr/>
        </p:nvPicPr>
        <p:blipFill>
          <a:blip r:embed="rId2"/>
          <a:stretch>
            <a:fillRect/>
          </a:stretch>
        </p:blipFill>
        <p:spPr>
          <a:xfrm>
            <a:off x="2597634" y="3870496"/>
            <a:ext cx="6011220" cy="2980107"/>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7784390E-9D82-4DA7-8C6E-D56AEC54BB4A}"/>
                  </a:ext>
                </a:extLst>
              </p14:cNvPr>
              <p14:cNvContentPartPr/>
              <p14:nvPr/>
            </p14:nvContentPartPr>
            <p14:xfrm>
              <a:off x="482400" y="95040"/>
              <a:ext cx="8966880" cy="6426720"/>
            </p14:xfrm>
          </p:contentPart>
        </mc:Choice>
        <mc:Fallback>
          <p:pic>
            <p:nvPicPr>
              <p:cNvPr id="4" name="Ink 3">
                <a:extLst>
                  <a:ext uri="{FF2B5EF4-FFF2-40B4-BE49-F238E27FC236}">
                    <a16:creationId xmlns:a16="http://schemas.microsoft.com/office/drawing/2014/main" id="{7784390E-9D82-4DA7-8C6E-D56AEC54BB4A}"/>
                  </a:ext>
                </a:extLst>
              </p:cNvPr>
              <p:cNvPicPr/>
              <p:nvPr/>
            </p:nvPicPr>
            <p:blipFill>
              <a:blip r:embed="rId4"/>
              <a:stretch>
                <a:fillRect/>
              </a:stretch>
            </p:blipFill>
            <p:spPr>
              <a:xfrm>
                <a:off x="473040" y="85680"/>
                <a:ext cx="8985600" cy="6445440"/>
              </a:xfrm>
              <a:prstGeom prst="rect">
                <a:avLst/>
              </a:prstGeom>
            </p:spPr>
          </p:pic>
        </mc:Fallback>
      </mc:AlternateContent>
    </p:spTree>
    <p:extLst>
      <p:ext uri="{BB962C8B-B14F-4D97-AF65-F5344CB8AC3E}">
        <p14:creationId xmlns:p14="http://schemas.microsoft.com/office/powerpoint/2010/main" val="1334523387"/>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E2CF5-7F0B-4C91-B3F0-3D73FE55E935}"/>
              </a:ext>
            </a:extLst>
          </p:cNvPr>
          <p:cNvSpPr>
            <a:spLocks noGrp="1"/>
          </p:cNvSpPr>
          <p:nvPr>
            <p:ph type="title"/>
          </p:nvPr>
        </p:nvSpPr>
        <p:spPr/>
        <p:txBody>
          <a:bodyPr/>
          <a:lstStyle/>
          <a:p>
            <a:r>
              <a:rPr lang="en-US" dirty="0"/>
              <a:t>Some examples of how statistics shape our life</a:t>
            </a:r>
          </a:p>
        </p:txBody>
      </p:sp>
      <p:sp>
        <p:nvSpPr>
          <p:cNvPr id="3" name="Content Placeholder 2">
            <a:extLst>
              <a:ext uri="{FF2B5EF4-FFF2-40B4-BE49-F238E27FC236}">
                <a16:creationId xmlns:a16="http://schemas.microsoft.com/office/drawing/2014/main" id="{0E6F2195-EBAF-4B7F-9882-86101EF6A643}"/>
              </a:ext>
            </a:extLst>
          </p:cNvPr>
          <p:cNvSpPr>
            <a:spLocks noGrp="1"/>
          </p:cNvSpPr>
          <p:nvPr>
            <p:ph sz="half" idx="1"/>
          </p:nvPr>
        </p:nvSpPr>
        <p:spPr>
          <a:xfrm>
            <a:off x="365759" y="1422956"/>
            <a:ext cx="10565848" cy="4267200"/>
          </a:xfrm>
        </p:spPr>
        <p:txBody>
          <a:bodyPr/>
          <a:lstStyle/>
          <a:p>
            <a:r>
              <a:rPr lang="en-US" dirty="0">
                <a:solidFill>
                  <a:schemeClr val="bg2">
                    <a:lumMod val="50000"/>
                    <a:lumOff val="50000"/>
                  </a:schemeClr>
                </a:solidFill>
              </a:rPr>
              <a:t>Weather Forecast</a:t>
            </a:r>
          </a:p>
          <a:p>
            <a:r>
              <a:rPr lang="en-US" dirty="0">
                <a:solidFill>
                  <a:schemeClr val="bg2">
                    <a:lumMod val="50000"/>
                    <a:lumOff val="50000"/>
                  </a:schemeClr>
                </a:solidFill>
              </a:rPr>
              <a:t>Stock Markets</a:t>
            </a:r>
          </a:p>
          <a:p>
            <a:r>
              <a:rPr lang="en-US" dirty="0">
                <a:solidFill>
                  <a:schemeClr val="bg2">
                    <a:lumMod val="50000"/>
                    <a:lumOff val="50000"/>
                  </a:schemeClr>
                </a:solidFill>
              </a:rPr>
              <a:t>Predicting emergencies</a:t>
            </a:r>
          </a:p>
          <a:p>
            <a:r>
              <a:rPr lang="en-US" dirty="0">
                <a:solidFill>
                  <a:schemeClr val="bg2">
                    <a:lumMod val="50000"/>
                    <a:lumOff val="50000"/>
                  </a:schemeClr>
                </a:solidFill>
              </a:rPr>
              <a:t>Political Campaigns</a:t>
            </a:r>
          </a:p>
          <a:p>
            <a:r>
              <a:rPr lang="en-US" dirty="0">
                <a:solidFill>
                  <a:schemeClr val="bg2">
                    <a:lumMod val="50000"/>
                    <a:lumOff val="50000"/>
                  </a:schemeClr>
                </a:solidFill>
              </a:rPr>
              <a:t>Insurance</a:t>
            </a:r>
          </a:p>
          <a:p>
            <a:r>
              <a:rPr lang="en-US" dirty="0">
                <a:solidFill>
                  <a:schemeClr val="bg2">
                    <a:lumMod val="50000"/>
                    <a:lumOff val="50000"/>
                  </a:schemeClr>
                </a:solidFill>
              </a:rPr>
              <a:t>Medical Studies</a:t>
            </a:r>
          </a:p>
          <a:p>
            <a:r>
              <a:rPr lang="en-US" dirty="0">
                <a:solidFill>
                  <a:schemeClr val="bg2">
                    <a:lumMod val="50000"/>
                    <a:lumOff val="50000"/>
                  </a:schemeClr>
                </a:solidFill>
              </a:rPr>
              <a:t>Genetics</a:t>
            </a:r>
          </a:p>
          <a:p>
            <a:endParaRPr lang="en-US" dirty="0"/>
          </a:p>
          <a:p>
            <a:endParaRPr lang="en-US" dirty="0"/>
          </a:p>
        </p:txBody>
      </p:sp>
      <p:pic>
        <p:nvPicPr>
          <p:cNvPr id="5" name="Picture 4" descr="A picture containing outdoor, wave, water, nature&#10;&#10;Description automatically generated">
            <a:extLst>
              <a:ext uri="{FF2B5EF4-FFF2-40B4-BE49-F238E27FC236}">
                <a16:creationId xmlns:a16="http://schemas.microsoft.com/office/drawing/2014/main" id="{037C017C-AD27-419E-8BA5-40FE9B8B164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77481" y="1400888"/>
            <a:ext cx="2451969" cy="2451969"/>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FC3D719A-FC4D-4456-B226-363C83621C3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8829449" y="3190022"/>
            <a:ext cx="2997896" cy="1524711"/>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742977D8-6CEA-45C9-9BFF-C1A34B9D06F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964553" y="1400887"/>
            <a:ext cx="2683703" cy="1789135"/>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8D16ED9-0F12-4F5A-8975-608CF107F8E1}"/>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6377481" y="4059858"/>
            <a:ext cx="1980903" cy="2245653"/>
          </a:xfrm>
          <a:prstGeom prst="rect">
            <a:avLst/>
          </a:prstGeom>
        </p:spPr>
      </p:pic>
      <p:pic>
        <p:nvPicPr>
          <p:cNvPr id="16" name="Picture 15" descr="A picture containing sky, outdoor, people, tarmac&#10;&#10;Description automatically generated">
            <a:extLst>
              <a:ext uri="{FF2B5EF4-FFF2-40B4-BE49-F238E27FC236}">
                <a16:creationId xmlns:a16="http://schemas.microsoft.com/office/drawing/2014/main" id="{C1AA6E6E-6CBC-428E-8B65-5E4D26ECFE59}"/>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8476710" y="4714732"/>
            <a:ext cx="2333641" cy="1558043"/>
          </a:xfrm>
          <a:prstGeom prst="rect">
            <a:avLst/>
          </a:prstGeom>
        </p:spPr>
      </p:pic>
    </p:spTree>
    <p:extLst>
      <p:ext uri="{BB962C8B-B14F-4D97-AF65-F5344CB8AC3E}">
        <p14:creationId xmlns:p14="http://schemas.microsoft.com/office/powerpoint/2010/main" val="2470375232"/>
      </p:ext>
    </p:extLst>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D70DB-7CD4-42FE-987B-CA260299C227}"/>
              </a:ext>
            </a:extLst>
          </p:cNvPr>
          <p:cNvSpPr>
            <a:spLocks noGrp="1"/>
          </p:cNvSpPr>
          <p:nvPr>
            <p:ph type="title"/>
          </p:nvPr>
        </p:nvSpPr>
        <p:spPr>
          <a:xfrm>
            <a:off x="0" y="0"/>
            <a:ext cx="10607040" cy="853440"/>
          </a:xfrm>
        </p:spPr>
        <p:txBody>
          <a:bodyPr/>
          <a:lstStyle/>
          <a:p>
            <a:r>
              <a:rPr lang="en-US" dirty="0"/>
              <a:t>Confounding variable – another example</a:t>
            </a:r>
          </a:p>
        </p:txBody>
      </p:sp>
      <p:pic>
        <p:nvPicPr>
          <p:cNvPr id="6" name="Picture 5">
            <a:extLst>
              <a:ext uri="{FF2B5EF4-FFF2-40B4-BE49-F238E27FC236}">
                <a16:creationId xmlns:a16="http://schemas.microsoft.com/office/drawing/2014/main" id="{9FEF74AE-492F-4044-AB48-F898E20FD7C4}"/>
              </a:ext>
            </a:extLst>
          </p:cNvPr>
          <p:cNvPicPr>
            <a:picLocks noChangeAspect="1"/>
          </p:cNvPicPr>
          <p:nvPr/>
        </p:nvPicPr>
        <p:blipFill>
          <a:blip r:embed="rId2"/>
          <a:stretch>
            <a:fillRect/>
          </a:stretch>
        </p:blipFill>
        <p:spPr>
          <a:xfrm>
            <a:off x="2370731" y="3494771"/>
            <a:ext cx="5977532" cy="3187320"/>
          </a:xfrm>
          <a:prstGeom prst="rect">
            <a:avLst/>
          </a:prstGeom>
        </p:spPr>
      </p:pic>
      <p:pic>
        <p:nvPicPr>
          <p:cNvPr id="8" name="Picture 7">
            <a:extLst>
              <a:ext uri="{FF2B5EF4-FFF2-40B4-BE49-F238E27FC236}">
                <a16:creationId xmlns:a16="http://schemas.microsoft.com/office/drawing/2014/main" id="{9CB35E85-EAE6-4AF3-81B5-25A0F95A4565}"/>
              </a:ext>
            </a:extLst>
          </p:cNvPr>
          <p:cNvPicPr>
            <a:picLocks noChangeAspect="1"/>
          </p:cNvPicPr>
          <p:nvPr/>
        </p:nvPicPr>
        <p:blipFill>
          <a:blip r:embed="rId3"/>
          <a:stretch>
            <a:fillRect/>
          </a:stretch>
        </p:blipFill>
        <p:spPr>
          <a:xfrm>
            <a:off x="1740385" y="850268"/>
            <a:ext cx="7429500" cy="914400"/>
          </a:xfrm>
          <a:prstGeom prst="rect">
            <a:avLst/>
          </a:prstGeom>
        </p:spPr>
      </p:pic>
      <p:sp>
        <p:nvSpPr>
          <p:cNvPr id="9" name="TextBox 8">
            <a:extLst>
              <a:ext uri="{FF2B5EF4-FFF2-40B4-BE49-F238E27FC236}">
                <a16:creationId xmlns:a16="http://schemas.microsoft.com/office/drawing/2014/main" id="{F454474E-454D-495E-BF3A-33238FDCC41B}"/>
              </a:ext>
            </a:extLst>
          </p:cNvPr>
          <p:cNvSpPr txBox="1"/>
          <p:nvPr/>
        </p:nvSpPr>
        <p:spPr>
          <a:xfrm>
            <a:off x="1" y="1761496"/>
            <a:ext cx="12126852" cy="1384995"/>
          </a:xfrm>
          <a:prstGeom prst="rect">
            <a:avLst/>
          </a:prstGeom>
          <a:noFill/>
        </p:spPr>
        <p:txBody>
          <a:bodyPr wrap="square" rtlCol="0">
            <a:spAutoFit/>
          </a:bodyPr>
          <a:lstStyle/>
          <a:p>
            <a:pPr marL="228594" indent="-228594" defTabSz="1219170" fontAlgn="base">
              <a:buClr>
                <a:srgbClr val="007DB8"/>
              </a:buClr>
              <a:buFont typeface="Arial" panose="020B0604020202020204" pitchFamily="34" charset="0"/>
              <a:buChar char="•"/>
            </a:pPr>
            <a:r>
              <a:rPr lang="en-US" sz="1400" dirty="0">
                <a:solidFill>
                  <a:srgbClr val="000000">
                    <a:lumMod val="50000"/>
                    <a:lumOff val="50000"/>
                  </a:srgbClr>
                </a:solidFill>
                <a:latin typeface="Arial"/>
              </a:rPr>
              <a:t>If you find that people who consume more alcohol are more likely to die, it might seem intuitive to conclude that alcohol use increases the risk of death. However, the situation might be more complex. It is possible that alcohol use is not the only mortality-affecting factor that differs between the two groups.</a:t>
            </a:r>
          </a:p>
          <a:p>
            <a:pPr defTabSz="1219170" fontAlgn="base">
              <a:buClr>
                <a:srgbClr val="007DB8"/>
              </a:buClr>
            </a:pPr>
            <a:endParaRPr lang="en-US" sz="1400" dirty="0">
              <a:solidFill>
                <a:srgbClr val="000000">
                  <a:lumMod val="50000"/>
                  <a:lumOff val="50000"/>
                </a:srgbClr>
              </a:solidFill>
              <a:latin typeface="Arial"/>
            </a:endParaRPr>
          </a:p>
          <a:p>
            <a:pPr marL="228594" indent="-228594" defTabSz="1219170" fontAlgn="base">
              <a:buClr>
                <a:srgbClr val="007DB8"/>
              </a:buClr>
              <a:buFont typeface="Arial" panose="020B0604020202020204" pitchFamily="34" charset="0"/>
              <a:buChar char="•"/>
            </a:pPr>
            <a:r>
              <a:rPr lang="en-US" sz="1400" dirty="0">
                <a:solidFill>
                  <a:srgbClr val="000000">
                    <a:lumMod val="50000"/>
                    <a:lumOff val="50000"/>
                  </a:srgbClr>
                </a:solidFill>
                <a:latin typeface="Arial"/>
              </a:rPr>
              <a:t>People who consume less alcohol might be more likely to eat a healthier diet or less likely to smoke, for example. Eating a healthy diet or smoking might in turn affect mortality. These other influencing factors are called </a:t>
            </a:r>
            <a:r>
              <a:rPr lang="en-US" sz="1400" b="1" dirty="0">
                <a:solidFill>
                  <a:srgbClr val="000000">
                    <a:lumMod val="50000"/>
                    <a:lumOff val="50000"/>
                  </a:srgbClr>
                </a:solidFill>
                <a:latin typeface="Arial"/>
              </a:rPr>
              <a:t>confounding variables.</a:t>
            </a: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13E9A033-F908-4CB5-A12D-B7566562203E}"/>
                  </a:ext>
                </a:extLst>
              </p14:cNvPr>
              <p14:cNvContentPartPr/>
              <p14:nvPr/>
            </p14:nvContentPartPr>
            <p14:xfrm>
              <a:off x="419040" y="336480"/>
              <a:ext cx="11494080" cy="6287040"/>
            </p14:xfrm>
          </p:contentPart>
        </mc:Choice>
        <mc:Fallback>
          <p:pic>
            <p:nvPicPr>
              <p:cNvPr id="3" name="Ink 2">
                <a:extLst>
                  <a:ext uri="{FF2B5EF4-FFF2-40B4-BE49-F238E27FC236}">
                    <a16:creationId xmlns:a16="http://schemas.microsoft.com/office/drawing/2014/main" id="{13E9A033-F908-4CB5-A12D-B7566562203E}"/>
                  </a:ext>
                </a:extLst>
              </p:cNvPr>
              <p:cNvPicPr/>
              <p:nvPr/>
            </p:nvPicPr>
            <p:blipFill>
              <a:blip r:embed="rId5"/>
              <a:stretch>
                <a:fillRect/>
              </a:stretch>
            </p:blipFill>
            <p:spPr>
              <a:xfrm>
                <a:off x="409680" y="327120"/>
                <a:ext cx="11512800" cy="6305760"/>
              </a:xfrm>
              <a:prstGeom prst="rect">
                <a:avLst/>
              </a:prstGeom>
            </p:spPr>
          </p:pic>
        </mc:Fallback>
      </mc:AlternateContent>
    </p:spTree>
    <p:extLst>
      <p:ext uri="{BB962C8B-B14F-4D97-AF65-F5344CB8AC3E}">
        <p14:creationId xmlns:p14="http://schemas.microsoft.com/office/powerpoint/2010/main" val="1826951538"/>
      </p:ext>
    </p:extLst>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7D1EA-7DF3-48CC-B31A-49D4AA1AAF47}"/>
              </a:ext>
            </a:extLst>
          </p:cNvPr>
          <p:cNvSpPr>
            <a:spLocks noGrp="1"/>
          </p:cNvSpPr>
          <p:nvPr>
            <p:ph type="title"/>
          </p:nvPr>
        </p:nvSpPr>
        <p:spPr>
          <a:xfrm>
            <a:off x="0" y="30480"/>
            <a:ext cx="10607040" cy="853440"/>
          </a:xfrm>
        </p:spPr>
        <p:txBody>
          <a:bodyPr/>
          <a:lstStyle/>
          <a:p>
            <a:r>
              <a:rPr lang="en-US" dirty="0"/>
              <a:t>What is hypothesis ? </a:t>
            </a:r>
          </a:p>
        </p:txBody>
      </p:sp>
      <p:sp>
        <p:nvSpPr>
          <p:cNvPr id="3" name="Content Placeholder 2">
            <a:extLst>
              <a:ext uri="{FF2B5EF4-FFF2-40B4-BE49-F238E27FC236}">
                <a16:creationId xmlns:a16="http://schemas.microsoft.com/office/drawing/2014/main" id="{752E4901-1085-409B-A059-026B6D6F6B60}"/>
              </a:ext>
            </a:extLst>
          </p:cNvPr>
          <p:cNvSpPr>
            <a:spLocks noGrp="1"/>
          </p:cNvSpPr>
          <p:nvPr>
            <p:ph sz="half" idx="13"/>
          </p:nvPr>
        </p:nvSpPr>
        <p:spPr>
          <a:xfrm>
            <a:off x="161007" y="883920"/>
            <a:ext cx="11891391" cy="4821193"/>
          </a:xfrm>
        </p:spPr>
        <p:txBody>
          <a:bodyPr>
            <a:normAutofit fontScale="92500" lnSpcReduction="10000"/>
          </a:bodyPr>
          <a:lstStyle/>
          <a:p>
            <a:pPr marL="0" indent="0">
              <a:buNone/>
            </a:pPr>
            <a:r>
              <a:rPr lang="en-US" sz="2667" kern="1200" dirty="0">
                <a:solidFill>
                  <a:schemeClr val="bg2">
                    <a:lumMod val="50000"/>
                    <a:lumOff val="50000"/>
                  </a:schemeClr>
                </a:solidFill>
                <a:latin typeface="+mn-lt"/>
                <a:ea typeface="+mn-ea"/>
                <a:cs typeface="+mn-cs"/>
              </a:rPr>
              <a:t>A hypothesis is a </a:t>
            </a:r>
            <a:r>
              <a:rPr lang="en-US" sz="2667" b="1" kern="1200" dirty="0">
                <a:solidFill>
                  <a:schemeClr val="bg2">
                    <a:lumMod val="50000"/>
                    <a:lumOff val="50000"/>
                  </a:schemeClr>
                </a:solidFill>
                <a:latin typeface="+mn-lt"/>
                <a:ea typeface="+mn-ea"/>
                <a:cs typeface="+mn-cs"/>
              </a:rPr>
              <a:t>tentative statement </a:t>
            </a:r>
            <a:r>
              <a:rPr lang="en-US" sz="2667" kern="1200" dirty="0">
                <a:solidFill>
                  <a:schemeClr val="bg2">
                    <a:lumMod val="50000"/>
                    <a:lumOff val="50000"/>
                  </a:schemeClr>
                </a:solidFill>
                <a:latin typeface="+mn-lt"/>
                <a:ea typeface="+mn-ea"/>
                <a:cs typeface="+mn-cs"/>
              </a:rPr>
              <a:t>about the relationship between </a:t>
            </a:r>
            <a:r>
              <a:rPr lang="en-US" sz="2667" b="1" kern="1200" dirty="0">
                <a:solidFill>
                  <a:schemeClr val="bg2">
                    <a:lumMod val="50000"/>
                    <a:lumOff val="50000"/>
                  </a:schemeClr>
                </a:solidFill>
                <a:latin typeface="+mn-lt"/>
                <a:ea typeface="+mn-ea"/>
                <a:cs typeface="+mn-cs"/>
              </a:rPr>
              <a:t>two or more variables</a:t>
            </a:r>
            <a:r>
              <a:rPr lang="en-US" sz="2667"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2667" kern="1200" dirty="0">
              <a:solidFill>
                <a:schemeClr val="bg2">
                  <a:lumMod val="50000"/>
                  <a:lumOff val="50000"/>
                </a:schemeClr>
              </a:solidFill>
              <a:latin typeface="+mn-lt"/>
              <a:ea typeface="+mn-ea"/>
              <a:cs typeface="+mn-cs"/>
            </a:endParaRPr>
          </a:p>
          <a:p>
            <a:pPr marL="0" indent="0">
              <a:buNone/>
            </a:pPr>
            <a:r>
              <a:rPr lang="en-US" sz="2667" b="1" kern="1200" dirty="0">
                <a:solidFill>
                  <a:schemeClr val="accent1"/>
                </a:solidFill>
                <a:latin typeface="+mn-lt"/>
                <a:ea typeface="+mn-ea"/>
                <a:cs typeface="+mn-cs"/>
              </a:rPr>
              <a:t>A few examples:</a:t>
            </a:r>
          </a:p>
          <a:p>
            <a:pPr algn="l" fontAlgn="base">
              <a:buFont typeface="Arial" panose="020B0604020202020204" pitchFamily="34" charset="0"/>
              <a:buChar char="•"/>
            </a:pPr>
            <a:r>
              <a:rPr lang="en-US" sz="2667"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buFont typeface="Arial" panose="020B0604020202020204" pitchFamily="34" charset="0"/>
              <a:buChar char="•"/>
            </a:pPr>
            <a:r>
              <a:rPr lang="en-US" sz="2667"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buFont typeface="Arial" panose="020B0604020202020204" pitchFamily="34" charset="0"/>
              <a:buChar char="•"/>
            </a:pPr>
            <a:r>
              <a:rPr lang="en-US" sz="2667"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17792363-C10F-47C3-8DD0-D4966F25FD54}"/>
                  </a:ext>
                </a:extLst>
              </p14:cNvPr>
              <p14:cNvContentPartPr/>
              <p14:nvPr/>
            </p14:nvContentPartPr>
            <p14:xfrm>
              <a:off x="247680" y="12480"/>
              <a:ext cx="11703360" cy="6661920"/>
            </p14:xfrm>
          </p:contentPart>
        </mc:Choice>
        <mc:Fallback>
          <p:pic>
            <p:nvPicPr>
              <p:cNvPr id="4" name="Ink 3">
                <a:extLst>
                  <a:ext uri="{FF2B5EF4-FFF2-40B4-BE49-F238E27FC236}">
                    <a16:creationId xmlns:a16="http://schemas.microsoft.com/office/drawing/2014/main" id="{17792363-C10F-47C3-8DD0-D4966F25FD54}"/>
                  </a:ext>
                </a:extLst>
              </p:cNvPr>
              <p:cNvPicPr/>
              <p:nvPr/>
            </p:nvPicPr>
            <p:blipFill>
              <a:blip r:embed="rId3"/>
              <a:stretch>
                <a:fillRect/>
              </a:stretch>
            </p:blipFill>
            <p:spPr>
              <a:xfrm>
                <a:off x="238320" y="3120"/>
                <a:ext cx="11722080" cy="6680640"/>
              </a:xfrm>
              <a:prstGeom prst="rect">
                <a:avLst/>
              </a:prstGeom>
            </p:spPr>
          </p:pic>
        </mc:Fallback>
      </mc:AlternateContent>
    </p:spTree>
    <p:extLst>
      <p:ext uri="{BB962C8B-B14F-4D97-AF65-F5344CB8AC3E}">
        <p14:creationId xmlns:p14="http://schemas.microsoft.com/office/powerpoint/2010/main" val="864598898"/>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1A2DF-C782-43C3-85DD-ED0625E18554}"/>
              </a:ext>
            </a:extLst>
          </p:cNvPr>
          <p:cNvSpPr>
            <a:spLocks noGrp="1"/>
          </p:cNvSpPr>
          <p:nvPr>
            <p:ph type="title"/>
          </p:nvPr>
        </p:nvSpPr>
        <p:spPr>
          <a:xfrm>
            <a:off x="139603" y="239185"/>
            <a:ext cx="10607040" cy="853440"/>
          </a:xfrm>
        </p:spPr>
        <p:txBody>
          <a:bodyPr/>
          <a:lstStyle/>
          <a:p>
            <a:r>
              <a:rPr lang="en-US" dirty="0"/>
              <a:t>Blinding</a:t>
            </a:r>
          </a:p>
        </p:txBody>
      </p:sp>
      <p:sp>
        <p:nvSpPr>
          <p:cNvPr id="3" name="Content Placeholder 2">
            <a:extLst>
              <a:ext uri="{FF2B5EF4-FFF2-40B4-BE49-F238E27FC236}">
                <a16:creationId xmlns:a16="http://schemas.microsoft.com/office/drawing/2014/main" id="{CA9BD4F2-0478-4661-9007-E1477BAC0E01}"/>
              </a:ext>
            </a:extLst>
          </p:cNvPr>
          <p:cNvSpPr>
            <a:spLocks noGrp="1"/>
          </p:cNvSpPr>
          <p:nvPr>
            <p:ph sz="half" idx="13"/>
          </p:nvPr>
        </p:nvSpPr>
        <p:spPr>
          <a:xfrm>
            <a:off x="195444" y="1092625"/>
            <a:ext cx="11475371" cy="4267200"/>
          </a:xfrm>
        </p:spPr>
        <p:txBody>
          <a:bodyPr/>
          <a:lstStyle/>
          <a:p>
            <a:pPr marL="0" indent="0">
              <a:buNone/>
            </a:pPr>
            <a:r>
              <a:rPr lang="en-US" sz="2533" kern="1200" dirty="0">
                <a:solidFill>
                  <a:schemeClr val="bg2">
                    <a:lumMod val="50000"/>
                    <a:lumOff val="50000"/>
                  </a:schemeClr>
                </a:solidFill>
                <a:latin typeface="+mn-lt"/>
                <a:ea typeface="+mn-ea"/>
                <a:cs typeface="+mn-cs"/>
              </a:rPr>
              <a:t>In medical trials, the term blinding, or double-blind, usually refers to the practice of keeping patients in the dark as to whether they are receiving a placebo or not. It can also refer to allocation concealment, which is used to avoid selection bias.</a:t>
            </a:r>
          </a:p>
          <a:p>
            <a:endParaRPr lang="en-US" dirty="0"/>
          </a:p>
        </p:txBody>
      </p:sp>
      <p:sp>
        <p:nvSpPr>
          <p:cNvPr id="7" name="TextBox 6">
            <a:extLst>
              <a:ext uri="{FF2B5EF4-FFF2-40B4-BE49-F238E27FC236}">
                <a16:creationId xmlns:a16="http://schemas.microsoft.com/office/drawing/2014/main" id="{57A9F8A8-4B62-43A5-827C-02314C36DAE8}"/>
              </a:ext>
            </a:extLst>
          </p:cNvPr>
          <p:cNvSpPr txBox="1"/>
          <p:nvPr/>
        </p:nvSpPr>
        <p:spPr>
          <a:xfrm>
            <a:off x="139603" y="2736221"/>
            <a:ext cx="660788" cy="379656"/>
          </a:xfrm>
          <a:prstGeom prst="rect">
            <a:avLst/>
          </a:prstGeom>
          <a:noFill/>
        </p:spPr>
        <p:txBody>
          <a:bodyPr wrap="square" rtlCol="0">
            <a:spAutoFit/>
          </a:bodyPr>
          <a:lstStyle/>
          <a:p>
            <a:pPr defTabSz="1219170" fontAlgn="base">
              <a:buClr>
                <a:srgbClr val="007DB8"/>
              </a:buClr>
            </a:pPr>
            <a:r>
              <a:rPr lang="en-US" sz="1867" b="1" dirty="0">
                <a:solidFill>
                  <a:srgbClr val="000000">
                    <a:lumMod val="50000"/>
                    <a:lumOff val="50000"/>
                  </a:srgbClr>
                </a:solidFill>
                <a:latin typeface="Arial"/>
              </a:rPr>
              <a:t>EX:</a:t>
            </a:r>
          </a:p>
        </p:txBody>
      </p:sp>
      <p:pic>
        <p:nvPicPr>
          <p:cNvPr id="12" name="Picture 11">
            <a:extLst>
              <a:ext uri="{FF2B5EF4-FFF2-40B4-BE49-F238E27FC236}">
                <a16:creationId xmlns:a16="http://schemas.microsoft.com/office/drawing/2014/main" id="{FA7E0177-D7DE-4E84-A38C-4853407DF3DE}"/>
              </a:ext>
            </a:extLst>
          </p:cNvPr>
          <p:cNvPicPr>
            <a:picLocks noChangeAspect="1"/>
          </p:cNvPicPr>
          <p:nvPr/>
        </p:nvPicPr>
        <p:blipFill>
          <a:blip r:embed="rId2"/>
          <a:stretch>
            <a:fillRect/>
          </a:stretch>
        </p:blipFill>
        <p:spPr>
          <a:xfrm>
            <a:off x="9604691" y="2464225"/>
            <a:ext cx="2438400" cy="2895600"/>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71854125-BCE8-4F9D-A522-DBE9AB99C14F}"/>
                  </a:ext>
                </a:extLst>
              </p14:cNvPr>
              <p14:cNvContentPartPr/>
              <p14:nvPr/>
            </p14:nvContentPartPr>
            <p14:xfrm>
              <a:off x="800160" y="2717760"/>
              <a:ext cx="6413760" cy="2775360"/>
            </p14:xfrm>
          </p:contentPart>
        </mc:Choice>
        <mc:Fallback>
          <p:pic>
            <p:nvPicPr>
              <p:cNvPr id="4" name="Ink 3">
                <a:extLst>
                  <a:ext uri="{FF2B5EF4-FFF2-40B4-BE49-F238E27FC236}">
                    <a16:creationId xmlns:a16="http://schemas.microsoft.com/office/drawing/2014/main" id="{71854125-BCE8-4F9D-A522-DBE9AB99C14F}"/>
                  </a:ext>
                </a:extLst>
              </p:cNvPr>
              <p:cNvPicPr/>
              <p:nvPr/>
            </p:nvPicPr>
            <p:blipFill>
              <a:blip r:embed="rId4"/>
              <a:stretch>
                <a:fillRect/>
              </a:stretch>
            </p:blipFill>
            <p:spPr>
              <a:xfrm>
                <a:off x="790800" y="2708400"/>
                <a:ext cx="6432480" cy="2794081"/>
              </a:xfrm>
              <a:prstGeom prst="rect">
                <a:avLst/>
              </a:prstGeom>
            </p:spPr>
          </p:pic>
        </mc:Fallback>
      </mc:AlternateContent>
    </p:spTree>
    <p:extLst>
      <p:ext uri="{BB962C8B-B14F-4D97-AF65-F5344CB8AC3E}">
        <p14:creationId xmlns:p14="http://schemas.microsoft.com/office/powerpoint/2010/main" val="339969583"/>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B2BFF-8604-46B0-8FE4-7231BB82B7EE}"/>
              </a:ext>
            </a:extLst>
          </p:cNvPr>
          <p:cNvSpPr>
            <a:spLocks noGrp="1"/>
          </p:cNvSpPr>
          <p:nvPr>
            <p:ph type="title"/>
          </p:nvPr>
        </p:nvSpPr>
        <p:spPr>
          <a:xfrm>
            <a:off x="182880" y="232217"/>
            <a:ext cx="10607040" cy="853440"/>
          </a:xfrm>
        </p:spPr>
        <p:txBody>
          <a:bodyPr/>
          <a:lstStyle/>
          <a:p>
            <a:r>
              <a:rPr lang="en-US" dirty="0"/>
              <a:t>Double Blinding</a:t>
            </a:r>
          </a:p>
        </p:txBody>
      </p:sp>
      <p:sp>
        <p:nvSpPr>
          <p:cNvPr id="3" name="Content Placeholder 2">
            <a:extLst>
              <a:ext uri="{FF2B5EF4-FFF2-40B4-BE49-F238E27FC236}">
                <a16:creationId xmlns:a16="http://schemas.microsoft.com/office/drawing/2014/main" id="{7D960FF3-9A2A-4E15-829A-89A59910B291}"/>
              </a:ext>
            </a:extLst>
          </p:cNvPr>
          <p:cNvSpPr>
            <a:spLocks noGrp="1"/>
          </p:cNvSpPr>
          <p:nvPr>
            <p:ph sz="half" idx="13"/>
          </p:nvPr>
        </p:nvSpPr>
        <p:spPr>
          <a:xfrm>
            <a:off x="272925" y="1022929"/>
            <a:ext cx="11574720" cy="4267200"/>
          </a:xfrm>
        </p:spPr>
        <p:txBody>
          <a:bodyPr/>
          <a:lstStyle/>
          <a:p>
            <a:r>
              <a:rPr lang="en-US" sz="2533" kern="1200" dirty="0">
                <a:solidFill>
                  <a:schemeClr val="bg2">
                    <a:lumMod val="50000"/>
                    <a:lumOff val="50000"/>
                  </a:schemeClr>
                </a:solidFill>
                <a:latin typeface="+mn-lt"/>
                <a:ea typeface="+mn-ea"/>
                <a:cs typeface="+mn-cs"/>
              </a:rPr>
              <a:t>A double-blind study is one in which neither the participants nor the experimenters know who is receiving a particular treatment. </a:t>
            </a:r>
          </a:p>
        </p:txBody>
      </p:sp>
      <p:sp>
        <p:nvSpPr>
          <p:cNvPr id="5" name="Rectangle 4">
            <a:extLst>
              <a:ext uri="{FF2B5EF4-FFF2-40B4-BE49-F238E27FC236}">
                <a16:creationId xmlns:a16="http://schemas.microsoft.com/office/drawing/2014/main" id="{467F6821-631D-4CAA-A896-3A96D96D480A}"/>
              </a:ext>
            </a:extLst>
          </p:cNvPr>
          <p:cNvSpPr/>
          <p:nvPr/>
        </p:nvSpPr>
        <p:spPr>
          <a:xfrm>
            <a:off x="182881" y="4748587"/>
            <a:ext cx="11475369" cy="1023756"/>
          </a:xfrm>
          <a:prstGeom prst="rect">
            <a:avLst/>
          </a:prstGeom>
          <a:solidFill>
            <a:schemeClr val="tx1">
              <a:lumMod val="20000"/>
              <a:lumOff val="80000"/>
            </a:schemeClr>
          </a:solidFill>
          <a:ln w="12700" cmpd="sng">
            <a:noFill/>
          </a:ln>
          <a:effectLst/>
        </p:spPr>
        <p:txBody>
          <a:bodyPr wrap="square" lIns="243840" tIns="182880" rIns="182880" bIns="182880" rtlCol="0" anchor="ctr">
            <a:noAutofit/>
          </a:bodyPr>
          <a:lstStyle/>
          <a:p>
            <a:pPr defTabSz="1219170" fontAlgn="base">
              <a:lnSpc>
                <a:spcPct val="90000"/>
              </a:lnSpc>
              <a:spcBef>
                <a:spcPts val="800"/>
              </a:spcBef>
            </a:pPr>
            <a:r>
              <a:rPr lang="en-US" sz="1600" dirty="0">
                <a:solidFill>
                  <a:srgbClr val="444444"/>
                </a:solidFill>
                <a:latin typeface="Arial"/>
              </a:rPr>
              <a:t>Blinding and double blinding are methods that are used to try and eliminate bias that occurs when researchers and the subject are aware of which group is in which study </a:t>
            </a:r>
          </a:p>
        </p:txBody>
      </p:sp>
      <p:sp>
        <p:nvSpPr>
          <p:cNvPr id="6" name="Rectangle 5">
            <a:extLst>
              <a:ext uri="{FF2B5EF4-FFF2-40B4-BE49-F238E27FC236}">
                <a16:creationId xmlns:a16="http://schemas.microsoft.com/office/drawing/2014/main" id="{CB4C82C2-5050-4599-A646-370098578078}"/>
              </a:ext>
            </a:extLst>
          </p:cNvPr>
          <p:cNvSpPr/>
          <p:nvPr/>
        </p:nvSpPr>
        <p:spPr>
          <a:xfrm>
            <a:off x="182881" y="4748588"/>
            <a:ext cx="180088" cy="1005141"/>
          </a:xfrm>
          <a:prstGeom prst="rect">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endParaRPr lang="en-US" sz="2667" dirty="0" err="1">
              <a:solidFill>
                <a:srgbClr val="FFFFFF"/>
              </a:solidFill>
              <a:latin typeface="Arial"/>
            </a:endParaRPr>
          </a:p>
        </p:txBody>
      </p:sp>
      <p:sp>
        <p:nvSpPr>
          <p:cNvPr id="7" name="TextBox 6">
            <a:extLst>
              <a:ext uri="{FF2B5EF4-FFF2-40B4-BE49-F238E27FC236}">
                <a16:creationId xmlns:a16="http://schemas.microsoft.com/office/drawing/2014/main" id="{951382A6-2BCC-493A-B623-979398C5254C}"/>
              </a:ext>
            </a:extLst>
          </p:cNvPr>
          <p:cNvSpPr txBox="1"/>
          <p:nvPr/>
        </p:nvSpPr>
        <p:spPr>
          <a:xfrm>
            <a:off x="182881" y="2270205"/>
            <a:ext cx="660788" cy="379656"/>
          </a:xfrm>
          <a:prstGeom prst="rect">
            <a:avLst/>
          </a:prstGeom>
          <a:noFill/>
        </p:spPr>
        <p:txBody>
          <a:bodyPr wrap="square" rtlCol="0">
            <a:spAutoFit/>
          </a:bodyPr>
          <a:lstStyle/>
          <a:p>
            <a:pPr defTabSz="1219170" fontAlgn="base">
              <a:buClr>
                <a:srgbClr val="007DB8"/>
              </a:buClr>
            </a:pPr>
            <a:r>
              <a:rPr lang="en-US" sz="1867" b="1" dirty="0">
                <a:solidFill>
                  <a:srgbClr val="000000">
                    <a:lumMod val="50000"/>
                    <a:lumOff val="50000"/>
                  </a:srgbClr>
                </a:solidFill>
                <a:latin typeface="Arial"/>
              </a:rPr>
              <a:t>EX:</a:t>
            </a:r>
          </a:p>
        </p:txBody>
      </p:sp>
      <p:pic>
        <p:nvPicPr>
          <p:cNvPr id="8" name="Picture 7" descr="Icon&#10;&#10;Description automatically generated">
            <a:extLst>
              <a:ext uri="{FF2B5EF4-FFF2-40B4-BE49-F238E27FC236}">
                <a16:creationId xmlns:a16="http://schemas.microsoft.com/office/drawing/2014/main" id="{60E230BE-A23E-4204-8EAF-66940F443B7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437307" y="2141899"/>
            <a:ext cx="3571813" cy="2143088"/>
          </a:xfrm>
          <a:prstGeom prst="rect">
            <a:avLst/>
          </a:prstGeom>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DDBC8941-E407-478D-9DCE-DE59823F7C8A}"/>
                  </a:ext>
                </a:extLst>
              </p14:cNvPr>
              <p14:cNvContentPartPr/>
              <p14:nvPr/>
            </p14:nvContentPartPr>
            <p14:xfrm>
              <a:off x="882720" y="101760"/>
              <a:ext cx="10941600" cy="4673760"/>
            </p14:xfrm>
          </p:contentPart>
        </mc:Choice>
        <mc:Fallback>
          <p:pic>
            <p:nvPicPr>
              <p:cNvPr id="4" name="Ink 3">
                <a:extLst>
                  <a:ext uri="{FF2B5EF4-FFF2-40B4-BE49-F238E27FC236}">
                    <a16:creationId xmlns:a16="http://schemas.microsoft.com/office/drawing/2014/main" id="{DDBC8941-E407-478D-9DCE-DE59823F7C8A}"/>
                  </a:ext>
                </a:extLst>
              </p:cNvPr>
              <p:cNvPicPr/>
              <p:nvPr/>
            </p:nvPicPr>
            <p:blipFill>
              <a:blip r:embed="rId5"/>
              <a:stretch>
                <a:fillRect/>
              </a:stretch>
            </p:blipFill>
            <p:spPr>
              <a:xfrm>
                <a:off x="873360" y="92400"/>
                <a:ext cx="10960320" cy="4692481"/>
              </a:xfrm>
              <a:prstGeom prst="rect">
                <a:avLst/>
              </a:prstGeom>
            </p:spPr>
          </p:pic>
        </mc:Fallback>
      </mc:AlternateContent>
    </p:spTree>
    <p:extLst>
      <p:ext uri="{BB962C8B-B14F-4D97-AF65-F5344CB8AC3E}">
        <p14:creationId xmlns:p14="http://schemas.microsoft.com/office/powerpoint/2010/main" val="643188253"/>
      </p:ext>
    </p:extLst>
  </p:cSld>
  <p:clrMapOvr>
    <a:masterClrMapping/>
  </p:clrMapOvr>
  <p:transition spd="med">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A2F82-C58B-485C-BE38-1016ABFCB027}"/>
              </a:ext>
            </a:extLst>
          </p:cNvPr>
          <p:cNvSpPr>
            <a:spLocks noGrp="1"/>
          </p:cNvSpPr>
          <p:nvPr>
            <p:ph type="title"/>
          </p:nvPr>
        </p:nvSpPr>
        <p:spPr>
          <a:xfrm>
            <a:off x="67939" y="157763"/>
            <a:ext cx="10607040" cy="853440"/>
          </a:xfrm>
        </p:spPr>
        <p:txBody>
          <a:bodyPr/>
          <a:lstStyle/>
          <a:p>
            <a:r>
              <a:rPr lang="en-US" dirty="0"/>
              <a:t>Why blinding is important in Statistics?</a:t>
            </a:r>
          </a:p>
        </p:txBody>
      </p:sp>
      <p:sp>
        <p:nvSpPr>
          <p:cNvPr id="3" name="Content Placeholder 2">
            <a:extLst>
              <a:ext uri="{FF2B5EF4-FFF2-40B4-BE49-F238E27FC236}">
                <a16:creationId xmlns:a16="http://schemas.microsoft.com/office/drawing/2014/main" id="{2FB9D893-65BA-48E9-9032-45983A01F364}"/>
              </a:ext>
            </a:extLst>
          </p:cNvPr>
          <p:cNvSpPr>
            <a:spLocks noGrp="1"/>
          </p:cNvSpPr>
          <p:nvPr>
            <p:ph sz="half" idx="13"/>
          </p:nvPr>
        </p:nvSpPr>
        <p:spPr>
          <a:xfrm>
            <a:off x="226157" y="1295400"/>
            <a:ext cx="10448823" cy="4267200"/>
          </a:xfrm>
        </p:spPr>
        <p:txBody>
          <a:bodyPr/>
          <a:lstStyle/>
          <a:p>
            <a:r>
              <a:rPr lang="en-US" sz="2533" kern="1200" dirty="0">
                <a:solidFill>
                  <a:schemeClr val="bg2">
                    <a:lumMod val="50000"/>
                    <a:lumOff val="50000"/>
                  </a:schemeClr>
                </a:solidFill>
                <a:latin typeface="+mn-lt"/>
                <a:ea typeface="+mn-ea"/>
                <a:cs typeface="+mn-cs"/>
              </a:rPr>
              <a:t>Blinding is especially important in subjective trials to avoid skewed results</a:t>
            </a:r>
            <a:r>
              <a:rPr lang="en-US" sz="2400" kern="12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t>
            </a:r>
            <a:r>
              <a:rPr lang="en-US" sz="2400" dirty="0">
                <a:latin typeface="Calibri" panose="020F0502020204030204" pitchFamily="34" charset="0"/>
                <a:ea typeface="DengXian" panose="02010600030101010101" pitchFamily="2" charset="-122"/>
                <a:cs typeface="Times New Roman" panose="02020603050405020304" pitchFamily="18" charset="0"/>
              </a:rPr>
              <a:t> </a:t>
            </a:r>
            <a:endParaRPr lang="en-US" dirty="0"/>
          </a:p>
        </p:txBody>
      </p:sp>
      <p:sp>
        <p:nvSpPr>
          <p:cNvPr id="5" name="TextBox 4">
            <a:extLst>
              <a:ext uri="{FF2B5EF4-FFF2-40B4-BE49-F238E27FC236}">
                <a16:creationId xmlns:a16="http://schemas.microsoft.com/office/drawing/2014/main" id="{5918F907-DDBC-4B77-AF68-08312351098E}"/>
              </a:ext>
            </a:extLst>
          </p:cNvPr>
          <p:cNvSpPr txBox="1"/>
          <p:nvPr/>
        </p:nvSpPr>
        <p:spPr>
          <a:xfrm>
            <a:off x="226157" y="2391194"/>
            <a:ext cx="660788" cy="379656"/>
          </a:xfrm>
          <a:prstGeom prst="rect">
            <a:avLst/>
          </a:prstGeom>
          <a:noFill/>
        </p:spPr>
        <p:txBody>
          <a:bodyPr wrap="square" rtlCol="0">
            <a:spAutoFit/>
          </a:bodyPr>
          <a:lstStyle/>
          <a:p>
            <a:pPr defTabSz="1219170" fontAlgn="base">
              <a:buClr>
                <a:srgbClr val="007DB8"/>
              </a:buClr>
            </a:pPr>
            <a:r>
              <a:rPr lang="en-US" sz="1867" b="1" dirty="0">
                <a:solidFill>
                  <a:srgbClr val="000000">
                    <a:lumMod val="50000"/>
                    <a:lumOff val="50000"/>
                  </a:srgbClr>
                </a:solidFill>
                <a:latin typeface="Arial"/>
              </a:rPr>
              <a:t>EX:</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1BAAFEB0-0974-47F7-9FAC-1742AD715B63}"/>
                  </a:ext>
                </a:extLst>
              </p14:cNvPr>
              <p14:cNvContentPartPr/>
              <p14:nvPr/>
            </p14:nvContentPartPr>
            <p14:xfrm>
              <a:off x="279360" y="1720800"/>
              <a:ext cx="11291040" cy="4934400"/>
            </p14:xfrm>
          </p:contentPart>
        </mc:Choice>
        <mc:Fallback>
          <p:pic>
            <p:nvPicPr>
              <p:cNvPr id="4" name="Ink 3">
                <a:extLst>
                  <a:ext uri="{FF2B5EF4-FFF2-40B4-BE49-F238E27FC236}">
                    <a16:creationId xmlns:a16="http://schemas.microsoft.com/office/drawing/2014/main" id="{1BAAFEB0-0974-47F7-9FAC-1742AD715B63}"/>
                  </a:ext>
                </a:extLst>
              </p:cNvPr>
              <p:cNvPicPr/>
              <p:nvPr/>
            </p:nvPicPr>
            <p:blipFill>
              <a:blip r:embed="rId3"/>
              <a:stretch>
                <a:fillRect/>
              </a:stretch>
            </p:blipFill>
            <p:spPr>
              <a:xfrm>
                <a:off x="270000" y="1711800"/>
                <a:ext cx="11309760" cy="4953121"/>
              </a:xfrm>
              <a:prstGeom prst="rect">
                <a:avLst/>
              </a:prstGeom>
            </p:spPr>
          </p:pic>
        </mc:Fallback>
      </mc:AlternateContent>
    </p:spTree>
    <p:extLst>
      <p:ext uri="{BB962C8B-B14F-4D97-AF65-F5344CB8AC3E}">
        <p14:creationId xmlns:p14="http://schemas.microsoft.com/office/powerpoint/2010/main" val="2582633460"/>
      </p:ext>
    </p:extLst>
  </p:cSld>
  <p:clrMapOvr>
    <a:masterClrMapping/>
  </p:clrMapOvr>
  <p:transition spd="med">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12192000" cy="68580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525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524001" y="1"/>
            <a:ext cx="158751" cy="158751"/>
          </a:xfrm>
          <a:prstGeom prst="rect">
            <a:avLst/>
          </a:prstGeom>
          <a:solidFill>
            <a:schemeClr val="bg1"/>
          </a:solidFill>
          <a:ln w="12700" cmpd="sng">
            <a:noFill/>
          </a:ln>
          <a:effectLst/>
        </p:spPr>
        <p:txBody>
          <a:bodyPr vert="horz" wrap="none" lIns="0" tIns="0" rIns="0" bIns="0" numCol="1" spcCol="0" rtlCol="0" anchor="ctr" anchorCtr="0">
            <a:noAutofit/>
          </a:bodyPr>
          <a:lstStyle/>
          <a:p>
            <a:pPr algn="ctr" defTabSz="1219170" fontAlgn="base">
              <a:lnSpc>
                <a:spcPct val="90000"/>
              </a:lnSpc>
              <a:spcBef>
                <a:spcPct val="0"/>
              </a:spcBef>
              <a:spcAft>
                <a:spcPct val="0"/>
              </a:spcAft>
            </a:pPr>
            <a:endParaRPr lang="en-US" sz="2800" dirty="0"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100814" y="1843454"/>
            <a:ext cx="11990372" cy="4047391"/>
          </a:xfrm>
        </p:spPr>
        <p:txBody>
          <a:bodyPr/>
          <a:lstStyle/>
          <a:p>
            <a:r>
              <a:rPr lang="en-US" sz="6400" dirty="0">
                <a:solidFill>
                  <a:schemeClr val="tx2"/>
                </a:solidFill>
              </a:rPr>
              <a:t>Describing Data through Statistics</a:t>
            </a:r>
            <a:br>
              <a:rPr lang="en-US" dirty="0"/>
            </a:br>
            <a:br>
              <a:rPr lang="en-US" dirty="0"/>
            </a:br>
            <a:r>
              <a:rPr lang="en-US" dirty="0"/>
              <a:t> </a:t>
            </a:r>
          </a:p>
        </p:txBody>
      </p:sp>
      <mc:AlternateContent xmlns:mc="http://schemas.openxmlformats.org/markup-compatibility/2006">
        <mc:Choice xmlns:p14="http://schemas.microsoft.com/office/powerpoint/2010/main" Requires="p14">
          <p:contentPart p14:bwMode="auto" r:id="rId10">
            <p14:nvContentPartPr>
              <p14:cNvPr id="2" name="Ink 1">
                <a:extLst>
                  <a:ext uri="{FF2B5EF4-FFF2-40B4-BE49-F238E27FC236}">
                    <a16:creationId xmlns:a16="http://schemas.microsoft.com/office/drawing/2014/main" id="{6AA851D6-78FB-4645-8EBE-B5EF4A6BC225}"/>
                  </a:ext>
                </a:extLst>
              </p14:cNvPr>
              <p14:cNvContentPartPr/>
              <p14:nvPr/>
            </p14:nvContentPartPr>
            <p14:xfrm>
              <a:off x="2616000" y="3372000"/>
              <a:ext cx="3397920" cy="806880"/>
            </p14:xfrm>
          </p:contentPart>
        </mc:Choice>
        <mc:Fallback>
          <p:pic>
            <p:nvPicPr>
              <p:cNvPr id="2" name="Ink 1">
                <a:extLst>
                  <a:ext uri="{FF2B5EF4-FFF2-40B4-BE49-F238E27FC236}">
                    <a16:creationId xmlns:a16="http://schemas.microsoft.com/office/drawing/2014/main" id="{6AA851D6-78FB-4645-8EBE-B5EF4A6BC225}"/>
                  </a:ext>
                </a:extLst>
              </p:cNvPr>
              <p:cNvPicPr/>
              <p:nvPr/>
            </p:nvPicPr>
            <p:blipFill>
              <a:blip r:embed="rId11"/>
              <a:stretch>
                <a:fillRect/>
              </a:stretch>
            </p:blipFill>
            <p:spPr>
              <a:xfrm>
                <a:off x="2606639" y="3362639"/>
                <a:ext cx="3416641" cy="825603"/>
              </a:xfrm>
              <a:prstGeom prst="rect">
                <a:avLst/>
              </a:prstGeom>
            </p:spPr>
          </p:pic>
        </mc:Fallback>
      </mc:AlternateContent>
    </p:spTree>
    <p:extLst>
      <p:ext uri="{BB962C8B-B14F-4D97-AF65-F5344CB8AC3E}">
        <p14:creationId xmlns:p14="http://schemas.microsoft.com/office/powerpoint/2010/main" val="850901763"/>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525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524001" y="1"/>
            <a:ext cx="158751" cy="158751"/>
          </a:xfrm>
          <a:prstGeom prst="rect">
            <a:avLst/>
          </a:prstGeom>
          <a:solidFill>
            <a:schemeClr val="bg1"/>
          </a:solidFill>
          <a:ln w="12700" cmpd="sng">
            <a:noFill/>
          </a:ln>
          <a:effectLst/>
        </p:spPr>
        <p:txBody>
          <a:bodyPr vert="horz" wrap="none" lIns="0" tIns="0" rIns="0" bIns="0" numCol="1" spcCol="0" rtlCol="0" anchor="ctr" anchorCtr="0">
            <a:noAutofit/>
          </a:bodyPr>
          <a:lstStyle/>
          <a:p>
            <a:pPr algn="ctr" defTabSz="1219170" fontAlgn="base">
              <a:lnSpc>
                <a:spcPct val="90000"/>
              </a:lnSpc>
              <a:spcBef>
                <a:spcPct val="0"/>
              </a:spcBef>
              <a:spcAft>
                <a:spcPct val="0"/>
              </a:spcAft>
            </a:pPr>
            <a:endParaRPr lang="en-US" sz="2800" dirty="0"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12192000" cy="68580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100814" y="1666623"/>
            <a:ext cx="11990372" cy="4047391"/>
          </a:xfrm>
        </p:spPr>
        <p:txBody>
          <a:bodyPr/>
          <a:lstStyle/>
          <a:p>
            <a:r>
              <a:rPr lang="en-US" sz="6400" dirty="0">
                <a:solidFill>
                  <a:schemeClr val="tx2"/>
                </a:solidFill>
              </a:rPr>
              <a:t>Measure of  </a:t>
            </a:r>
            <a:br>
              <a:rPr lang="en-US" sz="6400" dirty="0">
                <a:solidFill>
                  <a:schemeClr val="tx2"/>
                </a:solidFill>
              </a:rPr>
            </a:br>
            <a:r>
              <a:rPr lang="en-US" sz="6400" dirty="0">
                <a:solidFill>
                  <a:schemeClr val="tx2"/>
                </a:solidFill>
              </a:rPr>
              <a:t>Central Tendency</a:t>
            </a:r>
            <a:br>
              <a:rPr lang="en-US" dirty="0"/>
            </a:br>
            <a:br>
              <a:rPr lang="en-US" dirty="0"/>
            </a:br>
            <a:r>
              <a:rPr lang="en-US" dirty="0"/>
              <a:t> </a:t>
            </a:r>
          </a:p>
        </p:txBody>
      </p:sp>
    </p:spTree>
    <p:extLst>
      <p:ext uri="{BB962C8B-B14F-4D97-AF65-F5344CB8AC3E}">
        <p14:creationId xmlns:p14="http://schemas.microsoft.com/office/powerpoint/2010/main" val="665294110"/>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B17AC-8C6F-4E8F-927B-93ABAEA6606B}"/>
              </a:ext>
            </a:extLst>
          </p:cNvPr>
          <p:cNvSpPr>
            <a:spLocks noGrp="1"/>
          </p:cNvSpPr>
          <p:nvPr>
            <p:ph type="title"/>
          </p:nvPr>
        </p:nvSpPr>
        <p:spPr>
          <a:xfrm>
            <a:off x="349008" y="196415"/>
            <a:ext cx="10972800" cy="850392"/>
          </a:xfrm>
        </p:spPr>
        <p:txBody>
          <a:bodyPr/>
          <a:lstStyle/>
          <a:p>
            <a:r>
              <a:rPr lang="en-US" dirty="0"/>
              <a:t>Finding Central Value</a:t>
            </a:r>
          </a:p>
        </p:txBody>
      </p:sp>
      <p:sp>
        <p:nvSpPr>
          <p:cNvPr id="3" name="TextBox 2">
            <a:extLst>
              <a:ext uri="{FF2B5EF4-FFF2-40B4-BE49-F238E27FC236}">
                <a16:creationId xmlns:a16="http://schemas.microsoft.com/office/drawing/2014/main" id="{338B153F-82EC-4EC3-A01C-319C19798D05}"/>
              </a:ext>
            </a:extLst>
          </p:cNvPr>
          <p:cNvSpPr txBox="1"/>
          <p:nvPr/>
        </p:nvSpPr>
        <p:spPr>
          <a:xfrm>
            <a:off x="465344" y="1451873"/>
            <a:ext cx="8562320" cy="2390911"/>
          </a:xfrm>
          <a:prstGeom prst="rect">
            <a:avLst/>
          </a:prstGeom>
          <a:noFill/>
        </p:spPr>
        <p:txBody>
          <a:bodyPr wrap="square" rtlCol="0">
            <a:spAutoFit/>
          </a:bodyPr>
          <a:lstStyle/>
          <a:p>
            <a:pPr defTabSz="1219170" fontAlgn="base">
              <a:buClr>
                <a:srgbClr val="007DB8"/>
              </a:buClr>
            </a:pPr>
            <a:r>
              <a:rPr lang="en-US" sz="1867" b="1" dirty="0">
                <a:solidFill>
                  <a:srgbClr val="000000">
                    <a:lumMod val="50000"/>
                    <a:lumOff val="50000"/>
                  </a:srgbClr>
                </a:solidFill>
                <a:latin typeface="Arial"/>
              </a:rPr>
              <a:t>For Two Numbers </a:t>
            </a:r>
            <a:r>
              <a:rPr lang="en-US" sz="1867" b="1">
                <a:solidFill>
                  <a:srgbClr val="000000">
                    <a:lumMod val="50000"/>
                    <a:lumOff val="50000"/>
                  </a:srgbClr>
                </a:solidFill>
                <a:latin typeface="Arial"/>
              </a:rPr>
              <a:t>:   3 </a:t>
            </a:r>
            <a:r>
              <a:rPr lang="en-US" sz="1867" b="1" dirty="0">
                <a:solidFill>
                  <a:srgbClr val="000000">
                    <a:lumMod val="50000"/>
                    <a:lumOff val="50000"/>
                  </a:srgbClr>
                </a:solidFill>
                <a:latin typeface="Arial"/>
              </a:rPr>
              <a:t>and 7 </a:t>
            </a:r>
          </a:p>
          <a:p>
            <a:pPr defTabSz="1219170" fontAlgn="base">
              <a:buClr>
                <a:srgbClr val="007DB8"/>
              </a:buClr>
            </a:pPr>
            <a:r>
              <a:rPr lang="en-US" sz="1867" dirty="0">
                <a:solidFill>
                  <a:srgbClr val="000000">
                    <a:lumMod val="50000"/>
                    <a:lumOff val="50000"/>
                  </a:srgbClr>
                </a:solidFill>
                <a:latin typeface="Arial"/>
              </a:rPr>
              <a:t>	</a:t>
            </a:r>
          </a:p>
          <a:p>
            <a:pPr defTabSz="1219170" fontAlgn="base">
              <a:buClr>
                <a:srgbClr val="007DB8"/>
              </a:buClr>
            </a:pPr>
            <a:r>
              <a:rPr lang="en-US" sz="1867" dirty="0">
                <a:solidFill>
                  <a:srgbClr val="000000">
                    <a:lumMod val="50000"/>
                    <a:lumOff val="50000"/>
                  </a:srgbClr>
                </a:solidFill>
                <a:latin typeface="Arial"/>
              </a:rPr>
              <a:t>	Central value </a:t>
            </a:r>
            <a:r>
              <a:rPr lang="en-US" sz="1867">
                <a:solidFill>
                  <a:srgbClr val="000000">
                    <a:lumMod val="50000"/>
                    <a:lumOff val="50000"/>
                  </a:srgbClr>
                </a:solidFill>
                <a:latin typeface="Arial"/>
              </a:rPr>
              <a:t>: (3 </a:t>
            </a:r>
            <a:r>
              <a:rPr lang="en-US" sz="1867" dirty="0">
                <a:solidFill>
                  <a:srgbClr val="000000">
                    <a:lumMod val="50000"/>
                    <a:lumOff val="50000"/>
                  </a:srgbClr>
                </a:solidFill>
                <a:latin typeface="Arial"/>
              </a:rPr>
              <a:t>+ 7) / 2 = </a:t>
            </a:r>
          </a:p>
          <a:p>
            <a:pPr defTabSz="1219170" fontAlgn="base">
              <a:buClr>
                <a:srgbClr val="007DB8"/>
              </a:buClr>
            </a:pPr>
            <a:endParaRPr lang="en-US" sz="1867" dirty="0">
              <a:solidFill>
                <a:srgbClr val="000000">
                  <a:lumMod val="50000"/>
                  <a:lumOff val="50000"/>
                </a:srgbClr>
              </a:solidFill>
              <a:latin typeface="Arial"/>
            </a:endParaRPr>
          </a:p>
          <a:p>
            <a:pPr defTabSz="1219170" fontAlgn="base">
              <a:buClr>
                <a:srgbClr val="007DB8"/>
              </a:buClr>
            </a:pPr>
            <a:endParaRPr lang="en-US" sz="1867" dirty="0">
              <a:solidFill>
                <a:srgbClr val="000000">
                  <a:lumMod val="50000"/>
                  <a:lumOff val="50000"/>
                </a:srgbClr>
              </a:solidFill>
              <a:latin typeface="Arial"/>
            </a:endParaRPr>
          </a:p>
          <a:p>
            <a:pPr defTabSz="1219170" fontAlgn="base">
              <a:buClr>
                <a:srgbClr val="007DB8"/>
              </a:buClr>
            </a:pPr>
            <a:r>
              <a:rPr lang="en-US" sz="1867" b="1" dirty="0">
                <a:solidFill>
                  <a:srgbClr val="000000">
                    <a:lumMod val="50000"/>
                    <a:lumOff val="50000"/>
                  </a:srgbClr>
                </a:solidFill>
                <a:latin typeface="Arial"/>
              </a:rPr>
              <a:t>For three numbers </a:t>
            </a:r>
            <a:r>
              <a:rPr lang="en-US" sz="1867" b="1">
                <a:solidFill>
                  <a:srgbClr val="000000">
                    <a:lumMod val="50000"/>
                    <a:lumOff val="50000"/>
                  </a:srgbClr>
                </a:solidFill>
                <a:latin typeface="Arial"/>
              </a:rPr>
              <a:t>: 3, </a:t>
            </a:r>
            <a:r>
              <a:rPr lang="en-US" sz="1867" b="1" dirty="0">
                <a:solidFill>
                  <a:srgbClr val="000000">
                    <a:lumMod val="50000"/>
                    <a:lumOff val="50000"/>
                  </a:srgbClr>
                </a:solidFill>
                <a:latin typeface="Arial"/>
              </a:rPr>
              <a:t>7, 8</a:t>
            </a:r>
          </a:p>
          <a:p>
            <a:pPr defTabSz="1219170" fontAlgn="base">
              <a:buClr>
                <a:srgbClr val="007DB8"/>
              </a:buClr>
            </a:pPr>
            <a:endParaRPr lang="en-US" sz="1867" dirty="0">
              <a:solidFill>
                <a:srgbClr val="000000">
                  <a:lumMod val="50000"/>
                  <a:lumOff val="50000"/>
                </a:srgbClr>
              </a:solidFill>
              <a:latin typeface="Arial"/>
            </a:endParaRPr>
          </a:p>
          <a:p>
            <a:pPr defTabSz="1219170" fontAlgn="base">
              <a:buClr>
                <a:srgbClr val="007DB8"/>
              </a:buClr>
            </a:pPr>
            <a:r>
              <a:rPr lang="en-US" sz="1867" dirty="0">
                <a:solidFill>
                  <a:srgbClr val="000000">
                    <a:lumMod val="50000"/>
                    <a:lumOff val="50000"/>
                  </a:srgbClr>
                </a:solidFill>
                <a:latin typeface="Arial"/>
              </a:rPr>
              <a:t>	Central value </a:t>
            </a:r>
            <a:r>
              <a:rPr lang="en-US" sz="1867">
                <a:solidFill>
                  <a:srgbClr val="000000">
                    <a:lumMod val="50000"/>
                    <a:lumOff val="50000"/>
                  </a:srgbClr>
                </a:solidFill>
                <a:latin typeface="Arial"/>
              </a:rPr>
              <a:t>: (3+7+8</a:t>
            </a:r>
            <a:r>
              <a:rPr lang="en-US" sz="1867" dirty="0">
                <a:solidFill>
                  <a:srgbClr val="000000">
                    <a:lumMod val="50000"/>
                    <a:lumOff val="50000"/>
                  </a:srgbClr>
                </a:solidFill>
                <a:latin typeface="Arial"/>
              </a:rPr>
              <a:t>) / 2 = </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51CA7573-71C2-4797-BB4B-FF9ABCF83117}"/>
                  </a:ext>
                </a:extLst>
              </p14:cNvPr>
              <p14:cNvContentPartPr/>
              <p14:nvPr/>
            </p14:nvContentPartPr>
            <p14:xfrm>
              <a:off x="253920" y="419040"/>
              <a:ext cx="10872000" cy="5074080"/>
            </p14:xfrm>
          </p:contentPart>
        </mc:Choice>
        <mc:Fallback>
          <p:pic>
            <p:nvPicPr>
              <p:cNvPr id="4" name="Ink 3">
                <a:extLst>
                  <a:ext uri="{FF2B5EF4-FFF2-40B4-BE49-F238E27FC236}">
                    <a16:creationId xmlns:a16="http://schemas.microsoft.com/office/drawing/2014/main" id="{51CA7573-71C2-4797-BB4B-FF9ABCF83117}"/>
                  </a:ext>
                </a:extLst>
              </p:cNvPr>
              <p:cNvPicPr/>
              <p:nvPr/>
            </p:nvPicPr>
            <p:blipFill>
              <a:blip r:embed="rId3"/>
              <a:stretch>
                <a:fillRect/>
              </a:stretch>
            </p:blipFill>
            <p:spPr>
              <a:xfrm>
                <a:off x="244560" y="409680"/>
                <a:ext cx="10890720" cy="5092801"/>
              </a:xfrm>
              <a:prstGeom prst="rect">
                <a:avLst/>
              </a:prstGeom>
            </p:spPr>
          </p:pic>
        </mc:Fallback>
      </mc:AlternateContent>
    </p:spTree>
    <p:extLst>
      <p:ext uri="{BB962C8B-B14F-4D97-AF65-F5344CB8AC3E}">
        <p14:creationId xmlns:p14="http://schemas.microsoft.com/office/powerpoint/2010/main" val="3501129861"/>
      </p:ext>
    </p:extLst>
  </p:cSld>
  <p:clrMapOvr>
    <a:masterClrMapping/>
  </p:clrMapOvr>
  <p:transition spd="med">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3019A-8969-4E41-917D-0CD27630D77D}"/>
              </a:ext>
            </a:extLst>
          </p:cNvPr>
          <p:cNvSpPr>
            <a:spLocks noGrp="1"/>
          </p:cNvSpPr>
          <p:nvPr>
            <p:ph type="title"/>
          </p:nvPr>
        </p:nvSpPr>
        <p:spPr>
          <a:xfrm>
            <a:off x="0" y="0"/>
            <a:ext cx="10972800" cy="850392"/>
          </a:xfrm>
        </p:spPr>
        <p:txBody>
          <a:bodyPr/>
          <a:lstStyle/>
          <a:p>
            <a:r>
              <a:rPr lang="en-US" dirty="0"/>
              <a:t>Measure of Central Tendency</a:t>
            </a:r>
          </a:p>
        </p:txBody>
      </p:sp>
      <p:sp>
        <p:nvSpPr>
          <p:cNvPr id="4" name="Content Placeholder 2">
            <a:extLst>
              <a:ext uri="{FF2B5EF4-FFF2-40B4-BE49-F238E27FC236}">
                <a16:creationId xmlns:a16="http://schemas.microsoft.com/office/drawing/2014/main" id="{39E72A63-31AC-4F6E-9D77-DF5F16FB8C2D}"/>
              </a:ext>
            </a:extLst>
          </p:cNvPr>
          <p:cNvSpPr txBox="1">
            <a:spLocks/>
          </p:cNvSpPr>
          <p:nvPr/>
        </p:nvSpPr>
        <p:spPr>
          <a:xfrm>
            <a:off x="261989" y="850392"/>
            <a:ext cx="10448823" cy="4267200"/>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304792" indent="-304792" defTabSz="1219170">
              <a:spcBef>
                <a:spcPts val="1600"/>
              </a:spcBef>
            </a:pPr>
            <a:r>
              <a:rPr lang="en-US" sz="2533" b="1" dirty="0">
                <a:solidFill>
                  <a:srgbClr val="000000">
                    <a:lumMod val="50000"/>
                    <a:lumOff val="50000"/>
                  </a:srgbClr>
                </a:solidFill>
                <a:latin typeface="Arial"/>
                <a:ea typeface="+mn-ea"/>
              </a:rPr>
              <a:t>Measure of central tendency </a:t>
            </a:r>
            <a:r>
              <a:rPr lang="en-US" sz="2533" i="1" dirty="0">
                <a:solidFill>
                  <a:srgbClr val="000000">
                    <a:lumMod val="50000"/>
                    <a:lumOff val="50000"/>
                  </a:srgbClr>
                </a:solidFill>
                <a:latin typeface="Arial"/>
                <a:ea typeface="+mn-ea"/>
              </a:rPr>
              <a:t>yield information about the center, or middle part,</a:t>
            </a:r>
            <a:r>
              <a:rPr lang="en-US" sz="2533" dirty="0">
                <a:solidFill>
                  <a:srgbClr val="000000">
                    <a:lumMod val="50000"/>
                    <a:lumOff val="50000"/>
                  </a:srgbClr>
                </a:solidFill>
                <a:latin typeface="Arial"/>
                <a:ea typeface="+mn-ea"/>
              </a:rPr>
              <a:t> </a:t>
            </a:r>
            <a:r>
              <a:rPr lang="en-US" sz="2533" i="1" dirty="0">
                <a:solidFill>
                  <a:srgbClr val="000000">
                    <a:lumMod val="50000"/>
                    <a:lumOff val="50000"/>
                  </a:srgbClr>
                </a:solidFill>
                <a:latin typeface="Arial"/>
                <a:ea typeface="+mn-ea"/>
              </a:rPr>
              <a:t>of a group of numbers</a:t>
            </a:r>
            <a:endParaRPr lang="en-US" sz="1867" i="1" kern="0" dirty="0">
              <a:latin typeface="Arial"/>
            </a:endParaRPr>
          </a:p>
        </p:txBody>
      </p:sp>
      <p:sp>
        <p:nvSpPr>
          <p:cNvPr id="5" name="Rectangle 4">
            <a:extLst>
              <a:ext uri="{FF2B5EF4-FFF2-40B4-BE49-F238E27FC236}">
                <a16:creationId xmlns:a16="http://schemas.microsoft.com/office/drawing/2014/main" id="{A43048EA-074A-4CE3-A9B1-938902706637}"/>
              </a:ext>
            </a:extLst>
          </p:cNvPr>
          <p:cNvSpPr/>
          <p:nvPr/>
        </p:nvSpPr>
        <p:spPr>
          <a:xfrm>
            <a:off x="426721" y="2112660"/>
            <a:ext cx="2968891" cy="2568696"/>
          </a:xfrm>
          <a:prstGeom prst="rect">
            <a:avLst/>
          </a:prstGeom>
          <a:noFill/>
          <a:ln w="19050" cmpd="sng">
            <a:solidFill>
              <a:schemeClr val="tx1"/>
            </a:solidFill>
          </a:ln>
          <a:effectLst/>
        </p:spPr>
        <p:txBody>
          <a:bodyPr wrap="square" lIns="243840" tIns="182880" rIns="182880" bIns="182880" rtlCol="0" anchor="ctr">
            <a:noAutofit/>
          </a:bodyPr>
          <a:lstStyle/>
          <a:p>
            <a:pPr algn="ctr" defTabSz="1219170" fontAlgn="base">
              <a:lnSpc>
                <a:spcPct val="90000"/>
              </a:lnSpc>
              <a:spcBef>
                <a:spcPts val="800"/>
              </a:spcBef>
            </a:pPr>
            <a:endParaRPr lang="en-US" sz="2667" dirty="0" err="1">
              <a:solidFill>
                <a:srgbClr val="FFFFFF"/>
              </a:solidFill>
              <a:latin typeface="Arial"/>
            </a:endParaRPr>
          </a:p>
        </p:txBody>
      </p:sp>
      <p:sp>
        <p:nvSpPr>
          <p:cNvPr id="6" name="TextBox 5">
            <a:extLst>
              <a:ext uri="{FF2B5EF4-FFF2-40B4-BE49-F238E27FC236}">
                <a16:creationId xmlns:a16="http://schemas.microsoft.com/office/drawing/2014/main" id="{700023B3-6EF9-4F3A-8FD6-79F54B337413}"/>
              </a:ext>
            </a:extLst>
          </p:cNvPr>
          <p:cNvSpPr txBox="1"/>
          <p:nvPr/>
        </p:nvSpPr>
        <p:spPr>
          <a:xfrm>
            <a:off x="521186" y="2326718"/>
            <a:ext cx="2615229" cy="2144305"/>
          </a:xfrm>
          <a:prstGeom prst="rect">
            <a:avLst/>
          </a:prstGeom>
          <a:noFill/>
        </p:spPr>
        <p:txBody>
          <a:bodyPr wrap="square" rtlCol="0">
            <a:spAutoFit/>
          </a:bodyPr>
          <a:lstStyle/>
          <a:p>
            <a:pPr defTabSz="1219170" fontAlgn="base">
              <a:buClr>
                <a:srgbClr val="007DB8"/>
              </a:buClr>
            </a:pPr>
            <a:r>
              <a:rPr lang="en-US" sz="1867" b="1" dirty="0">
                <a:solidFill>
                  <a:srgbClr val="007DB8"/>
                </a:solidFill>
                <a:latin typeface="Arial"/>
              </a:rPr>
              <a:t>MEAN :</a:t>
            </a:r>
          </a:p>
          <a:p>
            <a:pPr defTabSz="1219170" fontAlgn="base">
              <a:buClr>
                <a:srgbClr val="007DB8"/>
              </a:buClr>
            </a:pPr>
            <a:endParaRPr lang="en-US" sz="1867" b="1" dirty="0">
              <a:solidFill>
                <a:srgbClr val="007DB8"/>
              </a:solidFill>
              <a:latin typeface="Arial"/>
            </a:endParaRPr>
          </a:p>
          <a:p>
            <a:pPr defTabSz="1219170" fontAlgn="base">
              <a:buClr>
                <a:srgbClr val="007DB8"/>
              </a:buClr>
            </a:pPr>
            <a:r>
              <a:rPr lang="en-US" sz="2400" dirty="0">
                <a:solidFill>
                  <a:srgbClr val="000000">
                    <a:lumMod val="50000"/>
                    <a:lumOff val="50000"/>
                  </a:srgbClr>
                </a:solidFill>
                <a:latin typeface="Inter"/>
              </a:rPr>
              <a:t>The sum of all values divided by the total number of values</a:t>
            </a:r>
            <a:endParaRPr lang="en-US" sz="3200" b="1" dirty="0">
              <a:solidFill>
                <a:srgbClr val="000000">
                  <a:lumMod val="50000"/>
                  <a:lumOff val="50000"/>
                </a:srgbClr>
              </a:solidFill>
              <a:latin typeface="Arial"/>
            </a:endParaRPr>
          </a:p>
        </p:txBody>
      </p:sp>
      <p:sp>
        <p:nvSpPr>
          <p:cNvPr id="7" name="Rectangle 6">
            <a:extLst>
              <a:ext uri="{FF2B5EF4-FFF2-40B4-BE49-F238E27FC236}">
                <a16:creationId xmlns:a16="http://schemas.microsoft.com/office/drawing/2014/main" id="{1A7A125E-8E88-4D2C-B02B-C3AD10A4C40F}"/>
              </a:ext>
            </a:extLst>
          </p:cNvPr>
          <p:cNvSpPr/>
          <p:nvPr/>
        </p:nvSpPr>
        <p:spPr>
          <a:xfrm>
            <a:off x="4409285" y="2112660"/>
            <a:ext cx="2968891" cy="2568696"/>
          </a:xfrm>
          <a:prstGeom prst="rect">
            <a:avLst/>
          </a:prstGeom>
          <a:noFill/>
          <a:ln w="19050" cmpd="sng">
            <a:solidFill>
              <a:schemeClr val="tx1"/>
            </a:solidFill>
          </a:ln>
          <a:effectLst/>
        </p:spPr>
        <p:txBody>
          <a:bodyPr wrap="square" lIns="243840" tIns="182880" rIns="182880" bIns="182880" rtlCol="0" anchor="ctr">
            <a:noAutofit/>
          </a:bodyPr>
          <a:lstStyle/>
          <a:p>
            <a:pPr algn="ctr" defTabSz="1219170" fontAlgn="base">
              <a:lnSpc>
                <a:spcPct val="90000"/>
              </a:lnSpc>
              <a:spcBef>
                <a:spcPts val="800"/>
              </a:spcBef>
            </a:pPr>
            <a:endParaRPr lang="en-US" sz="2667" dirty="0" err="1">
              <a:solidFill>
                <a:srgbClr val="FFFFFF"/>
              </a:solidFill>
              <a:latin typeface="Arial"/>
            </a:endParaRPr>
          </a:p>
        </p:txBody>
      </p:sp>
      <p:sp>
        <p:nvSpPr>
          <p:cNvPr id="8" name="TextBox 7">
            <a:extLst>
              <a:ext uri="{FF2B5EF4-FFF2-40B4-BE49-F238E27FC236}">
                <a16:creationId xmlns:a16="http://schemas.microsoft.com/office/drawing/2014/main" id="{89DAB812-C601-44F9-A00D-018D6B1E0839}"/>
              </a:ext>
            </a:extLst>
          </p:cNvPr>
          <p:cNvSpPr txBox="1"/>
          <p:nvPr/>
        </p:nvSpPr>
        <p:spPr>
          <a:xfrm>
            <a:off x="4503750" y="2326717"/>
            <a:ext cx="2615229" cy="1713418"/>
          </a:xfrm>
          <a:prstGeom prst="rect">
            <a:avLst/>
          </a:prstGeom>
          <a:noFill/>
        </p:spPr>
        <p:txBody>
          <a:bodyPr wrap="square" rtlCol="0">
            <a:spAutoFit/>
          </a:bodyPr>
          <a:lstStyle/>
          <a:p>
            <a:pPr defTabSz="1219170" fontAlgn="base">
              <a:buClr>
                <a:srgbClr val="007DB8"/>
              </a:buClr>
            </a:pPr>
            <a:r>
              <a:rPr lang="en-US" sz="1867" b="1" dirty="0">
                <a:solidFill>
                  <a:srgbClr val="007DB8"/>
                </a:solidFill>
                <a:latin typeface="Arial"/>
              </a:rPr>
              <a:t>MEDIAN :</a:t>
            </a:r>
            <a:endParaRPr lang="en-US" sz="1467" b="1" dirty="0">
              <a:solidFill>
                <a:srgbClr val="007DB8"/>
              </a:solidFill>
              <a:latin typeface="Arial"/>
            </a:endParaRPr>
          </a:p>
          <a:p>
            <a:pPr defTabSz="1219170" fontAlgn="base">
              <a:buClr>
                <a:srgbClr val="007DB8"/>
              </a:buClr>
            </a:pPr>
            <a:endParaRPr lang="en-US" sz="1467" b="1" dirty="0">
              <a:solidFill>
                <a:srgbClr val="007DB8"/>
              </a:solidFill>
              <a:latin typeface="Arial"/>
            </a:endParaRPr>
          </a:p>
          <a:p>
            <a:pPr defTabSz="1219170" fontAlgn="base">
              <a:buClr>
                <a:srgbClr val="007DB8"/>
              </a:buClr>
            </a:pPr>
            <a:r>
              <a:rPr lang="en-US" sz="2400" dirty="0">
                <a:solidFill>
                  <a:srgbClr val="000000">
                    <a:lumMod val="50000"/>
                    <a:lumOff val="50000"/>
                  </a:srgbClr>
                </a:solidFill>
                <a:latin typeface="Inter"/>
              </a:rPr>
              <a:t>The middle number in an ordered data set</a:t>
            </a:r>
          </a:p>
        </p:txBody>
      </p:sp>
      <p:sp>
        <p:nvSpPr>
          <p:cNvPr id="9" name="Rectangle 8">
            <a:extLst>
              <a:ext uri="{FF2B5EF4-FFF2-40B4-BE49-F238E27FC236}">
                <a16:creationId xmlns:a16="http://schemas.microsoft.com/office/drawing/2014/main" id="{905A28FF-286E-472E-85BF-8CEB657F1CF3}"/>
              </a:ext>
            </a:extLst>
          </p:cNvPr>
          <p:cNvSpPr/>
          <p:nvPr/>
        </p:nvSpPr>
        <p:spPr>
          <a:xfrm>
            <a:off x="8391851" y="2112660"/>
            <a:ext cx="2968891" cy="2568696"/>
          </a:xfrm>
          <a:prstGeom prst="rect">
            <a:avLst/>
          </a:prstGeom>
          <a:noFill/>
          <a:ln w="19050" cmpd="sng">
            <a:solidFill>
              <a:schemeClr val="tx1"/>
            </a:solidFill>
          </a:ln>
          <a:effectLst/>
        </p:spPr>
        <p:txBody>
          <a:bodyPr wrap="square" lIns="243840" tIns="182880" rIns="182880" bIns="182880" rtlCol="0" anchor="ctr">
            <a:noAutofit/>
          </a:bodyPr>
          <a:lstStyle/>
          <a:p>
            <a:pPr algn="ctr" defTabSz="1219170" fontAlgn="base">
              <a:lnSpc>
                <a:spcPct val="90000"/>
              </a:lnSpc>
              <a:spcBef>
                <a:spcPts val="800"/>
              </a:spcBef>
            </a:pPr>
            <a:endParaRPr lang="en-US" sz="2667" dirty="0" err="1">
              <a:solidFill>
                <a:srgbClr val="FFFFFF"/>
              </a:solidFill>
              <a:latin typeface="Arial"/>
            </a:endParaRPr>
          </a:p>
        </p:txBody>
      </p:sp>
      <p:sp>
        <p:nvSpPr>
          <p:cNvPr id="10" name="TextBox 9">
            <a:extLst>
              <a:ext uri="{FF2B5EF4-FFF2-40B4-BE49-F238E27FC236}">
                <a16:creationId xmlns:a16="http://schemas.microsoft.com/office/drawing/2014/main" id="{67FCE0DA-E98D-49E1-B9C2-4C30AF458A0C}"/>
              </a:ext>
            </a:extLst>
          </p:cNvPr>
          <p:cNvSpPr txBox="1"/>
          <p:nvPr/>
        </p:nvSpPr>
        <p:spPr>
          <a:xfrm>
            <a:off x="8486315" y="2326718"/>
            <a:ext cx="2615229" cy="1159420"/>
          </a:xfrm>
          <a:prstGeom prst="rect">
            <a:avLst/>
          </a:prstGeom>
          <a:noFill/>
        </p:spPr>
        <p:txBody>
          <a:bodyPr wrap="square" rtlCol="0">
            <a:spAutoFit/>
          </a:bodyPr>
          <a:lstStyle/>
          <a:p>
            <a:pPr defTabSz="1219170" fontAlgn="base">
              <a:buClr>
                <a:srgbClr val="007DB8"/>
              </a:buClr>
            </a:pPr>
            <a:r>
              <a:rPr lang="en-US" sz="1867" b="1" dirty="0">
                <a:solidFill>
                  <a:srgbClr val="007DB8"/>
                </a:solidFill>
                <a:latin typeface="Arial"/>
              </a:rPr>
              <a:t>MODE :</a:t>
            </a:r>
            <a:endParaRPr lang="en-US" sz="1333" b="1" dirty="0">
              <a:solidFill>
                <a:srgbClr val="007DB8"/>
              </a:solidFill>
              <a:latin typeface="Arial"/>
            </a:endParaRPr>
          </a:p>
          <a:p>
            <a:pPr defTabSz="1219170" fontAlgn="base">
              <a:buClr>
                <a:srgbClr val="007DB8"/>
              </a:buClr>
            </a:pPr>
            <a:endParaRPr lang="en-US" sz="1333" b="1" dirty="0">
              <a:solidFill>
                <a:srgbClr val="007DB8"/>
              </a:solidFill>
              <a:latin typeface="Arial"/>
            </a:endParaRPr>
          </a:p>
          <a:p>
            <a:pPr defTabSz="1219170" fontAlgn="base">
              <a:buClr>
                <a:srgbClr val="007DB8"/>
              </a:buClr>
            </a:pPr>
            <a:r>
              <a:rPr lang="en-US" sz="1867" dirty="0">
                <a:solidFill>
                  <a:srgbClr val="000000">
                    <a:lumMod val="50000"/>
                    <a:lumOff val="50000"/>
                  </a:srgbClr>
                </a:solidFill>
                <a:latin typeface="Inter"/>
              </a:rPr>
              <a:t>The most frequent value</a:t>
            </a:r>
          </a:p>
          <a:p>
            <a:pPr defTabSz="1219170" fontAlgn="base">
              <a:buClr>
                <a:srgbClr val="007DB8"/>
              </a:buClr>
            </a:pPr>
            <a:endParaRPr lang="en-US" sz="1867" b="1" dirty="0">
              <a:solidFill>
                <a:srgbClr val="007DB8"/>
              </a:solidFill>
              <a:latin typeface="Arial"/>
            </a:endParaRPr>
          </a:p>
        </p:txBody>
      </p:sp>
      <mc:AlternateContent xmlns:mc="http://schemas.openxmlformats.org/markup-compatibility/2006">
        <mc:Choice xmlns:p14="http://schemas.microsoft.com/office/powerpoint/2010/main" Requires="p14">
          <p:contentPart p14:bwMode="auto" r:id="rId2">
            <p14:nvContentPartPr>
              <p14:cNvPr id="3" name="Ink 2">
                <a:extLst>
                  <a:ext uri="{FF2B5EF4-FFF2-40B4-BE49-F238E27FC236}">
                    <a16:creationId xmlns:a16="http://schemas.microsoft.com/office/drawing/2014/main" id="{DBE329A6-0F4E-4A0E-A88D-EE8BCC4DEFC2}"/>
                  </a:ext>
                </a:extLst>
              </p14:cNvPr>
              <p14:cNvContentPartPr/>
              <p14:nvPr/>
            </p14:nvContentPartPr>
            <p14:xfrm>
              <a:off x="253920" y="800160"/>
              <a:ext cx="10731840" cy="6000960"/>
            </p14:xfrm>
          </p:contentPart>
        </mc:Choice>
        <mc:Fallback>
          <p:pic>
            <p:nvPicPr>
              <p:cNvPr id="3" name="Ink 2">
                <a:extLst>
                  <a:ext uri="{FF2B5EF4-FFF2-40B4-BE49-F238E27FC236}">
                    <a16:creationId xmlns:a16="http://schemas.microsoft.com/office/drawing/2014/main" id="{DBE329A6-0F4E-4A0E-A88D-EE8BCC4DEFC2}"/>
                  </a:ext>
                </a:extLst>
              </p:cNvPr>
              <p:cNvPicPr/>
              <p:nvPr/>
            </p:nvPicPr>
            <p:blipFill>
              <a:blip r:embed="rId3"/>
              <a:stretch>
                <a:fillRect/>
              </a:stretch>
            </p:blipFill>
            <p:spPr>
              <a:xfrm>
                <a:off x="244560" y="790800"/>
                <a:ext cx="10750560" cy="6019680"/>
              </a:xfrm>
              <a:prstGeom prst="rect">
                <a:avLst/>
              </a:prstGeom>
            </p:spPr>
          </p:pic>
        </mc:Fallback>
      </mc:AlternateContent>
    </p:spTree>
    <p:extLst>
      <p:ext uri="{BB962C8B-B14F-4D97-AF65-F5344CB8AC3E}">
        <p14:creationId xmlns:p14="http://schemas.microsoft.com/office/powerpoint/2010/main" val="4068607360"/>
      </p:ext>
    </p:extLst>
  </p:cSld>
  <p:clrMapOvr>
    <a:masterClrMapping/>
  </p:clrMapOvr>
  <p:transition spd="med">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8C326E3-E793-4419-9749-AAB5C1FA8435}"/>
              </a:ext>
            </a:extLst>
          </p:cNvPr>
          <p:cNvSpPr>
            <a:spLocks noGrp="1"/>
          </p:cNvSpPr>
          <p:nvPr>
            <p:ph type="body" sz="quarter" idx="10"/>
          </p:nvPr>
        </p:nvSpPr>
        <p:spPr>
          <a:xfrm>
            <a:off x="365757" y="879895"/>
            <a:ext cx="10607040" cy="318456"/>
          </a:xfrm>
        </p:spPr>
        <p:txBody>
          <a:bodyPr/>
          <a:lstStyle/>
          <a:p>
            <a:pPr marL="0" indent="0">
              <a:buNone/>
            </a:pPr>
            <a:r>
              <a:rPr lang="en-US" dirty="0"/>
              <a:t>Let’s </a:t>
            </a:r>
            <a:r>
              <a:rPr lang="en-US" dirty="0" err="1"/>
              <a:t>Gooooooooooo</a:t>
            </a:r>
            <a:r>
              <a:rPr lang="en-US" dirty="0"/>
              <a:t>… </a:t>
            </a:r>
          </a:p>
        </p:txBody>
      </p:sp>
      <p:sp>
        <p:nvSpPr>
          <p:cNvPr id="2" name="Title 1">
            <a:extLst>
              <a:ext uri="{FF2B5EF4-FFF2-40B4-BE49-F238E27FC236}">
                <a16:creationId xmlns:a16="http://schemas.microsoft.com/office/drawing/2014/main" id="{4643F953-1C23-46FD-AAAE-48D1EF3239AA}"/>
              </a:ext>
            </a:extLst>
          </p:cNvPr>
          <p:cNvSpPr>
            <a:spLocks noGrp="1"/>
          </p:cNvSpPr>
          <p:nvPr>
            <p:ph type="title"/>
          </p:nvPr>
        </p:nvSpPr>
        <p:spPr>
          <a:xfrm>
            <a:off x="235463" y="97851"/>
            <a:ext cx="10607040" cy="853440"/>
          </a:xfrm>
        </p:spPr>
        <p:txBody>
          <a:bodyPr>
            <a:normAutofit/>
          </a:bodyPr>
          <a:lstStyle/>
          <a:p>
            <a:r>
              <a:rPr lang="en-US" sz="4267" dirty="0"/>
              <a:t>Ready ??????????????</a:t>
            </a:r>
            <a:endParaRPr lang="en-US" dirty="0"/>
          </a:p>
        </p:txBody>
      </p:sp>
      <p:pic>
        <p:nvPicPr>
          <p:cNvPr id="6" name="Picture 5" descr="A red car driving on a road&#10;&#10;Description automatically generated with medium confidence">
            <a:extLst>
              <a:ext uri="{FF2B5EF4-FFF2-40B4-BE49-F238E27FC236}">
                <a16:creationId xmlns:a16="http://schemas.microsoft.com/office/drawing/2014/main" id="{24B9B8C4-AA54-41BC-B108-D9677BC8109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65758" y="1586051"/>
            <a:ext cx="9211012" cy="4761235"/>
          </a:xfrm>
          <a:prstGeom prst="rect">
            <a:avLst/>
          </a:prstGeom>
        </p:spPr>
      </p:pic>
    </p:spTree>
    <p:extLst>
      <p:ext uri="{BB962C8B-B14F-4D97-AF65-F5344CB8AC3E}">
        <p14:creationId xmlns:p14="http://schemas.microsoft.com/office/powerpoint/2010/main" val="379037975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602528787"/>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6C7DD8-E1BC-4EBD-BFD4-E6A6AF47F2E0}"/>
              </a:ext>
            </a:extLst>
          </p:cNvPr>
          <p:cNvSpPr>
            <a:spLocks noGrp="1"/>
          </p:cNvSpPr>
          <p:nvPr>
            <p:ph type="title"/>
          </p:nvPr>
        </p:nvSpPr>
        <p:spPr>
          <a:xfrm>
            <a:off x="151701" y="157763"/>
            <a:ext cx="10607040" cy="853440"/>
          </a:xfrm>
        </p:spPr>
        <p:txBody>
          <a:bodyPr/>
          <a:lstStyle/>
          <a:p>
            <a:r>
              <a:rPr lang="en-US" dirty="0"/>
              <a:t>Mean </a:t>
            </a:r>
          </a:p>
        </p:txBody>
      </p:sp>
      <p:sp>
        <p:nvSpPr>
          <p:cNvPr id="4" name="Content Placeholder 3">
            <a:extLst>
              <a:ext uri="{FF2B5EF4-FFF2-40B4-BE49-F238E27FC236}">
                <a16:creationId xmlns:a16="http://schemas.microsoft.com/office/drawing/2014/main" id="{76ABAD4C-07E6-4B48-A259-F8E361E4AAD0}"/>
              </a:ext>
            </a:extLst>
          </p:cNvPr>
          <p:cNvSpPr>
            <a:spLocks noGrp="1"/>
          </p:cNvSpPr>
          <p:nvPr>
            <p:ph sz="half" idx="1"/>
          </p:nvPr>
        </p:nvSpPr>
        <p:spPr>
          <a:xfrm>
            <a:off x="151701" y="1104725"/>
            <a:ext cx="10607040" cy="4023360"/>
          </a:xfrm>
        </p:spPr>
        <p:txBody>
          <a:bodyPr/>
          <a:lstStyle/>
          <a:p>
            <a:r>
              <a:rPr lang="en-US" dirty="0"/>
              <a:t>The mean is the average of a group of number and is computed by summing all numbers and dividing by the number of numbers.</a:t>
            </a:r>
          </a:p>
          <a:p>
            <a:endParaRPr lang="en-US" dirty="0"/>
          </a:p>
          <a:p>
            <a:pPr marL="0" indent="0">
              <a:buNone/>
            </a:pPr>
            <a:r>
              <a:rPr lang="en-US" b="1" dirty="0"/>
              <a:t>Ex: </a:t>
            </a:r>
            <a:r>
              <a:rPr lang="en-US" dirty="0"/>
              <a:t>of a Jumping castle</a:t>
            </a:r>
          </a:p>
          <a:p>
            <a:endParaRPr lang="en-US" dirty="0"/>
          </a:p>
          <a:p>
            <a:pPr marL="0" indent="0">
              <a:buNone/>
            </a:pPr>
            <a:endParaRPr lang="en-US" dirty="0"/>
          </a:p>
        </p:txBody>
      </p:sp>
      <p:pic>
        <p:nvPicPr>
          <p:cNvPr id="8" name="Picture 7" descr="A picture containing tree, outdoor, colorful&#10;&#10;Description automatically generated">
            <a:extLst>
              <a:ext uri="{FF2B5EF4-FFF2-40B4-BE49-F238E27FC236}">
                <a16:creationId xmlns:a16="http://schemas.microsoft.com/office/drawing/2014/main" id="{431D9C13-880E-4616-A698-2D43B2DD595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920989" y="2531467"/>
            <a:ext cx="3893028" cy="2596619"/>
          </a:xfrm>
          <a:prstGeom prst="rect">
            <a:avLst/>
          </a:prstGeom>
        </p:spPr>
      </p:pic>
      <p:sp>
        <p:nvSpPr>
          <p:cNvPr id="10" name="TextBox 9">
            <a:extLst>
              <a:ext uri="{FF2B5EF4-FFF2-40B4-BE49-F238E27FC236}">
                <a16:creationId xmlns:a16="http://schemas.microsoft.com/office/drawing/2014/main" id="{9527B901-F112-4CF6-B0AB-5B0206A695F7}"/>
              </a:ext>
            </a:extLst>
          </p:cNvPr>
          <p:cNvSpPr txBox="1"/>
          <p:nvPr/>
        </p:nvSpPr>
        <p:spPr>
          <a:xfrm>
            <a:off x="151702" y="5695804"/>
            <a:ext cx="6781917" cy="379656"/>
          </a:xfrm>
          <a:prstGeom prst="rect">
            <a:avLst/>
          </a:prstGeom>
          <a:noFill/>
        </p:spPr>
        <p:txBody>
          <a:bodyPr wrap="square" rtlCol="0">
            <a:spAutoFit/>
          </a:bodyPr>
          <a:lstStyle/>
          <a:p>
            <a:pPr defTabSz="1219170" fontAlgn="base">
              <a:buClr>
                <a:srgbClr val="007DB8"/>
              </a:buClr>
            </a:pPr>
            <a:r>
              <a:rPr lang="en-US" sz="1867" dirty="0">
                <a:solidFill>
                  <a:srgbClr val="000000"/>
                </a:solidFill>
                <a:latin typeface="Arial"/>
              </a:rPr>
              <a:t>Here the mean is accurate but not useful</a:t>
            </a:r>
          </a:p>
        </p:txBody>
      </p:sp>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FA871A85-4DAE-4496-9D48-4211AFF5ADE0}"/>
                  </a:ext>
                </a:extLst>
              </p14:cNvPr>
              <p14:cNvContentPartPr/>
              <p14:nvPr/>
            </p14:nvContentPartPr>
            <p14:xfrm>
              <a:off x="374880" y="2139840"/>
              <a:ext cx="7715520" cy="4458240"/>
            </p14:xfrm>
          </p:contentPart>
        </mc:Choice>
        <mc:Fallback>
          <p:pic>
            <p:nvPicPr>
              <p:cNvPr id="2" name="Ink 1">
                <a:extLst>
                  <a:ext uri="{FF2B5EF4-FFF2-40B4-BE49-F238E27FC236}">
                    <a16:creationId xmlns:a16="http://schemas.microsoft.com/office/drawing/2014/main" id="{FA871A85-4DAE-4496-9D48-4211AFF5ADE0}"/>
                  </a:ext>
                </a:extLst>
              </p:cNvPr>
              <p:cNvPicPr/>
              <p:nvPr/>
            </p:nvPicPr>
            <p:blipFill>
              <a:blip r:embed="rId5"/>
              <a:stretch>
                <a:fillRect/>
              </a:stretch>
            </p:blipFill>
            <p:spPr>
              <a:xfrm>
                <a:off x="365520" y="2130480"/>
                <a:ext cx="7734240" cy="4476960"/>
              </a:xfrm>
              <a:prstGeom prst="rect">
                <a:avLst/>
              </a:prstGeom>
            </p:spPr>
          </p:pic>
        </mc:Fallback>
      </mc:AlternateContent>
    </p:spTree>
    <p:extLst>
      <p:ext uri="{BB962C8B-B14F-4D97-AF65-F5344CB8AC3E}">
        <p14:creationId xmlns:p14="http://schemas.microsoft.com/office/powerpoint/2010/main" val="2688859099"/>
      </p:ext>
    </p:extLst>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22DD31-3378-4BFD-858A-45134180E98B}"/>
              </a:ext>
            </a:extLst>
          </p:cNvPr>
          <p:cNvSpPr>
            <a:spLocks noGrp="1"/>
          </p:cNvSpPr>
          <p:nvPr>
            <p:ph type="title"/>
          </p:nvPr>
        </p:nvSpPr>
        <p:spPr>
          <a:xfrm>
            <a:off x="105165" y="111228"/>
            <a:ext cx="10607040" cy="853440"/>
          </a:xfrm>
        </p:spPr>
        <p:txBody>
          <a:bodyPr/>
          <a:lstStyle/>
          <a:p>
            <a:r>
              <a:rPr lang="en-US" dirty="0"/>
              <a:t>Median</a:t>
            </a:r>
          </a:p>
        </p:txBody>
      </p:sp>
      <p:sp>
        <p:nvSpPr>
          <p:cNvPr id="4" name="Content Placeholder 3">
            <a:extLst>
              <a:ext uri="{FF2B5EF4-FFF2-40B4-BE49-F238E27FC236}">
                <a16:creationId xmlns:a16="http://schemas.microsoft.com/office/drawing/2014/main" id="{6E9599F9-7E29-4BD8-8E52-18FF8C724383}"/>
              </a:ext>
            </a:extLst>
          </p:cNvPr>
          <p:cNvSpPr>
            <a:spLocks noGrp="1"/>
          </p:cNvSpPr>
          <p:nvPr>
            <p:ph sz="half" idx="1"/>
          </p:nvPr>
        </p:nvSpPr>
        <p:spPr>
          <a:xfrm>
            <a:off x="272689" y="1160567"/>
            <a:ext cx="11025851" cy="4023360"/>
          </a:xfrm>
        </p:spPr>
        <p:txBody>
          <a:bodyPr/>
          <a:lstStyle/>
          <a:p>
            <a:r>
              <a:rPr lang="en-US" dirty="0"/>
              <a:t>List all the numbers in order and choose the middle one</a:t>
            </a:r>
          </a:p>
          <a:p>
            <a:r>
              <a:rPr lang="en-US" dirty="0"/>
              <a:t>Ex : Jumping castle continued </a:t>
            </a:r>
          </a:p>
          <a:p>
            <a:r>
              <a:rPr lang="en-US" dirty="0"/>
              <a:t>List the ages in order.</a:t>
            </a:r>
          </a:p>
        </p:txBody>
      </p:sp>
      <p:pic>
        <p:nvPicPr>
          <p:cNvPr id="6" name="Picture 5" descr="A group of planets in space&#10;&#10;Description automatically generated with low confidence">
            <a:extLst>
              <a:ext uri="{FF2B5EF4-FFF2-40B4-BE49-F238E27FC236}">
                <a16:creationId xmlns:a16="http://schemas.microsoft.com/office/drawing/2014/main" id="{375C0BAF-A535-485E-8530-85DE19CD3D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030058" y="2003062"/>
            <a:ext cx="4889253" cy="3261380"/>
          </a:xfrm>
          <a:prstGeom prst="rect">
            <a:avLst/>
          </a:prstGeom>
        </p:spPr>
      </p:pic>
      <mc:AlternateContent xmlns:mc="http://schemas.openxmlformats.org/markup-compatibility/2006">
        <mc:Choice xmlns:p14="http://schemas.microsoft.com/office/powerpoint/2010/main" Requires="p14">
          <p:contentPart p14:bwMode="auto" r:id="rId4">
            <p14:nvContentPartPr>
              <p14:cNvPr id="7" name="Ink 6">
                <a:extLst>
                  <a:ext uri="{FF2B5EF4-FFF2-40B4-BE49-F238E27FC236}">
                    <a16:creationId xmlns:a16="http://schemas.microsoft.com/office/drawing/2014/main" id="{E0B8A4BC-3487-4457-9730-B47802958AFF}"/>
                  </a:ext>
                </a:extLst>
              </p14:cNvPr>
              <p14:cNvContentPartPr/>
              <p14:nvPr/>
            </p14:nvContentPartPr>
            <p14:xfrm>
              <a:off x="590400" y="1689120"/>
              <a:ext cx="5944320" cy="2832480"/>
            </p14:xfrm>
          </p:contentPart>
        </mc:Choice>
        <mc:Fallback>
          <p:pic>
            <p:nvPicPr>
              <p:cNvPr id="7" name="Ink 6">
                <a:extLst>
                  <a:ext uri="{FF2B5EF4-FFF2-40B4-BE49-F238E27FC236}">
                    <a16:creationId xmlns:a16="http://schemas.microsoft.com/office/drawing/2014/main" id="{E0B8A4BC-3487-4457-9730-B47802958AFF}"/>
                  </a:ext>
                </a:extLst>
              </p:cNvPr>
              <p:cNvPicPr/>
              <p:nvPr/>
            </p:nvPicPr>
            <p:blipFill>
              <a:blip r:embed="rId5"/>
              <a:stretch>
                <a:fillRect/>
              </a:stretch>
            </p:blipFill>
            <p:spPr>
              <a:xfrm>
                <a:off x="581040" y="1679760"/>
                <a:ext cx="5963040" cy="2851200"/>
              </a:xfrm>
              <a:prstGeom prst="rect">
                <a:avLst/>
              </a:prstGeom>
            </p:spPr>
          </p:pic>
        </mc:Fallback>
      </mc:AlternateContent>
    </p:spTree>
    <p:extLst>
      <p:ext uri="{BB962C8B-B14F-4D97-AF65-F5344CB8AC3E}">
        <p14:creationId xmlns:p14="http://schemas.microsoft.com/office/powerpoint/2010/main" val="1532996662"/>
      </p:ext>
    </p:extLst>
  </p:cSld>
  <p:clrMapOvr>
    <a:masterClrMapping/>
  </p:clrMapOvr>
  <p:transition spd="med">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ABBA51-A685-4F2C-AE0B-DE4088F8EF66}"/>
              </a:ext>
            </a:extLst>
          </p:cNvPr>
          <p:cNvSpPr>
            <a:spLocks noGrp="1"/>
          </p:cNvSpPr>
          <p:nvPr>
            <p:ph type="title"/>
          </p:nvPr>
        </p:nvSpPr>
        <p:spPr/>
        <p:txBody>
          <a:bodyPr/>
          <a:lstStyle/>
          <a:p>
            <a:r>
              <a:rPr lang="en-US" dirty="0"/>
              <a:t>Median – Two middle numbers</a:t>
            </a:r>
          </a:p>
        </p:txBody>
      </p:sp>
      <p:sp>
        <p:nvSpPr>
          <p:cNvPr id="4" name="Content Placeholder 3">
            <a:extLst>
              <a:ext uri="{FF2B5EF4-FFF2-40B4-BE49-F238E27FC236}">
                <a16:creationId xmlns:a16="http://schemas.microsoft.com/office/drawing/2014/main" id="{B4DE2912-DDA6-440E-BEA6-B3A254DD16E9}"/>
              </a:ext>
            </a:extLst>
          </p:cNvPr>
          <p:cNvSpPr>
            <a:spLocks noGrp="1"/>
          </p:cNvSpPr>
          <p:nvPr>
            <p:ph sz="half" idx="1"/>
          </p:nvPr>
        </p:nvSpPr>
        <p:spPr>
          <a:xfrm>
            <a:off x="365759" y="1346704"/>
            <a:ext cx="10607040" cy="4023360"/>
          </a:xfrm>
        </p:spPr>
        <p:txBody>
          <a:bodyPr/>
          <a:lstStyle/>
          <a:p>
            <a:r>
              <a:rPr lang="en-US" dirty="0"/>
              <a:t>If there are two middle number, then just take the average of those two numbers</a:t>
            </a:r>
          </a:p>
          <a:p>
            <a:endParaRPr lang="en-US" dirty="0"/>
          </a:p>
          <a:p>
            <a:r>
              <a:rPr lang="en-US" dirty="0"/>
              <a:t>Ex : find Median of 7,9,10,11,11,15</a:t>
            </a:r>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ECFAF834-F8B2-4BFD-87F4-8514C95C2171}"/>
                  </a:ext>
                </a:extLst>
              </p14:cNvPr>
              <p14:cNvContentPartPr/>
              <p14:nvPr/>
            </p14:nvContentPartPr>
            <p14:xfrm>
              <a:off x="2635200" y="959040"/>
              <a:ext cx="4655040" cy="3880320"/>
            </p14:xfrm>
          </p:contentPart>
        </mc:Choice>
        <mc:Fallback>
          <p:pic>
            <p:nvPicPr>
              <p:cNvPr id="2" name="Ink 1">
                <a:extLst>
                  <a:ext uri="{FF2B5EF4-FFF2-40B4-BE49-F238E27FC236}">
                    <a16:creationId xmlns:a16="http://schemas.microsoft.com/office/drawing/2014/main" id="{ECFAF834-F8B2-4BFD-87F4-8514C95C2171}"/>
                  </a:ext>
                </a:extLst>
              </p:cNvPr>
              <p:cNvPicPr/>
              <p:nvPr/>
            </p:nvPicPr>
            <p:blipFill>
              <a:blip r:embed="rId3"/>
              <a:stretch>
                <a:fillRect/>
              </a:stretch>
            </p:blipFill>
            <p:spPr>
              <a:xfrm>
                <a:off x="2625840" y="949679"/>
                <a:ext cx="4673761" cy="3899041"/>
              </a:xfrm>
              <a:prstGeom prst="rect">
                <a:avLst/>
              </a:prstGeom>
            </p:spPr>
          </p:pic>
        </mc:Fallback>
      </mc:AlternateContent>
    </p:spTree>
    <p:extLst>
      <p:ext uri="{BB962C8B-B14F-4D97-AF65-F5344CB8AC3E}">
        <p14:creationId xmlns:p14="http://schemas.microsoft.com/office/powerpoint/2010/main" val="3262174151"/>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25CB22-FF51-4206-A208-F34D589823FC}"/>
              </a:ext>
            </a:extLst>
          </p:cNvPr>
          <p:cNvSpPr>
            <a:spLocks noGrp="1"/>
          </p:cNvSpPr>
          <p:nvPr>
            <p:ph type="title"/>
          </p:nvPr>
        </p:nvSpPr>
        <p:spPr>
          <a:xfrm>
            <a:off x="105165" y="185683"/>
            <a:ext cx="10607040" cy="853440"/>
          </a:xfrm>
        </p:spPr>
        <p:txBody>
          <a:bodyPr/>
          <a:lstStyle/>
          <a:p>
            <a:r>
              <a:rPr lang="en-US" dirty="0"/>
              <a:t>Mode</a:t>
            </a:r>
          </a:p>
        </p:txBody>
      </p:sp>
      <p:sp>
        <p:nvSpPr>
          <p:cNvPr id="4" name="Content Placeholder 3">
            <a:extLst>
              <a:ext uri="{FF2B5EF4-FFF2-40B4-BE49-F238E27FC236}">
                <a16:creationId xmlns:a16="http://schemas.microsoft.com/office/drawing/2014/main" id="{38C4030F-B49C-4D2E-A105-0BDA558200F7}"/>
              </a:ext>
            </a:extLst>
          </p:cNvPr>
          <p:cNvSpPr>
            <a:spLocks noGrp="1"/>
          </p:cNvSpPr>
          <p:nvPr>
            <p:ph sz="half" idx="1"/>
          </p:nvPr>
        </p:nvSpPr>
        <p:spPr>
          <a:xfrm>
            <a:off x="198236" y="893461"/>
            <a:ext cx="10607040" cy="5211847"/>
          </a:xfrm>
        </p:spPr>
        <p:txBody>
          <a:bodyPr/>
          <a:lstStyle/>
          <a:p>
            <a:r>
              <a:rPr lang="en-US" dirty="0">
                <a:solidFill>
                  <a:schemeClr val="bg2">
                    <a:lumMod val="50000"/>
                    <a:lumOff val="50000"/>
                  </a:schemeClr>
                </a:solidFill>
                <a:latin typeface="Inter"/>
              </a:rPr>
              <a:t>The most frequent value. (the value that occurs the highest number of times)</a:t>
            </a:r>
          </a:p>
          <a:p>
            <a:endParaRPr lang="en-US" dirty="0">
              <a:solidFill>
                <a:schemeClr val="bg2">
                  <a:lumMod val="50000"/>
                  <a:lumOff val="50000"/>
                </a:schemeClr>
              </a:solidFill>
              <a:latin typeface="Inter"/>
            </a:endParaRPr>
          </a:p>
          <a:p>
            <a:r>
              <a:rPr lang="en-US" dirty="0">
                <a:solidFill>
                  <a:schemeClr val="bg2">
                    <a:lumMod val="50000"/>
                    <a:lumOff val="50000"/>
                  </a:schemeClr>
                </a:solidFill>
                <a:latin typeface="Inter"/>
              </a:rPr>
              <a:t>Ex : Jumping castle continued</a:t>
            </a:r>
          </a:p>
          <a:p>
            <a:r>
              <a:rPr lang="en-US" dirty="0">
                <a:solidFill>
                  <a:schemeClr val="bg2">
                    <a:lumMod val="50000"/>
                    <a:lumOff val="50000"/>
                  </a:schemeClr>
                </a:solidFill>
                <a:latin typeface="Inter"/>
              </a:rPr>
              <a:t>Group the numbers so we can count them : </a:t>
            </a:r>
          </a:p>
          <a:p>
            <a:endParaRPr lang="en-US" dirty="0"/>
          </a:p>
        </p:txBody>
      </p:sp>
      <p:pic>
        <p:nvPicPr>
          <p:cNvPr id="6" name="Picture 5" descr="A group of planets in space&#10;&#10;Description automatically generated with low confidence">
            <a:extLst>
              <a:ext uri="{FF2B5EF4-FFF2-40B4-BE49-F238E27FC236}">
                <a16:creationId xmlns:a16="http://schemas.microsoft.com/office/drawing/2014/main" id="{9913AA4F-182A-4CFF-96F3-3A802A25BE2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030058" y="2003062"/>
            <a:ext cx="4889253" cy="3261380"/>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95F70820-FFB2-4F41-BC57-B2ECB93D9E08}"/>
                  </a:ext>
                </a:extLst>
              </p14:cNvPr>
              <p14:cNvContentPartPr/>
              <p14:nvPr/>
            </p14:nvContentPartPr>
            <p14:xfrm>
              <a:off x="1162080" y="6240"/>
              <a:ext cx="10801920" cy="6185280"/>
            </p14:xfrm>
          </p:contentPart>
        </mc:Choice>
        <mc:Fallback>
          <p:pic>
            <p:nvPicPr>
              <p:cNvPr id="2" name="Ink 1">
                <a:extLst>
                  <a:ext uri="{FF2B5EF4-FFF2-40B4-BE49-F238E27FC236}">
                    <a16:creationId xmlns:a16="http://schemas.microsoft.com/office/drawing/2014/main" id="{95F70820-FFB2-4F41-BC57-B2ECB93D9E08}"/>
                  </a:ext>
                </a:extLst>
              </p:cNvPr>
              <p:cNvPicPr/>
              <p:nvPr/>
            </p:nvPicPr>
            <p:blipFill>
              <a:blip r:embed="rId5"/>
              <a:stretch>
                <a:fillRect/>
              </a:stretch>
            </p:blipFill>
            <p:spPr>
              <a:xfrm>
                <a:off x="1152720" y="-3120"/>
                <a:ext cx="10820640" cy="6204000"/>
              </a:xfrm>
              <a:prstGeom prst="rect">
                <a:avLst/>
              </a:prstGeom>
            </p:spPr>
          </p:pic>
        </mc:Fallback>
      </mc:AlternateContent>
    </p:spTree>
    <p:extLst>
      <p:ext uri="{BB962C8B-B14F-4D97-AF65-F5344CB8AC3E}">
        <p14:creationId xmlns:p14="http://schemas.microsoft.com/office/powerpoint/2010/main" val="636038740"/>
      </p:ext>
    </p:extLst>
  </p:cSld>
  <p:clrMapOvr>
    <a:masterClrMapping/>
  </p:clrMapOvr>
  <p:transition spd="med">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D0E9BB-181B-4BF0-A706-7A35CF408AD5}"/>
              </a:ext>
            </a:extLst>
          </p:cNvPr>
          <p:cNvSpPr>
            <a:spLocks noGrp="1"/>
          </p:cNvSpPr>
          <p:nvPr>
            <p:ph type="title"/>
          </p:nvPr>
        </p:nvSpPr>
        <p:spPr>
          <a:xfrm>
            <a:off x="272691" y="176376"/>
            <a:ext cx="10607040" cy="853440"/>
          </a:xfrm>
        </p:spPr>
        <p:txBody>
          <a:bodyPr/>
          <a:lstStyle/>
          <a:p>
            <a:r>
              <a:rPr lang="en-US" dirty="0"/>
              <a:t>Mode</a:t>
            </a:r>
          </a:p>
        </p:txBody>
      </p:sp>
      <p:sp>
        <p:nvSpPr>
          <p:cNvPr id="4" name="Content Placeholder 3">
            <a:extLst>
              <a:ext uri="{FF2B5EF4-FFF2-40B4-BE49-F238E27FC236}">
                <a16:creationId xmlns:a16="http://schemas.microsoft.com/office/drawing/2014/main" id="{F7D859AF-EC6C-404E-A3A5-5C9B7B9266E3}"/>
              </a:ext>
            </a:extLst>
          </p:cNvPr>
          <p:cNvSpPr>
            <a:spLocks noGrp="1"/>
          </p:cNvSpPr>
          <p:nvPr>
            <p:ph sz="half" idx="1"/>
          </p:nvPr>
        </p:nvSpPr>
        <p:spPr>
          <a:xfrm>
            <a:off x="365760" y="958608"/>
            <a:ext cx="10607040" cy="5137392"/>
          </a:xfrm>
        </p:spPr>
        <p:txBody>
          <a:bodyPr/>
          <a:lstStyle/>
          <a:p>
            <a:r>
              <a:rPr lang="en-US" dirty="0">
                <a:solidFill>
                  <a:schemeClr val="bg2">
                    <a:lumMod val="50000"/>
                    <a:lumOff val="50000"/>
                  </a:schemeClr>
                </a:solidFill>
              </a:rPr>
              <a:t>But Mode can be tricky, there can sometime be more than one mode</a:t>
            </a:r>
          </a:p>
          <a:p>
            <a:endParaRPr lang="en-US" dirty="0">
              <a:solidFill>
                <a:schemeClr val="bg2">
                  <a:lumMod val="50000"/>
                  <a:lumOff val="50000"/>
                </a:schemeClr>
              </a:solidFill>
            </a:endParaRPr>
          </a:p>
          <a:p>
            <a:r>
              <a:rPr lang="en-US" dirty="0">
                <a:solidFill>
                  <a:schemeClr val="bg2">
                    <a:lumMod val="50000"/>
                    <a:lumOff val="50000"/>
                  </a:schemeClr>
                </a:solidFill>
              </a:rPr>
              <a:t>Ex : What is the Mode of 10,11,11,12,12,13,14</a:t>
            </a:r>
          </a:p>
          <a:p>
            <a:endParaRPr lang="en-US" dirty="0"/>
          </a:p>
          <a:p>
            <a:endParaRPr lang="en-US" dirty="0"/>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D1151B6A-E64E-48D2-A211-C120000F8072}"/>
                  </a:ext>
                </a:extLst>
              </p14:cNvPr>
              <p14:cNvContentPartPr/>
              <p14:nvPr/>
            </p14:nvContentPartPr>
            <p14:xfrm>
              <a:off x="3143040" y="1784160"/>
              <a:ext cx="1791360" cy="552960"/>
            </p14:xfrm>
          </p:contentPart>
        </mc:Choice>
        <mc:Fallback>
          <p:pic>
            <p:nvPicPr>
              <p:cNvPr id="2" name="Ink 1">
                <a:extLst>
                  <a:ext uri="{FF2B5EF4-FFF2-40B4-BE49-F238E27FC236}">
                    <a16:creationId xmlns:a16="http://schemas.microsoft.com/office/drawing/2014/main" id="{D1151B6A-E64E-48D2-A211-C120000F8072}"/>
                  </a:ext>
                </a:extLst>
              </p:cNvPr>
              <p:cNvPicPr/>
              <p:nvPr/>
            </p:nvPicPr>
            <p:blipFill>
              <a:blip r:embed="rId3"/>
              <a:stretch>
                <a:fillRect/>
              </a:stretch>
            </p:blipFill>
            <p:spPr>
              <a:xfrm>
                <a:off x="3133680" y="1774800"/>
                <a:ext cx="1810080" cy="571680"/>
              </a:xfrm>
              <a:prstGeom prst="rect">
                <a:avLst/>
              </a:prstGeom>
            </p:spPr>
          </p:pic>
        </mc:Fallback>
      </mc:AlternateContent>
    </p:spTree>
    <p:extLst>
      <p:ext uri="{BB962C8B-B14F-4D97-AF65-F5344CB8AC3E}">
        <p14:creationId xmlns:p14="http://schemas.microsoft.com/office/powerpoint/2010/main" val="3651340896"/>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105FE6-98FF-4D7B-B314-563F75F834DB}"/>
              </a:ext>
            </a:extLst>
          </p:cNvPr>
          <p:cNvSpPr>
            <a:spLocks noGrp="1"/>
          </p:cNvSpPr>
          <p:nvPr>
            <p:ph type="title"/>
          </p:nvPr>
        </p:nvSpPr>
        <p:spPr>
          <a:xfrm>
            <a:off x="67939" y="111227"/>
            <a:ext cx="10607040" cy="853440"/>
          </a:xfrm>
        </p:spPr>
        <p:txBody>
          <a:bodyPr/>
          <a:lstStyle/>
          <a:p>
            <a:r>
              <a:rPr lang="en-US" dirty="0"/>
              <a:t>Grouping</a:t>
            </a:r>
          </a:p>
        </p:txBody>
      </p:sp>
      <p:sp>
        <p:nvSpPr>
          <p:cNvPr id="4" name="Content Placeholder 3">
            <a:extLst>
              <a:ext uri="{FF2B5EF4-FFF2-40B4-BE49-F238E27FC236}">
                <a16:creationId xmlns:a16="http://schemas.microsoft.com/office/drawing/2014/main" id="{7467BCD5-CB99-4999-9385-6B8338F1F152}"/>
              </a:ext>
            </a:extLst>
          </p:cNvPr>
          <p:cNvSpPr>
            <a:spLocks noGrp="1"/>
          </p:cNvSpPr>
          <p:nvPr>
            <p:ph sz="half" idx="1"/>
          </p:nvPr>
        </p:nvSpPr>
        <p:spPr>
          <a:xfrm>
            <a:off x="67938" y="1160567"/>
            <a:ext cx="11444660" cy="5009888"/>
          </a:xfrm>
        </p:spPr>
        <p:txBody>
          <a:bodyPr/>
          <a:lstStyle/>
          <a:p>
            <a:r>
              <a:rPr lang="en-US" dirty="0">
                <a:solidFill>
                  <a:schemeClr val="bg2">
                    <a:lumMod val="50000"/>
                    <a:lumOff val="50000"/>
                  </a:schemeClr>
                </a:solidFill>
                <a:latin typeface="Inter"/>
              </a:rPr>
              <a:t>In Some cases (such as when all values appear the same number of times) the mode is not useful. But we can group the values to see if one group has more than the others </a:t>
            </a:r>
          </a:p>
          <a:p>
            <a:r>
              <a:rPr lang="en-US" dirty="0">
                <a:solidFill>
                  <a:schemeClr val="bg2">
                    <a:lumMod val="50000"/>
                    <a:lumOff val="50000"/>
                  </a:schemeClr>
                </a:solidFill>
                <a:latin typeface="Inter"/>
              </a:rPr>
              <a:t>Ex : 5, 8, 12, 17, 21</a:t>
            </a:r>
            <a:r>
              <a:rPr lang="en-US">
                <a:solidFill>
                  <a:schemeClr val="bg2">
                    <a:lumMod val="50000"/>
                    <a:lumOff val="50000"/>
                  </a:schemeClr>
                </a:solidFill>
                <a:latin typeface="Inter"/>
              </a:rPr>
              <a:t>, 23, </a:t>
            </a:r>
            <a:r>
              <a:rPr lang="en-US" dirty="0">
                <a:solidFill>
                  <a:schemeClr val="bg2">
                    <a:lumMod val="50000"/>
                    <a:lumOff val="50000"/>
                  </a:schemeClr>
                </a:solidFill>
                <a:latin typeface="Inter"/>
              </a:rPr>
              <a:t>26, 27</a:t>
            </a:r>
            <a:r>
              <a:rPr lang="en-US">
                <a:solidFill>
                  <a:schemeClr val="bg2">
                    <a:lumMod val="50000"/>
                    <a:lumOff val="50000"/>
                  </a:schemeClr>
                </a:solidFill>
                <a:latin typeface="Inter"/>
              </a:rPr>
              <a:t>, 34</a:t>
            </a:r>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r>
              <a:rPr lang="en-US" b="1" i="1" dirty="0">
                <a:solidFill>
                  <a:schemeClr val="bg2">
                    <a:lumMod val="50000"/>
                    <a:lumOff val="50000"/>
                  </a:schemeClr>
                </a:solidFill>
                <a:latin typeface="Inter"/>
              </a:rPr>
              <a:t>Note : You could use different grouping and get a different answer</a:t>
            </a:r>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3069C024-CC42-4785-842C-39D67027CB51}"/>
                  </a:ext>
                </a:extLst>
              </p14:cNvPr>
              <p14:cNvContentPartPr/>
              <p14:nvPr/>
            </p14:nvContentPartPr>
            <p14:xfrm>
              <a:off x="463680" y="1797120"/>
              <a:ext cx="7290240" cy="3791520"/>
            </p14:xfrm>
          </p:contentPart>
        </mc:Choice>
        <mc:Fallback>
          <p:pic>
            <p:nvPicPr>
              <p:cNvPr id="2" name="Ink 1">
                <a:extLst>
                  <a:ext uri="{FF2B5EF4-FFF2-40B4-BE49-F238E27FC236}">
                    <a16:creationId xmlns:a16="http://schemas.microsoft.com/office/drawing/2014/main" id="{3069C024-CC42-4785-842C-39D67027CB51}"/>
                  </a:ext>
                </a:extLst>
              </p:cNvPr>
              <p:cNvPicPr/>
              <p:nvPr/>
            </p:nvPicPr>
            <p:blipFill>
              <a:blip r:embed="rId3"/>
              <a:stretch>
                <a:fillRect/>
              </a:stretch>
            </p:blipFill>
            <p:spPr>
              <a:xfrm>
                <a:off x="454320" y="1787760"/>
                <a:ext cx="7308961" cy="3810240"/>
              </a:xfrm>
              <a:prstGeom prst="rect">
                <a:avLst/>
              </a:prstGeom>
            </p:spPr>
          </p:pic>
        </mc:Fallback>
      </mc:AlternateContent>
    </p:spTree>
    <p:extLst>
      <p:ext uri="{BB962C8B-B14F-4D97-AF65-F5344CB8AC3E}">
        <p14:creationId xmlns:p14="http://schemas.microsoft.com/office/powerpoint/2010/main" val="1995959026"/>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BDE561-1E11-496C-86F7-9FC450554141}"/>
              </a:ext>
            </a:extLst>
          </p:cNvPr>
          <p:cNvSpPr>
            <a:spLocks noGrp="1"/>
          </p:cNvSpPr>
          <p:nvPr>
            <p:ph type="title"/>
          </p:nvPr>
        </p:nvSpPr>
        <p:spPr>
          <a:xfrm>
            <a:off x="0" y="37308"/>
            <a:ext cx="10607040" cy="853440"/>
          </a:xfrm>
        </p:spPr>
        <p:txBody>
          <a:bodyPr/>
          <a:lstStyle/>
          <a:p>
            <a:r>
              <a:rPr lang="en-US" dirty="0"/>
              <a:t>Grouping another example</a:t>
            </a:r>
          </a:p>
        </p:txBody>
      </p:sp>
      <p:sp>
        <p:nvSpPr>
          <p:cNvPr id="4" name="Content Placeholder 3">
            <a:extLst>
              <a:ext uri="{FF2B5EF4-FFF2-40B4-BE49-F238E27FC236}">
                <a16:creationId xmlns:a16="http://schemas.microsoft.com/office/drawing/2014/main" id="{835414F6-32F3-427B-8782-BB4FFF32D390}"/>
              </a:ext>
            </a:extLst>
          </p:cNvPr>
          <p:cNvSpPr>
            <a:spLocks noGrp="1"/>
          </p:cNvSpPr>
          <p:nvPr>
            <p:ph sz="half" idx="1"/>
          </p:nvPr>
        </p:nvSpPr>
        <p:spPr>
          <a:xfrm>
            <a:off x="0" y="704531"/>
            <a:ext cx="11854160" cy="5270480"/>
          </a:xfrm>
        </p:spPr>
        <p:txBody>
          <a:bodyPr>
            <a:normAutofit/>
          </a:bodyPr>
          <a:lstStyle/>
          <a:p>
            <a:r>
              <a:rPr lang="en-US" dirty="0">
                <a:solidFill>
                  <a:schemeClr val="bg2">
                    <a:lumMod val="50000"/>
                    <a:lumOff val="50000"/>
                  </a:schemeClr>
                </a:solidFill>
              </a:rPr>
              <a:t>Grouping also help to find what the typical values are when the real-world messes things up!</a:t>
            </a:r>
          </a:p>
          <a:p>
            <a:r>
              <a:rPr lang="en-US" dirty="0">
                <a:solidFill>
                  <a:schemeClr val="bg2">
                    <a:lumMod val="50000"/>
                    <a:lumOff val="50000"/>
                  </a:schemeClr>
                </a:solidFill>
              </a:rPr>
              <a:t>Ex : How long to load a truck?</a:t>
            </a:r>
          </a:p>
          <a:p>
            <a:r>
              <a:rPr lang="en-US" dirty="0">
                <a:solidFill>
                  <a:schemeClr val="bg2">
                    <a:lumMod val="50000"/>
                    <a:lumOff val="50000"/>
                  </a:schemeClr>
                </a:solidFill>
              </a:rPr>
              <a:t>Robert recorded how long it take to load a truck in minutes:</a:t>
            </a:r>
          </a:p>
          <a:p>
            <a:pPr lvl="2"/>
            <a:r>
              <a:rPr lang="en-US" sz="1867" dirty="0">
                <a:solidFill>
                  <a:schemeClr val="bg2">
                    <a:lumMod val="50000"/>
                    <a:lumOff val="50000"/>
                  </a:schemeClr>
                </a:solidFill>
              </a:rPr>
              <a:t>46, 47, 43, 53, 69, 67, 46, 50, 57, 58, 45, 48, 61</a:t>
            </a:r>
          </a:p>
          <a:p>
            <a:r>
              <a:rPr lang="en-US" dirty="0">
                <a:solidFill>
                  <a:schemeClr val="bg2">
                    <a:lumMod val="50000"/>
                    <a:lumOff val="50000"/>
                  </a:schemeClr>
                </a:solidFill>
              </a:rPr>
              <a:t>It takes longer when there is break time or lunch so an average is not very useful.</a:t>
            </a:r>
          </a:p>
          <a:p>
            <a:r>
              <a:rPr lang="en-US" dirty="0">
                <a:solidFill>
                  <a:schemeClr val="bg2">
                    <a:lumMod val="50000"/>
                    <a:lumOff val="50000"/>
                  </a:schemeClr>
                </a:solidFill>
              </a:rPr>
              <a:t>But grouping by 5s gives:</a:t>
            </a:r>
          </a:p>
          <a:p>
            <a:pPr marL="0" indent="0">
              <a:buNone/>
            </a:pPr>
            <a:endParaRPr lang="en-US" dirty="0">
              <a:solidFill>
                <a:schemeClr val="bg2">
                  <a:lumMod val="50000"/>
                  <a:lumOff val="50000"/>
                </a:schemeClr>
              </a:solidFill>
            </a:endParaRPr>
          </a:p>
          <a:p>
            <a:pPr>
              <a:lnSpc>
                <a:spcPct val="10000"/>
              </a:lnSpc>
            </a:pPr>
            <a:r>
              <a:rPr lang="en-US" dirty="0">
                <a:solidFill>
                  <a:schemeClr val="bg2">
                    <a:lumMod val="50000"/>
                    <a:lumOff val="50000"/>
                  </a:schemeClr>
                </a:solidFill>
              </a:rPr>
              <a:t>40 - 44 : 1</a:t>
            </a:r>
          </a:p>
          <a:p>
            <a:pPr>
              <a:lnSpc>
                <a:spcPct val="10000"/>
              </a:lnSpc>
            </a:pPr>
            <a:r>
              <a:rPr lang="en-US" dirty="0">
                <a:solidFill>
                  <a:schemeClr val="bg2">
                    <a:lumMod val="50000"/>
                    <a:lumOff val="50000"/>
                  </a:schemeClr>
                </a:solidFill>
              </a:rPr>
              <a:t>45 - 49 : 5</a:t>
            </a:r>
          </a:p>
          <a:p>
            <a:pPr>
              <a:lnSpc>
                <a:spcPct val="10000"/>
              </a:lnSpc>
            </a:pPr>
            <a:r>
              <a:rPr lang="en-US" dirty="0">
                <a:solidFill>
                  <a:schemeClr val="bg2">
                    <a:lumMod val="50000"/>
                    <a:lumOff val="50000"/>
                  </a:schemeClr>
                </a:solidFill>
              </a:rPr>
              <a:t>50 – 54 : 2</a:t>
            </a:r>
          </a:p>
          <a:p>
            <a:pPr>
              <a:lnSpc>
                <a:spcPct val="10000"/>
              </a:lnSpc>
            </a:pPr>
            <a:r>
              <a:rPr lang="en-US" dirty="0">
                <a:solidFill>
                  <a:schemeClr val="bg2">
                    <a:lumMod val="50000"/>
                    <a:lumOff val="50000"/>
                  </a:schemeClr>
                </a:solidFill>
              </a:rPr>
              <a:t>55 – 59 : 2</a:t>
            </a:r>
          </a:p>
          <a:p>
            <a:pPr>
              <a:lnSpc>
                <a:spcPct val="10000"/>
              </a:lnSpc>
            </a:pPr>
            <a:r>
              <a:rPr lang="en-US" dirty="0">
                <a:solidFill>
                  <a:schemeClr val="bg2">
                    <a:lumMod val="50000"/>
                    <a:lumOff val="50000"/>
                  </a:schemeClr>
                </a:solidFill>
              </a:rPr>
              <a:t>60 – 64 : 1</a:t>
            </a:r>
          </a:p>
          <a:p>
            <a:pPr>
              <a:lnSpc>
                <a:spcPct val="10000"/>
              </a:lnSpc>
            </a:pPr>
            <a:r>
              <a:rPr lang="en-US" dirty="0">
                <a:solidFill>
                  <a:schemeClr val="bg2">
                    <a:lumMod val="50000"/>
                    <a:lumOff val="50000"/>
                  </a:schemeClr>
                </a:solidFill>
              </a:rPr>
              <a:t>64 – 69 : 2</a:t>
            </a:r>
          </a:p>
          <a:p>
            <a:r>
              <a:rPr lang="en-US" dirty="0">
                <a:solidFill>
                  <a:schemeClr val="bg2">
                    <a:lumMod val="50000"/>
                    <a:lumOff val="50000"/>
                  </a:schemeClr>
                </a:solidFill>
              </a:rPr>
              <a:t>“45 – 49” appear most often, so we can say it normally take about 37 minutes to fill a pallet</a:t>
            </a:r>
          </a:p>
          <a:p>
            <a:endParaRPr lang="en-US" sz="2133" dirty="0"/>
          </a:p>
          <a:p>
            <a:pPr lvl="3"/>
            <a:endParaRPr lang="en-US" sz="2133" dirty="0"/>
          </a:p>
          <a:p>
            <a:pPr lvl="3"/>
            <a:endParaRPr lang="en-US" sz="2133" dirty="0"/>
          </a:p>
        </p:txBody>
      </p:sp>
      <p:pic>
        <p:nvPicPr>
          <p:cNvPr id="11" name="Picture 10" descr="A picture containing truck, green, road, sky&#10;&#10;Description automatically generated">
            <a:extLst>
              <a:ext uri="{FF2B5EF4-FFF2-40B4-BE49-F238E27FC236}">
                <a16:creationId xmlns:a16="http://schemas.microsoft.com/office/drawing/2014/main" id="{DFA02102-7297-4F45-88F7-388D314238A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873612" y="2829289"/>
            <a:ext cx="4250445" cy="2390876"/>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90B1C5B8-1E7C-4B67-A6C3-DDC5382B09B5}"/>
                  </a:ext>
                </a:extLst>
              </p14:cNvPr>
              <p14:cNvContentPartPr/>
              <p14:nvPr/>
            </p14:nvContentPartPr>
            <p14:xfrm>
              <a:off x="95040" y="342720"/>
              <a:ext cx="11544960" cy="6249120"/>
            </p14:xfrm>
          </p:contentPart>
        </mc:Choice>
        <mc:Fallback>
          <p:pic>
            <p:nvPicPr>
              <p:cNvPr id="2" name="Ink 1">
                <a:extLst>
                  <a:ext uri="{FF2B5EF4-FFF2-40B4-BE49-F238E27FC236}">
                    <a16:creationId xmlns:a16="http://schemas.microsoft.com/office/drawing/2014/main" id="{90B1C5B8-1E7C-4B67-A6C3-DDC5382B09B5}"/>
                  </a:ext>
                </a:extLst>
              </p:cNvPr>
              <p:cNvPicPr/>
              <p:nvPr/>
            </p:nvPicPr>
            <p:blipFill>
              <a:blip r:embed="rId5"/>
              <a:stretch>
                <a:fillRect/>
              </a:stretch>
            </p:blipFill>
            <p:spPr>
              <a:xfrm>
                <a:off x="85680" y="333360"/>
                <a:ext cx="11563680" cy="6267841"/>
              </a:xfrm>
              <a:prstGeom prst="rect">
                <a:avLst/>
              </a:prstGeom>
            </p:spPr>
          </p:pic>
        </mc:Fallback>
      </mc:AlternateContent>
    </p:spTree>
    <p:extLst>
      <p:ext uri="{BB962C8B-B14F-4D97-AF65-F5344CB8AC3E}">
        <p14:creationId xmlns:p14="http://schemas.microsoft.com/office/powerpoint/2010/main" val="3831935352"/>
      </p:ext>
    </p:extLst>
  </p:cSld>
  <p:clrMapOvr>
    <a:masterClrMapping/>
  </p:clrMapOvr>
  <p:transition spd="med">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E6B03A-C11B-445A-B3EE-89676853E2DC}"/>
              </a:ext>
            </a:extLst>
          </p:cNvPr>
          <p:cNvSpPr>
            <a:spLocks noGrp="1"/>
          </p:cNvSpPr>
          <p:nvPr>
            <p:ph type="title"/>
          </p:nvPr>
        </p:nvSpPr>
        <p:spPr>
          <a:xfrm>
            <a:off x="123780" y="120535"/>
            <a:ext cx="10607040" cy="853440"/>
          </a:xfrm>
        </p:spPr>
        <p:txBody>
          <a:bodyPr/>
          <a:lstStyle/>
          <a:p>
            <a:r>
              <a:rPr lang="en-US" dirty="0"/>
              <a:t>Outlier </a:t>
            </a:r>
          </a:p>
        </p:txBody>
      </p:sp>
      <p:sp>
        <p:nvSpPr>
          <p:cNvPr id="4" name="Content Placeholder 3">
            <a:extLst>
              <a:ext uri="{FF2B5EF4-FFF2-40B4-BE49-F238E27FC236}">
                <a16:creationId xmlns:a16="http://schemas.microsoft.com/office/drawing/2014/main" id="{CB5A1369-CDB1-4F9B-ADBB-7DB33F294B4E}"/>
              </a:ext>
            </a:extLst>
          </p:cNvPr>
          <p:cNvSpPr>
            <a:spLocks noGrp="1"/>
          </p:cNvSpPr>
          <p:nvPr>
            <p:ph sz="half" idx="1"/>
          </p:nvPr>
        </p:nvSpPr>
        <p:spPr>
          <a:xfrm>
            <a:off x="263385" y="867988"/>
            <a:ext cx="10607040" cy="5122025"/>
          </a:xfrm>
        </p:spPr>
        <p:txBody>
          <a:bodyPr/>
          <a:lstStyle/>
          <a:p>
            <a:r>
              <a:rPr lang="en-US" dirty="0">
                <a:solidFill>
                  <a:schemeClr val="bg2">
                    <a:lumMod val="50000"/>
                    <a:lumOff val="50000"/>
                  </a:schemeClr>
                </a:solidFill>
                <a:latin typeface="Inter"/>
              </a:rPr>
              <a:t>A value that "lies outside" (is much smaller or larger than) most of the other values in a set of data. They can change the mean a lot, so we can either not used them or use mean median mode instead.</a:t>
            </a:r>
          </a:p>
          <a:p>
            <a:r>
              <a:rPr lang="en-US" dirty="0">
                <a:solidFill>
                  <a:schemeClr val="bg2">
                    <a:lumMod val="50000"/>
                    <a:lumOff val="50000"/>
                  </a:schemeClr>
                </a:solidFill>
                <a:latin typeface="Inter"/>
              </a:rPr>
              <a:t>Ex : In this set of random numbers, 1 and 201 are outliers:</a:t>
            </a:r>
          </a:p>
          <a:p>
            <a:pPr lvl="1"/>
            <a:r>
              <a:rPr lang="en-US" dirty="0">
                <a:solidFill>
                  <a:schemeClr val="bg2">
                    <a:lumMod val="50000"/>
                    <a:lumOff val="50000"/>
                  </a:schemeClr>
                </a:solidFill>
                <a:latin typeface="Inter"/>
              </a:rPr>
              <a:t>1, 99, 100, 101, 103, 109, 110, 201</a:t>
            </a:r>
          </a:p>
          <a:p>
            <a:pPr lvl="1"/>
            <a:r>
              <a:rPr lang="en-US" dirty="0">
                <a:solidFill>
                  <a:schemeClr val="bg2">
                    <a:lumMod val="50000"/>
                    <a:lumOff val="50000"/>
                  </a:schemeClr>
                </a:solidFill>
                <a:latin typeface="Inter"/>
              </a:rPr>
              <a:t>“1” is an extremely low value and “201” is an extremely high value.</a:t>
            </a:r>
          </a:p>
          <a:p>
            <a:r>
              <a:rPr lang="en-US" dirty="0">
                <a:solidFill>
                  <a:schemeClr val="bg2">
                    <a:lumMod val="50000"/>
                    <a:lumOff val="50000"/>
                  </a:schemeClr>
                </a:solidFill>
                <a:latin typeface="Inter"/>
              </a:rPr>
              <a:t>Outliers aren’t always that obvious. Let’s say you received the following paychecks last month:</a:t>
            </a:r>
          </a:p>
          <a:p>
            <a:pPr lvl="1"/>
            <a:r>
              <a:rPr lang="en-US" dirty="0">
                <a:solidFill>
                  <a:schemeClr val="bg2">
                    <a:lumMod val="50000"/>
                    <a:lumOff val="50000"/>
                  </a:schemeClr>
                </a:solidFill>
                <a:latin typeface="Inter"/>
              </a:rPr>
              <a:t>$225, $250, $25, $235.</a:t>
            </a:r>
          </a:p>
          <a:p>
            <a:pPr lvl="1"/>
            <a:r>
              <a:rPr lang="en-US" dirty="0">
                <a:solidFill>
                  <a:schemeClr val="bg2">
                    <a:lumMod val="50000"/>
                    <a:lumOff val="50000"/>
                  </a:schemeClr>
                </a:solidFill>
                <a:latin typeface="Inter"/>
              </a:rPr>
              <a:t>Your average paycheck is $135. But that small paycheck ($25) might be because you went on vacation, so a weekly paycheck average of $135 isn’t a true reflection of how much you earned. Your average is actually closer to $237 if you take the outlier ($25) out of the set.</a:t>
            </a:r>
          </a:p>
          <a:p>
            <a:r>
              <a:rPr lang="en-US" dirty="0">
                <a:solidFill>
                  <a:schemeClr val="bg2">
                    <a:lumMod val="50000"/>
                    <a:lumOff val="50000"/>
                  </a:schemeClr>
                </a:solidFill>
                <a:latin typeface="Inter"/>
              </a:rPr>
              <a:t>Age of students studying Data science in Board Infinity</a:t>
            </a:r>
          </a:p>
          <a:p>
            <a:pPr lvl="1"/>
            <a:r>
              <a:rPr lang="en-US" dirty="0">
                <a:solidFill>
                  <a:schemeClr val="bg2">
                    <a:lumMod val="50000"/>
                    <a:lumOff val="50000"/>
                  </a:schemeClr>
                </a:solidFill>
                <a:latin typeface="Inter"/>
              </a:rPr>
              <a:t>Ex : </a:t>
            </a:r>
          </a:p>
          <a:p>
            <a:pPr lvl="1"/>
            <a:endParaRPr lang="en-US" dirty="0"/>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7770C326-3E18-4678-AF54-4335715E255E}"/>
                  </a:ext>
                </a:extLst>
              </p14:cNvPr>
              <p14:cNvContentPartPr/>
              <p14:nvPr/>
            </p14:nvContentPartPr>
            <p14:xfrm>
              <a:off x="133440" y="831840"/>
              <a:ext cx="11938560" cy="5766240"/>
            </p14:xfrm>
          </p:contentPart>
        </mc:Choice>
        <mc:Fallback>
          <p:pic>
            <p:nvPicPr>
              <p:cNvPr id="2" name="Ink 1">
                <a:extLst>
                  <a:ext uri="{FF2B5EF4-FFF2-40B4-BE49-F238E27FC236}">
                    <a16:creationId xmlns:a16="http://schemas.microsoft.com/office/drawing/2014/main" id="{7770C326-3E18-4678-AF54-4335715E255E}"/>
                  </a:ext>
                </a:extLst>
              </p:cNvPr>
              <p:cNvPicPr/>
              <p:nvPr/>
            </p:nvPicPr>
            <p:blipFill>
              <a:blip r:embed="rId3"/>
              <a:stretch>
                <a:fillRect/>
              </a:stretch>
            </p:blipFill>
            <p:spPr>
              <a:xfrm>
                <a:off x="124080" y="822480"/>
                <a:ext cx="11957280" cy="5784960"/>
              </a:xfrm>
              <a:prstGeom prst="rect">
                <a:avLst/>
              </a:prstGeom>
            </p:spPr>
          </p:pic>
        </mc:Fallback>
      </mc:AlternateContent>
    </p:spTree>
    <p:extLst>
      <p:ext uri="{BB962C8B-B14F-4D97-AF65-F5344CB8AC3E}">
        <p14:creationId xmlns:p14="http://schemas.microsoft.com/office/powerpoint/2010/main" val="1048263595"/>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C4D7A-EB20-44C5-815F-C0641D331487}"/>
              </a:ext>
            </a:extLst>
          </p:cNvPr>
          <p:cNvSpPr>
            <a:spLocks noGrp="1"/>
          </p:cNvSpPr>
          <p:nvPr>
            <p:ph type="title"/>
          </p:nvPr>
        </p:nvSpPr>
        <p:spPr/>
        <p:txBody>
          <a:bodyPr/>
          <a:lstStyle/>
          <a:p>
            <a:r>
              <a:rPr lang="en-US" dirty="0"/>
              <a:t>Outlier </a:t>
            </a:r>
            <a:r>
              <a:rPr lang="en-US" dirty="0">
                <a:solidFill>
                  <a:schemeClr val="bg2">
                    <a:lumMod val="50000"/>
                    <a:lumOff val="50000"/>
                  </a:schemeClr>
                </a:solidFill>
              </a:rPr>
              <a:t>-</a:t>
            </a:r>
            <a:r>
              <a:rPr lang="en-US" dirty="0"/>
              <a:t> </a:t>
            </a:r>
            <a:r>
              <a:rPr lang="en-US" dirty="0">
                <a:solidFill>
                  <a:schemeClr val="bg2">
                    <a:lumMod val="50000"/>
                    <a:lumOff val="50000"/>
                  </a:schemeClr>
                </a:solidFill>
              </a:rPr>
              <a:t>continued</a:t>
            </a:r>
          </a:p>
        </p:txBody>
      </p:sp>
      <p:pic>
        <p:nvPicPr>
          <p:cNvPr id="6" name="Content Placeholder 5">
            <a:extLst>
              <a:ext uri="{FF2B5EF4-FFF2-40B4-BE49-F238E27FC236}">
                <a16:creationId xmlns:a16="http://schemas.microsoft.com/office/drawing/2014/main" id="{2B7093CC-771B-4C73-A0DC-D3F5C3CE8DED}"/>
              </a:ext>
            </a:extLst>
          </p:cNvPr>
          <p:cNvPicPr>
            <a:picLocks noGrp="1" noChangeAspect="1"/>
          </p:cNvPicPr>
          <p:nvPr>
            <p:ph sz="half" idx="1"/>
          </p:nvPr>
        </p:nvPicPr>
        <p:blipFill>
          <a:blip r:embed="rId2"/>
          <a:stretch>
            <a:fillRect/>
          </a:stretch>
        </p:blipFill>
        <p:spPr>
          <a:xfrm>
            <a:off x="6023735" y="65334"/>
            <a:ext cx="5638800" cy="723900"/>
          </a:xfrm>
        </p:spPr>
      </p:pic>
      <p:grpSp>
        <p:nvGrpSpPr>
          <p:cNvPr id="47" name="Group 46">
            <a:extLst>
              <a:ext uri="{FF2B5EF4-FFF2-40B4-BE49-F238E27FC236}">
                <a16:creationId xmlns:a16="http://schemas.microsoft.com/office/drawing/2014/main" id="{2A49F424-6475-4B80-B98E-BC7A187747C0}"/>
              </a:ext>
            </a:extLst>
          </p:cNvPr>
          <p:cNvGrpSpPr/>
          <p:nvPr/>
        </p:nvGrpSpPr>
        <p:grpSpPr>
          <a:xfrm>
            <a:off x="6505836" y="623411"/>
            <a:ext cx="150240" cy="213120"/>
            <a:chOff x="4879377" y="467558"/>
            <a:chExt cx="112680" cy="159840"/>
          </a:xfrm>
        </p:grpSpPr>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A3C6882A-8F86-4203-BC54-CC76A101CAD1}"/>
                    </a:ext>
                  </a:extLst>
                </p14:cNvPr>
                <p14:cNvContentPartPr/>
                <p14:nvPr/>
              </p14:nvContentPartPr>
              <p14:xfrm>
                <a:off x="4879377" y="537038"/>
                <a:ext cx="13680" cy="90360"/>
              </p14:xfrm>
            </p:contentPart>
          </mc:Choice>
          <mc:Fallback xmlns="">
            <p:pic>
              <p:nvPicPr>
                <p:cNvPr id="7" name="Ink 6">
                  <a:extLst>
                    <a:ext uri="{FF2B5EF4-FFF2-40B4-BE49-F238E27FC236}">
                      <a16:creationId xmlns:a16="http://schemas.microsoft.com/office/drawing/2014/main" id="{A3C6882A-8F86-4203-BC54-CC76A101CAD1}"/>
                    </a:ext>
                  </a:extLst>
                </p:cNvPr>
                <p:cNvPicPr/>
                <p:nvPr/>
              </p:nvPicPr>
              <p:blipFill>
                <a:blip r:embed="rId4"/>
                <a:stretch>
                  <a:fillRect/>
                </a:stretch>
              </p:blipFill>
              <p:spPr>
                <a:xfrm>
                  <a:off x="4875057" y="532718"/>
                  <a:ext cx="2232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EBEB0D83-5163-4079-A7FB-019746BE0D7F}"/>
                    </a:ext>
                  </a:extLst>
                </p14:cNvPr>
                <p14:cNvContentPartPr/>
                <p14:nvPr/>
              </p14:nvContentPartPr>
              <p14:xfrm>
                <a:off x="4915017" y="544238"/>
                <a:ext cx="77040" cy="78840"/>
              </p14:xfrm>
            </p:contentPart>
          </mc:Choice>
          <mc:Fallback xmlns="">
            <p:pic>
              <p:nvPicPr>
                <p:cNvPr id="8" name="Ink 7">
                  <a:extLst>
                    <a:ext uri="{FF2B5EF4-FFF2-40B4-BE49-F238E27FC236}">
                      <a16:creationId xmlns:a16="http://schemas.microsoft.com/office/drawing/2014/main" id="{EBEB0D83-5163-4079-A7FB-019746BE0D7F}"/>
                    </a:ext>
                  </a:extLst>
                </p:cNvPr>
                <p:cNvPicPr/>
                <p:nvPr/>
              </p:nvPicPr>
              <p:blipFill>
                <a:blip r:embed="rId6"/>
                <a:stretch>
                  <a:fillRect/>
                </a:stretch>
              </p:blipFill>
              <p:spPr>
                <a:xfrm>
                  <a:off x="4910697" y="539918"/>
                  <a:ext cx="85680"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1" name="Ink 40">
                  <a:extLst>
                    <a:ext uri="{FF2B5EF4-FFF2-40B4-BE49-F238E27FC236}">
                      <a16:creationId xmlns:a16="http://schemas.microsoft.com/office/drawing/2014/main" id="{9B996CA9-706D-4868-8DFB-7818048A6F32}"/>
                    </a:ext>
                  </a:extLst>
                </p14:cNvPr>
                <p14:cNvContentPartPr/>
                <p14:nvPr/>
              </p14:nvContentPartPr>
              <p14:xfrm>
                <a:off x="4951017" y="467558"/>
                <a:ext cx="18720" cy="55080"/>
              </p14:xfrm>
            </p:contentPart>
          </mc:Choice>
          <mc:Fallback xmlns="">
            <p:pic>
              <p:nvPicPr>
                <p:cNvPr id="41" name="Ink 40">
                  <a:extLst>
                    <a:ext uri="{FF2B5EF4-FFF2-40B4-BE49-F238E27FC236}">
                      <a16:creationId xmlns:a16="http://schemas.microsoft.com/office/drawing/2014/main" id="{9B996CA9-706D-4868-8DFB-7818048A6F32}"/>
                    </a:ext>
                  </a:extLst>
                </p:cNvPr>
                <p:cNvPicPr/>
                <p:nvPr/>
              </p:nvPicPr>
              <p:blipFill>
                <a:blip r:embed="rId8"/>
                <a:stretch>
                  <a:fillRect/>
                </a:stretch>
              </p:blipFill>
              <p:spPr>
                <a:xfrm>
                  <a:off x="4946697" y="463238"/>
                  <a:ext cx="27360" cy="63720"/>
                </a:xfrm>
                <a:prstGeom prst="rect">
                  <a:avLst/>
                </a:prstGeom>
              </p:spPr>
            </p:pic>
          </mc:Fallback>
        </mc:AlternateContent>
      </p:grpSp>
      <p:grpSp>
        <p:nvGrpSpPr>
          <p:cNvPr id="46" name="Group 45">
            <a:extLst>
              <a:ext uri="{FF2B5EF4-FFF2-40B4-BE49-F238E27FC236}">
                <a16:creationId xmlns:a16="http://schemas.microsoft.com/office/drawing/2014/main" id="{982482D8-1D90-4954-A22B-C99127ED1CC2}"/>
              </a:ext>
            </a:extLst>
          </p:cNvPr>
          <p:cNvGrpSpPr/>
          <p:nvPr/>
        </p:nvGrpSpPr>
        <p:grpSpPr>
          <a:xfrm>
            <a:off x="6802476" y="641651"/>
            <a:ext cx="131520" cy="216960"/>
            <a:chOff x="5101857" y="481238"/>
            <a:chExt cx="98640" cy="1627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6A7A2615-AD9A-4AAB-8E31-8819C563683E}"/>
                    </a:ext>
                  </a:extLst>
                </p14:cNvPr>
                <p14:cNvContentPartPr/>
                <p14:nvPr/>
              </p14:nvContentPartPr>
              <p14:xfrm>
                <a:off x="5101857" y="578798"/>
                <a:ext cx="48240" cy="65160"/>
              </p14:xfrm>
            </p:contentPart>
          </mc:Choice>
          <mc:Fallback xmlns="">
            <p:pic>
              <p:nvPicPr>
                <p:cNvPr id="10" name="Ink 9">
                  <a:extLst>
                    <a:ext uri="{FF2B5EF4-FFF2-40B4-BE49-F238E27FC236}">
                      <a16:creationId xmlns:a16="http://schemas.microsoft.com/office/drawing/2014/main" id="{6A7A2615-AD9A-4AAB-8E31-8819C563683E}"/>
                    </a:ext>
                  </a:extLst>
                </p:cNvPr>
                <p:cNvPicPr/>
                <p:nvPr/>
              </p:nvPicPr>
              <p:blipFill>
                <a:blip r:embed="rId10"/>
                <a:stretch>
                  <a:fillRect/>
                </a:stretch>
              </p:blipFill>
              <p:spPr>
                <a:xfrm>
                  <a:off x="5097537" y="574478"/>
                  <a:ext cx="5688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9E501B2A-6CC0-4031-974F-93C2E718C905}"/>
                    </a:ext>
                  </a:extLst>
                </p14:cNvPr>
                <p14:cNvContentPartPr/>
                <p14:nvPr/>
              </p14:nvContentPartPr>
              <p14:xfrm>
                <a:off x="5167017" y="579158"/>
                <a:ext cx="31680" cy="45000"/>
              </p14:xfrm>
            </p:contentPart>
          </mc:Choice>
          <mc:Fallback xmlns="">
            <p:pic>
              <p:nvPicPr>
                <p:cNvPr id="11" name="Ink 10">
                  <a:extLst>
                    <a:ext uri="{FF2B5EF4-FFF2-40B4-BE49-F238E27FC236}">
                      <a16:creationId xmlns:a16="http://schemas.microsoft.com/office/drawing/2014/main" id="{9E501B2A-6CC0-4031-974F-93C2E718C905}"/>
                    </a:ext>
                  </a:extLst>
                </p:cNvPr>
                <p:cNvPicPr/>
                <p:nvPr/>
              </p:nvPicPr>
              <p:blipFill>
                <a:blip r:embed="rId12"/>
                <a:stretch>
                  <a:fillRect/>
                </a:stretch>
              </p:blipFill>
              <p:spPr>
                <a:xfrm>
                  <a:off x="5162697" y="574838"/>
                  <a:ext cx="4032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2" name="Ink 41">
                  <a:extLst>
                    <a:ext uri="{FF2B5EF4-FFF2-40B4-BE49-F238E27FC236}">
                      <a16:creationId xmlns:a16="http://schemas.microsoft.com/office/drawing/2014/main" id="{3B6C7FA6-96D7-4628-BDF7-0A7E1758641E}"/>
                    </a:ext>
                  </a:extLst>
                </p14:cNvPr>
                <p14:cNvContentPartPr/>
                <p14:nvPr/>
              </p14:nvContentPartPr>
              <p14:xfrm>
                <a:off x="5193657" y="481238"/>
                <a:ext cx="6840" cy="25920"/>
              </p14:xfrm>
            </p:contentPart>
          </mc:Choice>
          <mc:Fallback xmlns="">
            <p:pic>
              <p:nvPicPr>
                <p:cNvPr id="42" name="Ink 41">
                  <a:extLst>
                    <a:ext uri="{FF2B5EF4-FFF2-40B4-BE49-F238E27FC236}">
                      <a16:creationId xmlns:a16="http://schemas.microsoft.com/office/drawing/2014/main" id="{3B6C7FA6-96D7-4628-BDF7-0A7E1758641E}"/>
                    </a:ext>
                  </a:extLst>
                </p:cNvPr>
                <p:cNvPicPr/>
                <p:nvPr/>
              </p:nvPicPr>
              <p:blipFill>
                <a:blip r:embed="rId14"/>
                <a:stretch>
                  <a:fillRect/>
                </a:stretch>
              </p:blipFill>
              <p:spPr>
                <a:xfrm>
                  <a:off x="5189337" y="476918"/>
                  <a:ext cx="15480" cy="34560"/>
                </a:xfrm>
                <a:prstGeom prst="rect">
                  <a:avLst/>
                </a:prstGeom>
              </p:spPr>
            </p:pic>
          </mc:Fallback>
        </mc:AlternateContent>
      </p:grpSp>
      <p:grpSp>
        <p:nvGrpSpPr>
          <p:cNvPr id="87" name="Group 86">
            <a:extLst>
              <a:ext uri="{FF2B5EF4-FFF2-40B4-BE49-F238E27FC236}">
                <a16:creationId xmlns:a16="http://schemas.microsoft.com/office/drawing/2014/main" id="{BE899715-DE73-45A2-8FA6-329D11A9AB88}"/>
              </a:ext>
            </a:extLst>
          </p:cNvPr>
          <p:cNvGrpSpPr/>
          <p:nvPr/>
        </p:nvGrpSpPr>
        <p:grpSpPr>
          <a:xfrm>
            <a:off x="7149516" y="623411"/>
            <a:ext cx="1290720" cy="252480"/>
            <a:chOff x="5362137" y="467558"/>
            <a:chExt cx="968040" cy="189360"/>
          </a:xfrm>
        </p:grpSpPr>
        <mc:AlternateContent xmlns:mc="http://schemas.openxmlformats.org/markup-compatibility/2006" xmlns:p14="http://schemas.microsoft.com/office/powerpoint/2010/main">
          <mc:Choice Requires="p14">
            <p:contentPart p14:bwMode="auto" r:id="rId15">
              <p14:nvContentPartPr>
                <p14:cNvPr id="58" name="Ink 57">
                  <a:extLst>
                    <a:ext uri="{FF2B5EF4-FFF2-40B4-BE49-F238E27FC236}">
                      <a16:creationId xmlns:a16="http://schemas.microsoft.com/office/drawing/2014/main" id="{1C92FB37-4929-4EFC-A012-AF8F501A4E2F}"/>
                    </a:ext>
                  </a:extLst>
                </p14:cNvPr>
                <p14:cNvContentPartPr/>
                <p14:nvPr/>
              </p14:nvContentPartPr>
              <p14:xfrm>
                <a:off x="5362137" y="565118"/>
                <a:ext cx="52920" cy="91800"/>
              </p14:xfrm>
            </p:contentPart>
          </mc:Choice>
          <mc:Fallback xmlns="">
            <p:pic>
              <p:nvPicPr>
                <p:cNvPr id="58" name="Ink 57">
                  <a:extLst>
                    <a:ext uri="{FF2B5EF4-FFF2-40B4-BE49-F238E27FC236}">
                      <a16:creationId xmlns:a16="http://schemas.microsoft.com/office/drawing/2014/main" id="{1C92FB37-4929-4EFC-A012-AF8F501A4E2F}"/>
                    </a:ext>
                  </a:extLst>
                </p:cNvPr>
                <p:cNvPicPr/>
                <p:nvPr/>
              </p:nvPicPr>
              <p:blipFill>
                <a:blip r:embed="rId16"/>
                <a:stretch>
                  <a:fillRect/>
                </a:stretch>
              </p:blipFill>
              <p:spPr>
                <a:xfrm>
                  <a:off x="5357817" y="560798"/>
                  <a:ext cx="61560" cy="1004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9" name="Ink 58">
                  <a:extLst>
                    <a:ext uri="{FF2B5EF4-FFF2-40B4-BE49-F238E27FC236}">
                      <a16:creationId xmlns:a16="http://schemas.microsoft.com/office/drawing/2014/main" id="{2CF6E14A-C62A-4911-B466-F65E664E95BE}"/>
                    </a:ext>
                  </a:extLst>
                </p14:cNvPr>
                <p14:cNvContentPartPr/>
                <p14:nvPr/>
              </p14:nvContentPartPr>
              <p14:xfrm>
                <a:off x="5417217" y="591398"/>
                <a:ext cx="58680" cy="51120"/>
              </p14:xfrm>
            </p:contentPart>
          </mc:Choice>
          <mc:Fallback xmlns="">
            <p:pic>
              <p:nvPicPr>
                <p:cNvPr id="59" name="Ink 58">
                  <a:extLst>
                    <a:ext uri="{FF2B5EF4-FFF2-40B4-BE49-F238E27FC236}">
                      <a16:creationId xmlns:a16="http://schemas.microsoft.com/office/drawing/2014/main" id="{2CF6E14A-C62A-4911-B466-F65E664E95BE}"/>
                    </a:ext>
                  </a:extLst>
                </p:cNvPr>
                <p:cNvPicPr/>
                <p:nvPr/>
              </p:nvPicPr>
              <p:blipFill>
                <a:blip r:embed="rId18"/>
                <a:stretch>
                  <a:fillRect/>
                </a:stretch>
              </p:blipFill>
              <p:spPr>
                <a:xfrm>
                  <a:off x="5412897" y="587078"/>
                  <a:ext cx="6732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60" name="Ink 59">
                  <a:extLst>
                    <a:ext uri="{FF2B5EF4-FFF2-40B4-BE49-F238E27FC236}">
                      <a16:creationId xmlns:a16="http://schemas.microsoft.com/office/drawing/2014/main" id="{55A31FE8-11C6-4F98-8F27-ABE798ED5899}"/>
                    </a:ext>
                  </a:extLst>
                </p14:cNvPr>
                <p14:cNvContentPartPr/>
                <p14:nvPr/>
              </p14:nvContentPartPr>
              <p14:xfrm>
                <a:off x="5554017" y="579158"/>
                <a:ext cx="71280" cy="56880"/>
              </p14:xfrm>
            </p:contentPart>
          </mc:Choice>
          <mc:Fallback xmlns="">
            <p:pic>
              <p:nvPicPr>
                <p:cNvPr id="60" name="Ink 59">
                  <a:extLst>
                    <a:ext uri="{FF2B5EF4-FFF2-40B4-BE49-F238E27FC236}">
                      <a16:creationId xmlns:a16="http://schemas.microsoft.com/office/drawing/2014/main" id="{55A31FE8-11C6-4F98-8F27-ABE798ED5899}"/>
                    </a:ext>
                  </a:extLst>
                </p:cNvPr>
                <p:cNvPicPr/>
                <p:nvPr/>
              </p:nvPicPr>
              <p:blipFill>
                <a:blip r:embed="rId20"/>
                <a:stretch>
                  <a:fillRect/>
                </a:stretch>
              </p:blipFill>
              <p:spPr>
                <a:xfrm>
                  <a:off x="5549697" y="574838"/>
                  <a:ext cx="7992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61" name="Ink 60">
                  <a:extLst>
                    <a:ext uri="{FF2B5EF4-FFF2-40B4-BE49-F238E27FC236}">
                      <a16:creationId xmlns:a16="http://schemas.microsoft.com/office/drawing/2014/main" id="{66CD1D88-B354-4D51-B6E2-2FB10B3EB2BB}"/>
                    </a:ext>
                  </a:extLst>
                </p14:cNvPr>
                <p14:cNvContentPartPr/>
                <p14:nvPr/>
              </p14:nvContentPartPr>
              <p14:xfrm>
                <a:off x="5569497" y="585638"/>
                <a:ext cx="14760" cy="62640"/>
              </p14:xfrm>
            </p:contentPart>
          </mc:Choice>
          <mc:Fallback xmlns="">
            <p:pic>
              <p:nvPicPr>
                <p:cNvPr id="61" name="Ink 60">
                  <a:extLst>
                    <a:ext uri="{FF2B5EF4-FFF2-40B4-BE49-F238E27FC236}">
                      <a16:creationId xmlns:a16="http://schemas.microsoft.com/office/drawing/2014/main" id="{66CD1D88-B354-4D51-B6E2-2FB10B3EB2BB}"/>
                    </a:ext>
                  </a:extLst>
                </p:cNvPr>
                <p:cNvPicPr/>
                <p:nvPr/>
              </p:nvPicPr>
              <p:blipFill>
                <a:blip r:embed="rId22"/>
                <a:stretch>
                  <a:fillRect/>
                </a:stretch>
              </p:blipFill>
              <p:spPr>
                <a:xfrm>
                  <a:off x="5565177" y="581318"/>
                  <a:ext cx="23400" cy="71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62" name="Ink 61">
                  <a:extLst>
                    <a:ext uri="{FF2B5EF4-FFF2-40B4-BE49-F238E27FC236}">
                      <a16:creationId xmlns:a16="http://schemas.microsoft.com/office/drawing/2014/main" id="{08D5FAAD-DCEA-4BCC-89E5-1F42BE1A5F81}"/>
                    </a:ext>
                  </a:extLst>
                </p14:cNvPr>
                <p14:cNvContentPartPr/>
                <p14:nvPr/>
              </p14:nvContentPartPr>
              <p14:xfrm>
                <a:off x="5633217" y="591758"/>
                <a:ext cx="41760" cy="41400"/>
              </p14:xfrm>
            </p:contentPart>
          </mc:Choice>
          <mc:Fallback xmlns="">
            <p:pic>
              <p:nvPicPr>
                <p:cNvPr id="62" name="Ink 61">
                  <a:extLst>
                    <a:ext uri="{FF2B5EF4-FFF2-40B4-BE49-F238E27FC236}">
                      <a16:creationId xmlns:a16="http://schemas.microsoft.com/office/drawing/2014/main" id="{08D5FAAD-DCEA-4BCC-89E5-1F42BE1A5F81}"/>
                    </a:ext>
                  </a:extLst>
                </p:cNvPr>
                <p:cNvPicPr/>
                <p:nvPr/>
              </p:nvPicPr>
              <p:blipFill>
                <a:blip r:embed="rId24"/>
                <a:stretch>
                  <a:fillRect/>
                </a:stretch>
              </p:blipFill>
              <p:spPr>
                <a:xfrm>
                  <a:off x="5628897" y="587438"/>
                  <a:ext cx="5040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63" name="Ink 62">
                  <a:extLst>
                    <a:ext uri="{FF2B5EF4-FFF2-40B4-BE49-F238E27FC236}">
                      <a16:creationId xmlns:a16="http://schemas.microsoft.com/office/drawing/2014/main" id="{53C08174-945B-4BD7-8DBB-33A9EFB19EAF}"/>
                    </a:ext>
                  </a:extLst>
                </p14:cNvPr>
                <p14:cNvContentPartPr/>
                <p14:nvPr/>
              </p14:nvContentPartPr>
              <p14:xfrm>
                <a:off x="5742297" y="571958"/>
                <a:ext cx="57240" cy="64440"/>
              </p14:xfrm>
            </p:contentPart>
          </mc:Choice>
          <mc:Fallback xmlns="">
            <p:pic>
              <p:nvPicPr>
                <p:cNvPr id="63" name="Ink 62">
                  <a:extLst>
                    <a:ext uri="{FF2B5EF4-FFF2-40B4-BE49-F238E27FC236}">
                      <a16:creationId xmlns:a16="http://schemas.microsoft.com/office/drawing/2014/main" id="{53C08174-945B-4BD7-8DBB-33A9EFB19EAF}"/>
                    </a:ext>
                  </a:extLst>
                </p:cNvPr>
                <p:cNvPicPr/>
                <p:nvPr/>
              </p:nvPicPr>
              <p:blipFill>
                <a:blip r:embed="rId26"/>
                <a:stretch>
                  <a:fillRect/>
                </a:stretch>
              </p:blipFill>
              <p:spPr>
                <a:xfrm>
                  <a:off x="5737977" y="567638"/>
                  <a:ext cx="6588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64" name="Ink 63">
                  <a:extLst>
                    <a:ext uri="{FF2B5EF4-FFF2-40B4-BE49-F238E27FC236}">
                      <a16:creationId xmlns:a16="http://schemas.microsoft.com/office/drawing/2014/main" id="{771DF10D-FBE2-4B4F-9839-00AEDD219109}"/>
                    </a:ext>
                  </a:extLst>
                </p14:cNvPr>
                <p14:cNvContentPartPr/>
                <p14:nvPr/>
              </p14:nvContentPartPr>
              <p14:xfrm>
                <a:off x="5751297" y="585638"/>
                <a:ext cx="35280" cy="69840"/>
              </p14:xfrm>
            </p:contentPart>
          </mc:Choice>
          <mc:Fallback xmlns="">
            <p:pic>
              <p:nvPicPr>
                <p:cNvPr id="64" name="Ink 63">
                  <a:extLst>
                    <a:ext uri="{FF2B5EF4-FFF2-40B4-BE49-F238E27FC236}">
                      <a16:creationId xmlns:a16="http://schemas.microsoft.com/office/drawing/2014/main" id="{771DF10D-FBE2-4B4F-9839-00AEDD219109}"/>
                    </a:ext>
                  </a:extLst>
                </p:cNvPr>
                <p:cNvPicPr/>
                <p:nvPr/>
              </p:nvPicPr>
              <p:blipFill>
                <a:blip r:embed="rId28"/>
                <a:stretch>
                  <a:fillRect/>
                </a:stretch>
              </p:blipFill>
              <p:spPr>
                <a:xfrm>
                  <a:off x="5746977" y="581318"/>
                  <a:ext cx="43920" cy="784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66" name="Ink 65">
                  <a:extLst>
                    <a:ext uri="{FF2B5EF4-FFF2-40B4-BE49-F238E27FC236}">
                      <a16:creationId xmlns:a16="http://schemas.microsoft.com/office/drawing/2014/main" id="{C9C10218-810B-408D-A478-9C45A80BFE58}"/>
                    </a:ext>
                  </a:extLst>
                </p14:cNvPr>
                <p14:cNvContentPartPr/>
                <p14:nvPr/>
              </p14:nvContentPartPr>
              <p14:xfrm>
                <a:off x="5799177" y="579878"/>
                <a:ext cx="43200" cy="67320"/>
              </p14:xfrm>
            </p:contentPart>
          </mc:Choice>
          <mc:Fallback xmlns="">
            <p:pic>
              <p:nvPicPr>
                <p:cNvPr id="66" name="Ink 65">
                  <a:extLst>
                    <a:ext uri="{FF2B5EF4-FFF2-40B4-BE49-F238E27FC236}">
                      <a16:creationId xmlns:a16="http://schemas.microsoft.com/office/drawing/2014/main" id="{C9C10218-810B-408D-A478-9C45A80BFE58}"/>
                    </a:ext>
                  </a:extLst>
                </p:cNvPr>
                <p:cNvPicPr/>
                <p:nvPr/>
              </p:nvPicPr>
              <p:blipFill>
                <a:blip r:embed="rId30"/>
                <a:stretch>
                  <a:fillRect/>
                </a:stretch>
              </p:blipFill>
              <p:spPr>
                <a:xfrm>
                  <a:off x="5794857" y="575558"/>
                  <a:ext cx="51840"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67" name="Ink 66">
                  <a:extLst>
                    <a:ext uri="{FF2B5EF4-FFF2-40B4-BE49-F238E27FC236}">
                      <a16:creationId xmlns:a16="http://schemas.microsoft.com/office/drawing/2014/main" id="{4A5320AB-ACE0-42B9-8CEE-B6AF94A19CEB}"/>
                    </a:ext>
                  </a:extLst>
                </p14:cNvPr>
                <p14:cNvContentPartPr/>
                <p14:nvPr/>
              </p14:nvContentPartPr>
              <p14:xfrm>
                <a:off x="5907897" y="579518"/>
                <a:ext cx="39240" cy="63360"/>
              </p14:xfrm>
            </p:contentPart>
          </mc:Choice>
          <mc:Fallback xmlns="">
            <p:pic>
              <p:nvPicPr>
                <p:cNvPr id="67" name="Ink 66">
                  <a:extLst>
                    <a:ext uri="{FF2B5EF4-FFF2-40B4-BE49-F238E27FC236}">
                      <a16:creationId xmlns:a16="http://schemas.microsoft.com/office/drawing/2014/main" id="{4A5320AB-ACE0-42B9-8CEE-B6AF94A19CEB}"/>
                    </a:ext>
                  </a:extLst>
                </p:cNvPr>
                <p:cNvPicPr/>
                <p:nvPr/>
              </p:nvPicPr>
              <p:blipFill>
                <a:blip r:embed="rId32"/>
                <a:stretch>
                  <a:fillRect/>
                </a:stretch>
              </p:blipFill>
              <p:spPr>
                <a:xfrm>
                  <a:off x="5903577" y="575198"/>
                  <a:ext cx="4788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74" name="Ink 73">
                  <a:extLst>
                    <a:ext uri="{FF2B5EF4-FFF2-40B4-BE49-F238E27FC236}">
                      <a16:creationId xmlns:a16="http://schemas.microsoft.com/office/drawing/2014/main" id="{00B0BCB6-8EC9-4F42-B0A8-C2AB6F5F6645}"/>
                    </a:ext>
                  </a:extLst>
                </p14:cNvPr>
                <p14:cNvContentPartPr/>
                <p14:nvPr/>
              </p14:nvContentPartPr>
              <p14:xfrm>
                <a:off x="5938857" y="591758"/>
                <a:ext cx="60840" cy="47520"/>
              </p14:xfrm>
            </p:contentPart>
          </mc:Choice>
          <mc:Fallback xmlns="">
            <p:pic>
              <p:nvPicPr>
                <p:cNvPr id="74" name="Ink 73">
                  <a:extLst>
                    <a:ext uri="{FF2B5EF4-FFF2-40B4-BE49-F238E27FC236}">
                      <a16:creationId xmlns:a16="http://schemas.microsoft.com/office/drawing/2014/main" id="{00B0BCB6-8EC9-4F42-B0A8-C2AB6F5F6645}"/>
                    </a:ext>
                  </a:extLst>
                </p:cNvPr>
                <p:cNvPicPr/>
                <p:nvPr/>
              </p:nvPicPr>
              <p:blipFill>
                <a:blip r:embed="rId34"/>
                <a:stretch>
                  <a:fillRect/>
                </a:stretch>
              </p:blipFill>
              <p:spPr>
                <a:xfrm>
                  <a:off x="5934537" y="587438"/>
                  <a:ext cx="69480" cy="561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75" name="Ink 74">
                  <a:extLst>
                    <a:ext uri="{FF2B5EF4-FFF2-40B4-BE49-F238E27FC236}">
                      <a16:creationId xmlns:a16="http://schemas.microsoft.com/office/drawing/2014/main" id="{0BCC5110-0248-442B-8722-498CC887E825}"/>
                    </a:ext>
                  </a:extLst>
                </p14:cNvPr>
                <p14:cNvContentPartPr/>
                <p14:nvPr/>
              </p14:nvContentPartPr>
              <p14:xfrm>
                <a:off x="6033177" y="579158"/>
                <a:ext cx="30240" cy="70920"/>
              </p14:xfrm>
            </p:contentPart>
          </mc:Choice>
          <mc:Fallback xmlns="">
            <p:pic>
              <p:nvPicPr>
                <p:cNvPr id="75" name="Ink 74">
                  <a:extLst>
                    <a:ext uri="{FF2B5EF4-FFF2-40B4-BE49-F238E27FC236}">
                      <a16:creationId xmlns:a16="http://schemas.microsoft.com/office/drawing/2014/main" id="{0BCC5110-0248-442B-8722-498CC887E825}"/>
                    </a:ext>
                  </a:extLst>
                </p:cNvPr>
                <p:cNvPicPr/>
                <p:nvPr/>
              </p:nvPicPr>
              <p:blipFill>
                <a:blip r:embed="rId36"/>
                <a:stretch>
                  <a:fillRect/>
                </a:stretch>
              </p:blipFill>
              <p:spPr>
                <a:xfrm>
                  <a:off x="6028857" y="574838"/>
                  <a:ext cx="3888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76" name="Ink 75">
                  <a:extLst>
                    <a:ext uri="{FF2B5EF4-FFF2-40B4-BE49-F238E27FC236}">
                      <a16:creationId xmlns:a16="http://schemas.microsoft.com/office/drawing/2014/main" id="{92FC619D-B485-4E90-B3E0-8AECA820C898}"/>
                    </a:ext>
                  </a:extLst>
                </p14:cNvPr>
                <p14:cNvContentPartPr/>
                <p14:nvPr/>
              </p14:nvContentPartPr>
              <p14:xfrm>
                <a:off x="6080697" y="585638"/>
                <a:ext cx="38880" cy="71280"/>
              </p14:xfrm>
            </p:contentPart>
          </mc:Choice>
          <mc:Fallback xmlns="">
            <p:pic>
              <p:nvPicPr>
                <p:cNvPr id="76" name="Ink 75">
                  <a:extLst>
                    <a:ext uri="{FF2B5EF4-FFF2-40B4-BE49-F238E27FC236}">
                      <a16:creationId xmlns:a16="http://schemas.microsoft.com/office/drawing/2014/main" id="{92FC619D-B485-4E90-B3E0-8AECA820C898}"/>
                    </a:ext>
                  </a:extLst>
                </p:cNvPr>
                <p:cNvPicPr/>
                <p:nvPr/>
              </p:nvPicPr>
              <p:blipFill>
                <a:blip r:embed="rId38"/>
                <a:stretch>
                  <a:fillRect/>
                </a:stretch>
              </p:blipFill>
              <p:spPr>
                <a:xfrm>
                  <a:off x="6076377" y="581318"/>
                  <a:ext cx="4752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77" name="Ink 76">
                  <a:extLst>
                    <a:ext uri="{FF2B5EF4-FFF2-40B4-BE49-F238E27FC236}">
                      <a16:creationId xmlns:a16="http://schemas.microsoft.com/office/drawing/2014/main" id="{3CA57AE4-A6DD-4006-B027-81D1EE7200BE}"/>
                    </a:ext>
                  </a:extLst>
                </p14:cNvPr>
                <p14:cNvContentPartPr/>
                <p14:nvPr/>
              </p14:nvContentPartPr>
              <p14:xfrm>
                <a:off x="6184737" y="571958"/>
                <a:ext cx="41400" cy="83880"/>
              </p14:xfrm>
            </p:contentPart>
          </mc:Choice>
          <mc:Fallback xmlns="">
            <p:pic>
              <p:nvPicPr>
                <p:cNvPr id="77" name="Ink 76">
                  <a:extLst>
                    <a:ext uri="{FF2B5EF4-FFF2-40B4-BE49-F238E27FC236}">
                      <a16:creationId xmlns:a16="http://schemas.microsoft.com/office/drawing/2014/main" id="{3CA57AE4-A6DD-4006-B027-81D1EE7200BE}"/>
                    </a:ext>
                  </a:extLst>
                </p:cNvPr>
                <p:cNvPicPr/>
                <p:nvPr/>
              </p:nvPicPr>
              <p:blipFill>
                <a:blip r:embed="rId40"/>
                <a:stretch>
                  <a:fillRect/>
                </a:stretch>
              </p:blipFill>
              <p:spPr>
                <a:xfrm>
                  <a:off x="6180417" y="567638"/>
                  <a:ext cx="50040" cy="925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78" name="Ink 77">
                  <a:extLst>
                    <a:ext uri="{FF2B5EF4-FFF2-40B4-BE49-F238E27FC236}">
                      <a16:creationId xmlns:a16="http://schemas.microsoft.com/office/drawing/2014/main" id="{6B9CD26D-6AD1-4532-B19F-0E7E657094B6}"/>
                    </a:ext>
                  </a:extLst>
                </p14:cNvPr>
                <p14:cNvContentPartPr/>
                <p14:nvPr/>
              </p14:nvContentPartPr>
              <p14:xfrm>
                <a:off x="6275817" y="570518"/>
                <a:ext cx="54360" cy="57600"/>
              </p14:xfrm>
            </p:contentPart>
          </mc:Choice>
          <mc:Fallback xmlns="">
            <p:pic>
              <p:nvPicPr>
                <p:cNvPr id="78" name="Ink 77">
                  <a:extLst>
                    <a:ext uri="{FF2B5EF4-FFF2-40B4-BE49-F238E27FC236}">
                      <a16:creationId xmlns:a16="http://schemas.microsoft.com/office/drawing/2014/main" id="{6B9CD26D-6AD1-4532-B19F-0E7E657094B6}"/>
                    </a:ext>
                  </a:extLst>
                </p:cNvPr>
                <p:cNvPicPr/>
                <p:nvPr/>
              </p:nvPicPr>
              <p:blipFill>
                <a:blip r:embed="rId42"/>
                <a:stretch>
                  <a:fillRect/>
                </a:stretch>
              </p:blipFill>
              <p:spPr>
                <a:xfrm>
                  <a:off x="6271497" y="566198"/>
                  <a:ext cx="6300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80" name="Ink 79">
                  <a:extLst>
                    <a:ext uri="{FF2B5EF4-FFF2-40B4-BE49-F238E27FC236}">
                      <a16:creationId xmlns:a16="http://schemas.microsoft.com/office/drawing/2014/main" id="{6530AB09-30BA-480D-ACAF-C1EF8C7C5174}"/>
                    </a:ext>
                  </a:extLst>
                </p14:cNvPr>
                <p14:cNvContentPartPr/>
                <p14:nvPr/>
              </p14:nvContentPartPr>
              <p14:xfrm>
                <a:off x="5403537" y="488078"/>
                <a:ext cx="12960" cy="42480"/>
              </p14:xfrm>
            </p:contentPart>
          </mc:Choice>
          <mc:Fallback xmlns="">
            <p:pic>
              <p:nvPicPr>
                <p:cNvPr id="80" name="Ink 79">
                  <a:extLst>
                    <a:ext uri="{FF2B5EF4-FFF2-40B4-BE49-F238E27FC236}">
                      <a16:creationId xmlns:a16="http://schemas.microsoft.com/office/drawing/2014/main" id="{6530AB09-30BA-480D-ACAF-C1EF8C7C5174}"/>
                    </a:ext>
                  </a:extLst>
                </p:cNvPr>
                <p:cNvPicPr/>
                <p:nvPr/>
              </p:nvPicPr>
              <p:blipFill>
                <a:blip r:embed="rId44"/>
                <a:stretch>
                  <a:fillRect/>
                </a:stretch>
              </p:blipFill>
              <p:spPr>
                <a:xfrm>
                  <a:off x="5399217" y="483758"/>
                  <a:ext cx="21600" cy="511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81" name="Ink 80">
                  <a:extLst>
                    <a:ext uri="{FF2B5EF4-FFF2-40B4-BE49-F238E27FC236}">
                      <a16:creationId xmlns:a16="http://schemas.microsoft.com/office/drawing/2014/main" id="{EEEA03DF-C400-49B5-B6B4-DE12FFCF3067}"/>
                    </a:ext>
                  </a:extLst>
                </p14:cNvPr>
                <p14:cNvContentPartPr/>
                <p14:nvPr/>
              </p14:nvContentPartPr>
              <p14:xfrm>
                <a:off x="5601897" y="467558"/>
                <a:ext cx="30960" cy="60120"/>
              </p14:xfrm>
            </p:contentPart>
          </mc:Choice>
          <mc:Fallback xmlns="">
            <p:pic>
              <p:nvPicPr>
                <p:cNvPr id="81" name="Ink 80">
                  <a:extLst>
                    <a:ext uri="{FF2B5EF4-FFF2-40B4-BE49-F238E27FC236}">
                      <a16:creationId xmlns:a16="http://schemas.microsoft.com/office/drawing/2014/main" id="{EEEA03DF-C400-49B5-B6B4-DE12FFCF3067}"/>
                    </a:ext>
                  </a:extLst>
                </p:cNvPr>
                <p:cNvPicPr/>
                <p:nvPr/>
              </p:nvPicPr>
              <p:blipFill>
                <a:blip r:embed="rId46"/>
                <a:stretch>
                  <a:fillRect/>
                </a:stretch>
              </p:blipFill>
              <p:spPr>
                <a:xfrm>
                  <a:off x="5597577" y="463238"/>
                  <a:ext cx="3960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83" name="Ink 82">
                  <a:extLst>
                    <a:ext uri="{FF2B5EF4-FFF2-40B4-BE49-F238E27FC236}">
                      <a16:creationId xmlns:a16="http://schemas.microsoft.com/office/drawing/2014/main" id="{3E6AF700-05E3-40AC-B9BF-C5CAC48AAEA3}"/>
                    </a:ext>
                  </a:extLst>
                </p14:cNvPr>
                <p14:cNvContentPartPr/>
                <p14:nvPr/>
              </p14:nvContentPartPr>
              <p14:xfrm>
                <a:off x="5753457" y="474038"/>
                <a:ext cx="19440" cy="40680"/>
              </p14:xfrm>
            </p:contentPart>
          </mc:Choice>
          <mc:Fallback xmlns="">
            <p:pic>
              <p:nvPicPr>
                <p:cNvPr id="83" name="Ink 82">
                  <a:extLst>
                    <a:ext uri="{FF2B5EF4-FFF2-40B4-BE49-F238E27FC236}">
                      <a16:creationId xmlns:a16="http://schemas.microsoft.com/office/drawing/2014/main" id="{3E6AF700-05E3-40AC-B9BF-C5CAC48AAEA3}"/>
                    </a:ext>
                  </a:extLst>
                </p:cNvPr>
                <p:cNvPicPr/>
                <p:nvPr/>
              </p:nvPicPr>
              <p:blipFill>
                <a:blip r:embed="rId48"/>
                <a:stretch>
                  <a:fillRect/>
                </a:stretch>
              </p:blipFill>
              <p:spPr>
                <a:xfrm>
                  <a:off x="5749137" y="469718"/>
                  <a:ext cx="28080" cy="493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84" name="Ink 83">
                  <a:extLst>
                    <a:ext uri="{FF2B5EF4-FFF2-40B4-BE49-F238E27FC236}">
                      <a16:creationId xmlns:a16="http://schemas.microsoft.com/office/drawing/2014/main" id="{A8A67852-4FC8-4A1B-BFC5-7BC96AE98734}"/>
                    </a:ext>
                  </a:extLst>
                </p14:cNvPr>
                <p14:cNvContentPartPr/>
                <p14:nvPr/>
              </p14:nvContentPartPr>
              <p14:xfrm>
                <a:off x="5924097" y="474038"/>
                <a:ext cx="30240" cy="45000"/>
              </p14:xfrm>
            </p:contentPart>
          </mc:Choice>
          <mc:Fallback xmlns="">
            <p:pic>
              <p:nvPicPr>
                <p:cNvPr id="84" name="Ink 83">
                  <a:extLst>
                    <a:ext uri="{FF2B5EF4-FFF2-40B4-BE49-F238E27FC236}">
                      <a16:creationId xmlns:a16="http://schemas.microsoft.com/office/drawing/2014/main" id="{A8A67852-4FC8-4A1B-BFC5-7BC96AE98734}"/>
                    </a:ext>
                  </a:extLst>
                </p:cNvPr>
                <p:cNvPicPr/>
                <p:nvPr/>
              </p:nvPicPr>
              <p:blipFill>
                <a:blip r:embed="rId50"/>
                <a:stretch>
                  <a:fillRect/>
                </a:stretch>
              </p:blipFill>
              <p:spPr>
                <a:xfrm>
                  <a:off x="5919777" y="469718"/>
                  <a:ext cx="3888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85" name="Ink 84">
                  <a:extLst>
                    <a:ext uri="{FF2B5EF4-FFF2-40B4-BE49-F238E27FC236}">
                      <a16:creationId xmlns:a16="http://schemas.microsoft.com/office/drawing/2014/main" id="{17841811-E690-48A7-8A5F-C653A3F5B096}"/>
                    </a:ext>
                  </a:extLst>
                </p14:cNvPr>
                <p14:cNvContentPartPr/>
                <p14:nvPr/>
              </p14:nvContentPartPr>
              <p14:xfrm>
                <a:off x="6050097" y="467558"/>
                <a:ext cx="15840" cy="34920"/>
              </p14:xfrm>
            </p:contentPart>
          </mc:Choice>
          <mc:Fallback xmlns="">
            <p:pic>
              <p:nvPicPr>
                <p:cNvPr id="85" name="Ink 84">
                  <a:extLst>
                    <a:ext uri="{FF2B5EF4-FFF2-40B4-BE49-F238E27FC236}">
                      <a16:creationId xmlns:a16="http://schemas.microsoft.com/office/drawing/2014/main" id="{17841811-E690-48A7-8A5F-C653A3F5B096}"/>
                    </a:ext>
                  </a:extLst>
                </p:cNvPr>
                <p:cNvPicPr/>
                <p:nvPr/>
              </p:nvPicPr>
              <p:blipFill>
                <a:blip r:embed="rId52"/>
                <a:stretch>
                  <a:fillRect/>
                </a:stretch>
              </p:blipFill>
              <p:spPr>
                <a:xfrm>
                  <a:off x="6045777" y="463238"/>
                  <a:ext cx="2448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86" name="Ink 85">
                  <a:extLst>
                    <a:ext uri="{FF2B5EF4-FFF2-40B4-BE49-F238E27FC236}">
                      <a16:creationId xmlns:a16="http://schemas.microsoft.com/office/drawing/2014/main" id="{598E7D38-5775-453A-934C-67C20A90A171}"/>
                    </a:ext>
                  </a:extLst>
                </p14:cNvPr>
                <p14:cNvContentPartPr/>
                <p14:nvPr/>
              </p14:nvContentPartPr>
              <p14:xfrm>
                <a:off x="6216057" y="481238"/>
                <a:ext cx="10080" cy="25560"/>
              </p14:xfrm>
            </p:contentPart>
          </mc:Choice>
          <mc:Fallback xmlns="">
            <p:pic>
              <p:nvPicPr>
                <p:cNvPr id="86" name="Ink 85">
                  <a:extLst>
                    <a:ext uri="{FF2B5EF4-FFF2-40B4-BE49-F238E27FC236}">
                      <a16:creationId xmlns:a16="http://schemas.microsoft.com/office/drawing/2014/main" id="{598E7D38-5775-453A-934C-67C20A90A171}"/>
                    </a:ext>
                  </a:extLst>
                </p:cNvPr>
                <p:cNvPicPr/>
                <p:nvPr/>
              </p:nvPicPr>
              <p:blipFill>
                <a:blip r:embed="rId54"/>
                <a:stretch>
                  <a:fillRect/>
                </a:stretch>
              </p:blipFill>
              <p:spPr>
                <a:xfrm>
                  <a:off x="6211737" y="476918"/>
                  <a:ext cx="18720" cy="342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55">
            <p14:nvContentPartPr>
              <p14:cNvPr id="88" name="Ink 87">
                <a:extLst>
                  <a:ext uri="{FF2B5EF4-FFF2-40B4-BE49-F238E27FC236}">
                    <a16:creationId xmlns:a16="http://schemas.microsoft.com/office/drawing/2014/main" id="{531875B8-63FD-453B-B849-5E8E0F9CA4F0}"/>
                  </a:ext>
                </a:extLst>
              </p14:cNvPr>
              <p14:cNvContentPartPr/>
              <p14:nvPr/>
            </p14:nvContentPartPr>
            <p14:xfrm>
              <a:off x="10786476" y="641651"/>
              <a:ext cx="37920" cy="20640"/>
            </p14:xfrm>
          </p:contentPart>
        </mc:Choice>
        <mc:Fallback>
          <p:pic>
            <p:nvPicPr>
              <p:cNvPr id="88" name="Ink 87">
                <a:extLst>
                  <a:ext uri="{FF2B5EF4-FFF2-40B4-BE49-F238E27FC236}">
                    <a16:creationId xmlns:a16="http://schemas.microsoft.com/office/drawing/2014/main" id="{531875B8-63FD-453B-B849-5E8E0F9CA4F0}"/>
                  </a:ext>
                </a:extLst>
              </p:cNvPr>
              <p:cNvPicPr/>
              <p:nvPr/>
            </p:nvPicPr>
            <p:blipFill>
              <a:blip r:embed="rId56"/>
              <a:stretch>
                <a:fillRect/>
              </a:stretch>
            </p:blipFill>
            <p:spPr>
              <a:xfrm>
                <a:off x="10782142" y="637306"/>
                <a:ext cx="46587" cy="29331"/>
              </a:xfrm>
              <a:prstGeom prst="rect">
                <a:avLst/>
              </a:prstGeom>
            </p:spPr>
          </p:pic>
        </mc:Fallback>
      </mc:AlternateContent>
      <mc:AlternateContent xmlns:mc="http://schemas.openxmlformats.org/markup-compatibility/2006">
        <mc:Choice xmlns:p14="http://schemas.microsoft.com/office/powerpoint/2010/main" Requires="p14">
          <p:contentPart p14:bwMode="auto" r:id="rId57">
            <p14:nvContentPartPr>
              <p14:cNvPr id="89" name="Ink 88">
                <a:extLst>
                  <a:ext uri="{FF2B5EF4-FFF2-40B4-BE49-F238E27FC236}">
                    <a16:creationId xmlns:a16="http://schemas.microsoft.com/office/drawing/2014/main" id="{DFB42180-85D5-40A2-98AF-D78C10FE81EE}"/>
                  </a:ext>
                </a:extLst>
              </p14:cNvPr>
              <p14:cNvContentPartPr/>
              <p14:nvPr/>
            </p14:nvContentPartPr>
            <p14:xfrm>
              <a:off x="6220236" y="390611"/>
              <a:ext cx="118080" cy="253440"/>
            </p14:xfrm>
          </p:contentPart>
        </mc:Choice>
        <mc:Fallback>
          <p:pic>
            <p:nvPicPr>
              <p:cNvPr id="89" name="Ink 88">
                <a:extLst>
                  <a:ext uri="{FF2B5EF4-FFF2-40B4-BE49-F238E27FC236}">
                    <a16:creationId xmlns:a16="http://schemas.microsoft.com/office/drawing/2014/main" id="{DFB42180-85D5-40A2-98AF-D78C10FE81EE}"/>
                  </a:ext>
                </a:extLst>
              </p:cNvPr>
              <p:cNvPicPr/>
              <p:nvPr/>
            </p:nvPicPr>
            <p:blipFill>
              <a:blip r:embed="rId58"/>
              <a:stretch>
                <a:fillRect/>
              </a:stretch>
            </p:blipFill>
            <p:spPr>
              <a:xfrm>
                <a:off x="6211181" y="381624"/>
                <a:ext cx="135828" cy="271055"/>
              </a:xfrm>
              <a:prstGeom prst="rect">
                <a:avLst/>
              </a:prstGeom>
            </p:spPr>
          </p:pic>
        </mc:Fallback>
      </mc:AlternateContent>
      <mc:AlternateContent xmlns:mc="http://schemas.openxmlformats.org/markup-compatibility/2006">
        <mc:Choice xmlns:p14="http://schemas.microsoft.com/office/powerpoint/2010/main" Requires="p14">
          <p:contentPart p14:bwMode="auto" r:id="rId59">
            <p14:nvContentPartPr>
              <p14:cNvPr id="90" name="Ink 89">
                <a:extLst>
                  <a:ext uri="{FF2B5EF4-FFF2-40B4-BE49-F238E27FC236}">
                    <a16:creationId xmlns:a16="http://schemas.microsoft.com/office/drawing/2014/main" id="{FE0D606C-C57B-4CF8-A74E-FC2FF7BB3289}"/>
                  </a:ext>
                </a:extLst>
              </p14:cNvPr>
              <p14:cNvContentPartPr/>
              <p14:nvPr/>
            </p14:nvContentPartPr>
            <p14:xfrm>
              <a:off x="5915916" y="788531"/>
              <a:ext cx="125760" cy="116640"/>
            </p14:xfrm>
          </p:contentPart>
        </mc:Choice>
        <mc:Fallback>
          <p:pic>
            <p:nvPicPr>
              <p:cNvPr id="90" name="Ink 89">
                <a:extLst>
                  <a:ext uri="{FF2B5EF4-FFF2-40B4-BE49-F238E27FC236}">
                    <a16:creationId xmlns:a16="http://schemas.microsoft.com/office/drawing/2014/main" id="{FE0D606C-C57B-4CF8-A74E-FC2FF7BB3289}"/>
                  </a:ext>
                </a:extLst>
              </p:cNvPr>
              <p:cNvPicPr/>
              <p:nvPr/>
            </p:nvPicPr>
            <p:blipFill>
              <a:blip r:embed="rId60"/>
              <a:stretch>
                <a:fillRect/>
              </a:stretch>
            </p:blipFill>
            <p:spPr>
              <a:xfrm>
                <a:off x="5906907" y="779531"/>
                <a:ext cx="143417" cy="134280"/>
              </a:xfrm>
              <a:prstGeom prst="rect">
                <a:avLst/>
              </a:prstGeom>
            </p:spPr>
          </p:pic>
        </mc:Fallback>
      </mc:AlternateContent>
      <p:sp>
        <p:nvSpPr>
          <p:cNvPr id="97" name="TextBox 96">
            <a:extLst>
              <a:ext uri="{FF2B5EF4-FFF2-40B4-BE49-F238E27FC236}">
                <a16:creationId xmlns:a16="http://schemas.microsoft.com/office/drawing/2014/main" id="{0B7F28F0-CBC9-4D42-8A6B-9EF4C95A95D6}"/>
              </a:ext>
            </a:extLst>
          </p:cNvPr>
          <p:cNvSpPr txBox="1"/>
          <p:nvPr/>
        </p:nvSpPr>
        <p:spPr>
          <a:xfrm>
            <a:off x="297820" y="1634291"/>
            <a:ext cx="8422717" cy="2677656"/>
          </a:xfrm>
          <a:prstGeom prst="rect">
            <a:avLst/>
          </a:prstGeom>
          <a:noFill/>
        </p:spPr>
        <p:txBody>
          <a:bodyPr wrap="square" rtlCol="0">
            <a:spAutoFit/>
          </a:bodyPr>
          <a:lstStyle/>
          <a:p>
            <a:pPr defTabSz="1219170" fontAlgn="base">
              <a:buClr>
                <a:srgbClr val="007DB8"/>
              </a:buClr>
            </a:pPr>
            <a:r>
              <a:rPr lang="en-US" sz="2400" b="1" dirty="0">
                <a:solidFill>
                  <a:srgbClr val="000000">
                    <a:lumMod val="50000"/>
                    <a:lumOff val="50000"/>
                  </a:srgbClr>
                </a:solidFill>
                <a:latin typeface="Inter"/>
                <a:cs typeface="Arial" panose="020B0604020202020204" pitchFamily="34" charset="0"/>
              </a:rPr>
              <a:t>Values : </a:t>
            </a:r>
            <a:r>
              <a:rPr lang="en-US" sz="2400" dirty="0">
                <a:solidFill>
                  <a:srgbClr val="000000">
                    <a:lumMod val="50000"/>
                    <a:lumOff val="50000"/>
                  </a:srgbClr>
                </a:solidFill>
                <a:latin typeface="Inter"/>
                <a:cs typeface="Arial" panose="020B0604020202020204" pitchFamily="34" charset="0"/>
              </a:rPr>
              <a:t>10, 20, 30, 40, 44, 44, 45, 50, 55, 60 , 400</a:t>
            </a:r>
          </a:p>
          <a:p>
            <a:pPr defTabSz="1219170" fontAlgn="base">
              <a:buClr>
                <a:srgbClr val="007DB8"/>
              </a:buClr>
            </a:pPr>
            <a:endParaRPr lang="en-US" sz="2400" dirty="0">
              <a:solidFill>
                <a:srgbClr val="000000">
                  <a:lumMod val="50000"/>
                  <a:lumOff val="50000"/>
                </a:srgbClr>
              </a:solidFill>
              <a:latin typeface="Inter"/>
              <a:cs typeface="Arial" panose="020B0604020202020204" pitchFamily="34" charset="0"/>
            </a:endParaRPr>
          </a:p>
          <a:p>
            <a:pPr defTabSz="1219170" fontAlgn="base">
              <a:buClr>
                <a:srgbClr val="007DB8"/>
              </a:buClr>
            </a:pPr>
            <a:r>
              <a:rPr lang="en-US" sz="2400" dirty="0">
                <a:solidFill>
                  <a:srgbClr val="007DB8"/>
                </a:solidFill>
                <a:latin typeface="Inter"/>
                <a:cs typeface="Arial" panose="020B0604020202020204" pitchFamily="34" charset="0"/>
              </a:rPr>
              <a:t>Mean : </a:t>
            </a:r>
            <a:r>
              <a:rPr lang="en-US" sz="2400" dirty="0">
                <a:solidFill>
                  <a:srgbClr val="000000">
                    <a:lumMod val="50000"/>
                    <a:lumOff val="50000"/>
                  </a:srgbClr>
                </a:solidFill>
                <a:latin typeface="Inter"/>
                <a:cs typeface="Arial" panose="020B0604020202020204" pitchFamily="34" charset="0"/>
              </a:rPr>
              <a:t>72.5</a:t>
            </a:r>
          </a:p>
          <a:p>
            <a:pPr defTabSz="1219170" fontAlgn="base">
              <a:buClr>
                <a:srgbClr val="007DB8"/>
              </a:buClr>
            </a:pPr>
            <a:endParaRPr lang="en-US" sz="2400" dirty="0">
              <a:solidFill>
                <a:srgbClr val="007DB8"/>
              </a:solidFill>
              <a:latin typeface="Inter"/>
              <a:cs typeface="Arial" panose="020B0604020202020204" pitchFamily="34" charset="0"/>
            </a:endParaRPr>
          </a:p>
          <a:p>
            <a:pPr defTabSz="1219170" fontAlgn="base">
              <a:buClr>
                <a:srgbClr val="007DB8"/>
              </a:buClr>
            </a:pPr>
            <a:r>
              <a:rPr lang="en-US" sz="2400" dirty="0">
                <a:solidFill>
                  <a:srgbClr val="007DB8"/>
                </a:solidFill>
                <a:latin typeface="Inter"/>
                <a:cs typeface="Arial" panose="020B0604020202020204" pitchFamily="34" charset="0"/>
              </a:rPr>
              <a:t>Median : </a:t>
            </a:r>
            <a:r>
              <a:rPr lang="en-US" sz="2400" dirty="0">
                <a:solidFill>
                  <a:srgbClr val="000000">
                    <a:lumMod val="50000"/>
                    <a:lumOff val="50000"/>
                  </a:srgbClr>
                </a:solidFill>
                <a:latin typeface="Inter"/>
                <a:cs typeface="Arial" panose="020B0604020202020204" pitchFamily="34" charset="0"/>
              </a:rPr>
              <a:t>44</a:t>
            </a:r>
          </a:p>
          <a:p>
            <a:pPr defTabSz="1219170" fontAlgn="base">
              <a:buClr>
                <a:srgbClr val="007DB8"/>
              </a:buClr>
            </a:pPr>
            <a:endParaRPr lang="en-US" sz="2400" dirty="0">
              <a:solidFill>
                <a:srgbClr val="007DB8"/>
              </a:solidFill>
              <a:latin typeface="Inter"/>
              <a:cs typeface="Arial" panose="020B0604020202020204" pitchFamily="34" charset="0"/>
            </a:endParaRPr>
          </a:p>
          <a:p>
            <a:pPr defTabSz="1219170" fontAlgn="base">
              <a:buClr>
                <a:srgbClr val="007DB8"/>
              </a:buClr>
            </a:pPr>
            <a:r>
              <a:rPr lang="en-US" sz="2400" dirty="0">
                <a:solidFill>
                  <a:srgbClr val="007DB8"/>
                </a:solidFill>
                <a:latin typeface="Inter"/>
                <a:cs typeface="Arial" panose="020B0604020202020204" pitchFamily="34" charset="0"/>
              </a:rPr>
              <a:t>Mode : </a:t>
            </a:r>
            <a:r>
              <a:rPr lang="en-US" sz="2400" dirty="0">
                <a:solidFill>
                  <a:srgbClr val="000000">
                    <a:lumMod val="50000"/>
                    <a:lumOff val="50000"/>
                  </a:srgbClr>
                </a:solidFill>
                <a:latin typeface="Inter"/>
                <a:cs typeface="Arial" panose="020B0604020202020204" pitchFamily="34" charset="0"/>
              </a:rPr>
              <a:t>44</a:t>
            </a:r>
          </a:p>
        </p:txBody>
      </p:sp>
      <p:grpSp>
        <p:nvGrpSpPr>
          <p:cNvPr id="107" name="Group 106">
            <a:extLst>
              <a:ext uri="{FF2B5EF4-FFF2-40B4-BE49-F238E27FC236}">
                <a16:creationId xmlns:a16="http://schemas.microsoft.com/office/drawing/2014/main" id="{B8B535AB-9207-47BE-A1C9-601BB537A3D2}"/>
              </a:ext>
            </a:extLst>
          </p:cNvPr>
          <p:cNvGrpSpPr/>
          <p:nvPr/>
        </p:nvGrpSpPr>
        <p:grpSpPr>
          <a:xfrm>
            <a:off x="10635276" y="780851"/>
            <a:ext cx="351360" cy="185760"/>
            <a:chOff x="7976457" y="585638"/>
            <a:chExt cx="263520" cy="139320"/>
          </a:xfrm>
        </p:grpSpPr>
        <mc:AlternateContent xmlns:mc="http://schemas.openxmlformats.org/markup-compatibility/2006" xmlns:p14="http://schemas.microsoft.com/office/powerpoint/2010/main">
          <mc:Choice Requires="p14">
            <p:contentPart p14:bwMode="auto" r:id="rId61">
              <p14:nvContentPartPr>
                <p14:cNvPr id="103" name="Ink 102">
                  <a:extLst>
                    <a:ext uri="{FF2B5EF4-FFF2-40B4-BE49-F238E27FC236}">
                      <a16:creationId xmlns:a16="http://schemas.microsoft.com/office/drawing/2014/main" id="{42F7E7F6-498A-4924-9E7B-2417E0FEC2F9}"/>
                    </a:ext>
                  </a:extLst>
                </p14:cNvPr>
                <p14:cNvContentPartPr/>
                <p14:nvPr/>
              </p14:nvContentPartPr>
              <p14:xfrm>
                <a:off x="7976457" y="592838"/>
                <a:ext cx="105840" cy="99360"/>
              </p14:xfrm>
            </p:contentPart>
          </mc:Choice>
          <mc:Fallback xmlns="">
            <p:pic>
              <p:nvPicPr>
                <p:cNvPr id="103" name="Ink 102">
                  <a:extLst>
                    <a:ext uri="{FF2B5EF4-FFF2-40B4-BE49-F238E27FC236}">
                      <a16:creationId xmlns:a16="http://schemas.microsoft.com/office/drawing/2014/main" id="{42F7E7F6-498A-4924-9E7B-2417E0FEC2F9}"/>
                    </a:ext>
                  </a:extLst>
                </p:cNvPr>
                <p:cNvPicPr/>
                <p:nvPr/>
              </p:nvPicPr>
              <p:blipFill>
                <a:blip r:embed="rId62"/>
                <a:stretch>
                  <a:fillRect/>
                </a:stretch>
              </p:blipFill>
              <p:spPr>
                <a:xfrm>
                  <a:off x="7972137" y="588518"/>
                  <a:ext cx="114480" cy="108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04" name="Ink 103">
                  <a:extLst>
                    <a:ext uri="{FF2B5EF4-FFF2-40B4-BE49-F238E27FC236}">
                      <a16:creationId xmlns:a16="http://schemas.microsoft.com/office/drawing/2014/main" id="{E8038FD2-F19F-46A2-B68E-BA4430877E9F}"/>
                    </a:ext>
                  </a:extLst>
                </p14:cNvPr>
                <p14:cNvContentPartPr/>
                <p14:nvPr/>
              </p14:nvContentPartPr>
              <p14:xfrm>
                <a:off x="7999857" y="585638"/>
                <a:ext cx="48240" cy="139320"/>
              </p14:xfrm>
            </p:contentPart>
          </mc:Choice>
          <mc:Fallback xmlns="">
            <p:pic>
              <p:nvPicPr>
                <p:cNvPr id="104" name="Ink 103">
                  <a:extLst>
                    <a:ext uri="{FF2B5EF4-FFF2-40B4-BE49-F238E27FC236}">
                      <a16:creationId xmlns:a16="http://schemas.microsoft.com/office/drawing/2014/main" id="{E8038FD2-F19F-46A2-B68E-BA4430877E9F}"/>
                    </a:ext>
                  </a:extLst>
                </p:cNvPr>
                <p:cNvPicPr/>
                <p:nvPr/>
              </p:nvPicPr>
              <p:blipFill>
                <a:blip r:embed="rId64"/>
                <a:stretch>
                  <a:fillRect/>
                </a:stretch>
              </p:blipFill>
              <p:spPr>
                <a:xfrm>
                  <a:off x="7995537" y="581318"/>
                  <a:ext cx="5688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05" name="Ink 104">
                  <a:extLst>
                    <a:ext uri="{FF2B5EF4-FFF2-40B4-BE49-F238E27FC236}">
                      <a16:creationId xmlns:a16="http://schemas.microsoft.com/office/drawing/2014/main" id="{3624B60D-70CE-4C57-BB13-CDB2CA6188F8}"/>
                    </a:ext>
                  </a:extLst>
                </p14:cNvPr>
                <p14:cNvContentPartPr/>
                <p14:nvPr/>
              </p14:nvContentPartPr>
              <p14:xfrm>
                <a:off x="8103537" y="599318"/>
                <a:ext cx="57240" cy="57600"/>
              </p14:xfrm>
            </p:contentPart>
          </mc:Choice>
          <mc:Fallback xmlns="">
            <p:pic>
              <p:nvPicPr>
                <p:cNvPr id="105" name="Ink 104">
                  <a:extLst>
                    <a:ext uri="{FF2B5EF4-FFF2-40B4-BE49-F238E27FC236}">
                      <a16:creationId xmlns:a16="http://schemas.microsoft.com/office/drawing/2014/main" id="{3624B60D-70CE-4C57-BB13-CDB2CA6188F8}"/>
                    </a:ext>
                  </a:extLst>
                </p:cNvPr>
                <p:cNvPicPr/>
                <p:nvPr/>
              </p:nvPicPr>
              <p:blipFill>
                <a:blip r:embed="rId66"/>
                <a:stretch>
                  <a:fillRect/>
                </a:stretch>
              </p:blipFill>
              <p:spPr>
                <a:xfrm>
                  <a:off x="8099217" y="594998"/>
                  <a:ext cx="6588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06" name="Ink 105">
                  <a:extLst>
                    <a:ext uri="{FF2B5EF4-FFF2-40B4-BE49-F238E27FC236}">
                      <a16:creationId xmlns:a16="http://schemas.microsoft.com/office/drawing/2014/main" id="{F21C355D-4732-414A-8EB8-72F1F4C1964B}"/>
                    </a:ext>
                  </a:extLst>
                </p14:cNvPr>
                <p14:cNvContentPartPr/>
                <p14:nvPr/>
              </p14:nvContentPartPr>
              <p14:xfrm>
                <a:off x="8196057" y="585638"/>
                <a:ext cx="43920" cy="59400"/>
              </p14:xfrm>
            </p:contentPart>
          </mc:Choice>
          <mc:Fallback xmlns="">
            <p:pic>
              <p:nvPicPr>
                <p:cNvPr id="106" name="Ink 105">
                  <a:extLst>
                    <a:ext uri="{FF2B5EF4-FFF2-40B4-BE49-F238E27FC236}">
                      <a16:creationId xmlns:a16="http://schemas.microsoft.com/office/drawing/2014/main" id="{F21C355D-4732-414A-8EB8-72F1F4C1964B}"/>
                    </a:ext>
                  </a:extLst>
                </p:cNvPr>
                <p:cNvPicPr/>
                <p:nvPr/>
              </p:nvPicPr>
              <p:blipFill>
                <a:blip r:embed="rId68"/>
                <a:stretch>
                  <a:fillRect/>
                </a:stretch>
              </p:blipFill>
              <p:spPr>
                <a:xfrm>
                  <a:off x="8191737" y="581318"/>
                  <a:ext cx="52560" cy="68040"/>
                </a:xfrm>
                <a:prstGeom prst="rect">
                  <a:avLst/>
                </a:prstGeom>
              </p:spPr>
            </p:pic>
          </mc:Fallback>
        </mc:AlternateContent>
      </p:grpSp>
      <p:grpSp>
        <p:nvGrpSpPr>
          <p:cNvPr id="114" name="Group 113">
            <a:extLst>
              <a:ext uri="{FF2B5EF4-FFF2-40B4-BE49-F238E27FC236}">
                <a16:creationId xmlns:a16="http://schemas.microsoft.com/office/drawing/2014/main" id="{7885C676-A88E-492A-99A6-F6E6650F46A0}"/>
              </a:ext>
            </a:extLst>
          </p:cNvPr>
          <p:cNvGrpSpPr/>
          <p:nvPr/>
        </p:nvGrpSpPr>
        <p:grpSpPr>
          <a:xfrm>
            <a:off x="11457516" y="427571"/>
            <a:ext cx="436320" cy="420960"/>
            <a:chOff x="8593137" y="320678"/>
            <a:chExt cx="327240" cy="315720"/>
          </a:xfrm>
        </p:grpSpPr>
        <mc:AlternateContent xmlns:mc="http://schemas.openxmlformats.org/markup-compatibility/2006" xmlns:p14="http://schemas.microsoft.com/office/powerpoint/2010/main">
          <mc:Choice Requires="p14">
            <p:contentPart p14:bwMode="auto" r:id="rId69">
              <p14:nvContentPartPr>
                <p14:cNvPr id="109" name="Ink 108">
                  <a:extLst>
                    <a:ext uri="{FF2B5EF4-FFF2-40B4-BE49-F238E27FC236}">
                      <a16:creationId xmlns:a16="http://schemas.microsoft.com/office/drawing/2014/main" id="{8E5A5103-2C20-473B-B261-46E44E2A34E3}"/>
                    </a:ext>
                  </a:extLst>
                </p14:cNvPr>
                <p14:cNvContentPartPr/>
                <p14:nvPr/>
              </p14:nvContentPartPr>
              <p14:xfrm>
                <a:off x="8593137" y="320678"/>
                <a:ext cx="118080" cy="194040"/>
              </p14:xfrm>
            </p:contentPart>
          </mc:Choice>
          <mc:Fallback xmlns="">
            <p:pic>
              <p:nvPicPr>
                <p:cNvPr id="109" name="Ink 108">
                  <a:extLst>
                    <a:ext uri="{FF2B5EF4-FFF2-40B4-BE49-F238E27FC236}">
                      <a16:creationId xmlns:a16="http://schemas.microsoft.com/office/drawing/2014/main" id="{8E5A5103-2C20-473B-B261-46E44E2A34E3}"/>
                    </a:ext>
                  </a:extLst>
                </p:cNvPr>
                <p:cNvPicPr/>
                <p:nvPr/>
              </p:nvPicPr>
              <p:blipFill>
                <a:blip r:embed="rId70"/>
                <a:stretch>
                  <a:fillRect/>
                </a:stretch>
              </p:blipFill>
              <p:spPr>
                <a:xfrm>
                  <a:off x="8584137" y="311678"/>
                  <a:ext cx="135720" cy="2116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10" name="Ink 109">
                  <a:extLst>
                    <a:ext uri="{FF2B5EF4-FFF2-40B4-BE49-F238E27FC236}">
                      <a16:creationId xmlns:a16="http://schemas.microsoft.com/office/drawing/2014/main" id="{667A8D23-64F8-4238-9EDA-1EFFEDE5EA8D}"/>
                    </a:ext>
                  </a:extLst>
                </p14:cNvPr>
                <p14:cNvContentPartPr/>
                <p14:nvPr/>
              </p14:nvContentPartPr>
              <p14:xfrm>
                <a:off x="8657217" y="488078"/>
                <a:ext cx="96120" cy="148320"/>
              </p14:xfrm>
            </p:contentPart>
          </mc:Choice>
          <mc:Fallback xmlns="">
            <p:pic>
              <p:nvPicPr>
                <p:cNvPr id="110" name="Ink 109">
                  <a:extLst>
                    <a:ext uri="{FF2B5EF4-FFF2-40B4-BE49-F238E27FC236}">
                      <a16:creationId xmlns:a16="http://schemas.microsoft.com/office/drawing/2014/main" id="{667A8D23-64F8-4238-9EDA-1EFFEDE5EA8D}"/>
                    </a:ext>
                  </a:extLst>
                </p:cNvPr>
                <p:cNvPicPr/>
                <p:nvPr/>
              </p:nvPicPr>
              <p:blipFill>
                <a:blip r:embed="rId72"/>
                <a:stretch>
                  <a:fillRect/>
                </a:stretch>
              </p:blipFill>
              <p:spPr>
                <a:xfrm>
                  <a:off x="8648577" y="479078"/>
                  <a:ext cx="11376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12" name="Ink 111">
                  <a:extLst>
                    <a:ext uri="{FF2B5EF4-FFF2-40B4-BE49-F238E27FC236}">
                      <a16:creationId xmlns:a16="http://schemas.microsoft.com/office/drawing/2014/main" id="{D7AE6E3D-4C7A-4FAC-A1E4-6F7C020B45ED}"/>
                    </a:ext>
                  </a:extLst>
                </p14:cNvPr>
                <p14:cNvContentPartPr/>
                <p14:nvPr/>
              </p14:nvContentPartPr>
              <p14:xfrm>
                <a:off x="8753337" y="518318"/>
                <a:ext cx="79200" cy="87480"/>
              </p14:xfrm>
            </p:contentPart>
          </mc:Choice>
          <mc:Fallback xmlns="">
            <p:pic>
              <p:nvPicPr>
                <p:cNvPr id="112" name="Ink 111">
                  <a:extLst>
                    <a:ext uri="{FF2B5EF4-FFF2-40B4-BE49-F238E27FC236}">
                      <a16:creationId xmlns:a16="http://schemas.microsoft.com/office/drawing/2014/main" id="{D7AE6E3D-4C7A-4FAC-A1E4-6F7C020B45ED}"/>
                    </a:ext>
                  </a:extLst>
                </p:cNvPr>
                <p:cNvPicPr/>
                <p:nvPr/>
              </p:nvPicPr>
              <p:blipFill>
                <a:blip r:embed="rId74"/>
                <a:stretch>
                  <a:fillRect/>
                </a:stretch>
              </p:blipFill>
              <p:spPr>
                <a:xfrm>
                  <a:off x="8744337" y="509678"/>
                  <a:ext cx="96840" cy="10512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13" name="Ink 112">
                  <a:extLst>
                    <a:ext uri="{FF2B5EF4-FFF2-40B4-BE49-F238E27FC236}">
                      <a16:creationId xmlns:a16="http://schemas.microsoft.com/office/drawing/2014/main" id="{970F2986-0FFF-4ECB-BE85-093BDF17A43A}"/>
                    </a:ext>
                  </a:extLst>
                </p14:cNvPr>
                <p14:cNvContentPartPr/>
                <p14:nvPr/>
              </p14:nvContentPartPr>
              <p14:xfrm>
                <a:off x="8872857" y="503918"/>
                <a:ext cx="47520" cy="68040"/>
              </p14:xfrm>
            </p:contentPart>
          </mc:Choice>
          <mc:Fallback xmlns="">
            <p:pic>
              <p:nvPicPr>
                <p:cNvPr id="113" name="Ink 112">
                  <a:extLst>
                    <a:ext uri="{FF2B5EF4-FFF2-40B4-BE49-F238E27FC236}">
                      <a16:creationId xmlns:a16="http://schemas.microsoft.com/office/drawing/2014/main" id="{970F2986-0FFF-4ECB-BE85-093BDF17A43A}"/>
                    </a:ext>
                  </a:extLst>
                </p:cNvPr>
                <p:cNvPicPr/>
                <p:nvPr/>
              </p:nvPicPr>
              <p:blipFill>
                <a:blip r:embed="rId76"/>
                <a:stretch>
                  <a:fillRect/>
                </a:stretch>
              </p:blipFill>
              <p:spPr>
                <a:xfrm>
                  <a:off x="8863857" y="495278"/>
                  <a:ext cx="65160" cy="85680"/>
                </a:xfrm>
                <a:prstGeom prst="rect">
                  <a:avLst/>
                </a:prstGeom>
              </p:spPr>
            </p:pic>
          </mc:Fallback>
        </mc:AlternateContent>
      </p:grpSp>
      <p:sp>
        <p:nvSpPr>
          <p:cNvPr id="118" name="TextBox 117">
            <a:extLst>
              <a:ext uri="{FF2B5EF4-FFF2-40B4-BE49-F238E27FC236}">
                <a16:creationId xmlns:a16="http://schemas.microsoft.com/office/drawing/2014/main" id="{9FD59B1B-B3B2-450D-B9E2-D257740BB6D2}"/>
              </a:ext>
            </a:extLst>
          </p:cNvPr>
          <p:cNvSpPr txBox="1"/>
          <p:nvPr/>
        </p:nvSpPr>
        <p:spPr>
          <a:xfrm>
            <a:off x="190537" y="4895414"/>
            <a:ext cx="8652599" cy="461665"/>
          </a:xfrm>
          <a:prstGeom prst="rect">
            <a:avLst/>
          </a:prstGeom>
          <a:noFill/>
        </p:spPr>
        <p:txBody>
          <a:bodyPr wrap="square" rtlCol="0">
            <a:spAutoFit/>
          </a:bodyPr>
          <a:lstStyle/>
          <a:p>
            <a:pPr defTabSz="1219170" fontAlgn="base">
              <a:buClr>
                <a:srgbClr val="007DB8"/>
              </a:buClr>
            </a:pPr>
            <a:r>
              <a:rPr lang="en-US" sz="2400" dirty="0">
                <a:solidFill>
                  <a:srgbClr val="000000">
                    <a:lumMod val="50000"/>
                    <a:lumOff val="50000"/>
                  </a:srgbClr>
                </a:solidFill>
                <a:latin typeface="Inter"/>
                <a:cs typeface="Arial" panose="020B0604020202020204" pitchFamily="34" charset="0"/>
              </a:rPr>
              <a:t>Let’s learn how to identify and treat outliers in our ML classes</a:t>
            </a:r>
          </a:p>
        </p:txBody>
      </p:sp>
      <mc:AlternateContent xmlns:mc="http://schemas.openxmlformats.org/markup-compatibility/2006">
        <mc:Choice xmlns:p14="http://schemas.microsoft.com/office/powerpoint/2010/main" Requires="p14">
          <p:contentPart p14:bwMode="auto" r:id="rId77">
            <p14:nvContentPartPr>
              <p14:cNvPr id="2" name="Ink 1">
                <a:extLst>
                  <a:ext uri="{FF2B5EF4-FFF2-40B4-BE49-F238E27FC236}">
                    <a16:creationId xmlns:a16="http://schemas.microsoft.com/office/drawing/2014/main" id="{35F15A9E-7374-4D19-B10E-0DF4D084E182}"/>
                  </a:ext>
                </a:extLst>
              </p14:cNvPr>
              <p14:cNvContentPartPr/>
              <p14:nvPr/>
            </p14:nvContentPartPr>
            <p14:xfrm>
              <a:off x="6240" y="6240"/>
              <a:ext cx="10497120" cy="5556960"/>
            </p14:xfrm>
          </p:contentPart>
        </mc:Choice>
        <mc:Fallback>
          <p:pic>
            <p:nvPicPr>
              <p:cNvPr id="2" name="Ink 1">
                <a:extLst>
                  <a:ext uri="{FF2B5EF4-FFF2-40B4-BE49-F238E27FC236}">
                    <a16:creationId xmlns:a16="http://schemas.microsoft.com/office/drawing/2014/main" id="{35F15A9E-7374-4D19-B10E-0DF4D084E182}"/>
                  </a:ext>
                </a:extLst>
              </p:cNvPr>
              <p:cNvPicPr/>
              <p:nvPr/>
            </p:nvPicPr>
            <p:blipFill>
              <a:blip r:embed="rId78"/>
              <a:stretch>
                <a:fillRect/>
              </a:stretch>
            </p:blipFill>
            <p:spPr>
              <a:xfrm>
                <a:off x="-3120" y="-3120"/>
                <a:ext cx="10515840" cy="5575680"/>
              </a:xfrm>
              <a:prstGeom prst="rect">
                <a:avLst/>
              </a:prstGeom>
            </p:spPr>
          </p:pic>
        </mc:Fallback>
      </mc:AlternateContent>
    </p:spTree>
    <p:extLst>
      <p:ext uri="{BB962C8B-B14F-4D97-AF65-F5344CB8AC3E}">
        <p14:creationId xmlns:p14="http://schemas.microsoft.com/office/powerpoint/2010/main" val="293059769"/>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6FF563-E73D-4114-871D-69CA13511BB3}"/>
              </a:ext>
            </a:extLst>
          </p:cNvPr>
          <p:cNvSpPr>
            <a:spLocks noGrp="1"/>
          </p:cNvSpPr>
          <p:nvPr>
            <p:ph type="title"/>
          </p:nvPr>
        </p:nvSpPr>
        <p:spPr>
          <a:xfrm>
            <a:off x="0" y="0"/>
            <a:ext cx="10607040" cy="853440"/>
          </a:xfrm>
        </p:spPr>
        <p:txBody>
          <a:bodyPr>
            <a:normAutofit fontScale="90000"/>
          </a:bodyPr>
          <a:lstStyle/>
          <a:p>
            <a:r>
              <a:rPr lang="en-US" dirty="0"/>
              <a:t>Mean – Continued</a:t>
            </a:r>
            <a:br>
              <a:rPr lang="en-US" dirty="0"/>
            </a:br>
            <a:r>
              <a:rPr lang="en-US" dirty="0">
                <a:solidFill>
                  <a:schemeClr val="bg2">
                    <a:lumMod val="50000"/>
                    <a:lumOff val="50000"/>
                  </a:schemeClr>
                </a:solidFill>
              </a:rPr>
              <a:t>Different types of Mean</a:t>
            </a:r>
          </a:p>
        </p:txBody>
      </p:sp>
      <p:sp>
        <p:nvSpPr>
          <p:cNvPr id="4" name="Content Placeholder 3">
            <a:extLst>
              <a:ext uri="{FF2B5EF4-FFF2-40B4-BE49-F238E27FC236}">
                <a16:creationId xmlns:a16="http://schemas.microsoft.com/office/drawing/2014/main" id="{7D3B6E85-01D6-4560-BC37-4C032EA4F8B6}"/>
              </a:ext>
            </a:extLst>
          </p:cNvPr>
          <p:cNvSpPr>
            <a:spLocks noGrp="1"/>
          </p:cNvSpPr>
          <p:nvPr>
            <p:ph sz="half" idx="1"/>
          </p:nvPr>
        </p:nvSpPr>
        <p:spPr>
          <a:xfrm>
            <a:off x="86554" y="1197340"/>
            <a:ext cx="10765257" cy="5094104"/>
          </a:xfrm>
        </p:spPr>
        <p:txBody>
          <a:bodyPr/>
          <a:lstStyle/>
          <a:p>
            <a:pPr marL="0" indent="0">
              <a:buNone/>
            </a:pPr>
            <a:r>
              <a:rPr lang="en-US" sz="3333" dirty="0">
                <a:solidFill>
                  <a:srgbClr val="007DB8"/>
                </a:solidFill>
              </a:rPr>
              <a:t>Arithmetic Mean </a:t>
            </a:r>
          </a:p>
          <a:p>
            <a:r>
              <a:rPr lang="en-US" dirty="0">
                <a:solidFill>
                  <a:schemeClr val="bg2">
                    <a:lumMod val="50000"/>
                    <a:lumOff val="50000"/>
                  </a:schemeClr>
                </a:solidFill>
                <a:latin typeface="Inter"/>
              </a:rPr>
              <a:t>When you add up all the values and divide by the number of values it is called Arithmetic Mean. To calculate, just add up all the given numbers then divide by how many numbers are given.</a:t>
            </a:r>
          </a:p>
          <a:p>
            <a:pPr lvl="1"/>
            <a:r>
              <a:rPr lang="en-US" sz="1867" dirty="0">
                <a:solidFill>
                  <a:schemeClr val="bg2">
                    <a:lumMod val="50000"/>
                    <a:lumOff val="50000"/>
                  </a:schemeClr>
                </a:solidFill>
                <a:latin typeface="Inter"/>
              </a:rPr>
              <a:t>Example: What is the mean of 3, 5, 9, 5, 7, 2?</a:t>
            </a:r>
          </a:p>
          <a:p>
            <a:pPr lvl="1"/>
            <a:r>
              <a:rPr lang="en-US" sz="1867" dirty="0">
                <a:solidFill>
                  <a:schemeClr val="bg2">
                    <a:lumMod val="50000"/>
                    <a:lumOff val="50000"/>
                  </a:schemeClr>
                </a:solidFill>
                <a:latin typeface="Inter"/>
              </a:rPr>
              <a:t>Now add up all the given numbers:</a:t>
            </a:r>
          </a:p>
          <a:p>
            <a:pPr lvl="1"/>
            <a:r>
              <a:rPr lang="en-US" sz="1867" dirty="0">
                <a:solidFill>
                  <a:schemeClr val="bg2">
                    <a:lumMod val="50000"/>
                    <a:lumOff val="50000"/>
                  </a:schemeClr>
                </a:solidFill>
                <a:latin typeface="Inter"/>
              </a:rPr>
              <a:t>3 + 5 + 9 + 5 + 7 + 2 = 31</a:t>
            </a:r>
          </a:p>
          <a:p>
            <a:pPr lvl="1"/>
            <a:r>
              <a:rPr lang="en-US" sz="1867" dirty="0">
                <a:solidFill>
                  <a:schemeClr val="bg2">
                    <a:lumMod val="50000"/>
                    <a:lumOff val="50000"/>
                  </a:schemeClr>
                </a:solidFill>
                <a:latin typeface="Inter"/>
              </a:rPr>
              <a:t>Now divide by how many numbers provided in the sequence:</a:t>
            </a:r>
          </a:p>
          <a:p>
            <a:pPr lvl="1"/>
            <a:r>
              <a:rPr lang="en-US" sz="1867" dirty="0">
                <a:solidFill>
                  <a:schemeClr val="bg2">
                    <a:lumMod val="50000"/>
                    <a:lumOff val="50000"/>
                  </a:schemeClr>
                </a:solidFill>
                <a:latin typeface="Inter"/>
              </a:rPr>
              <a:t>316= 5.16</a:t>
            </a:r>
          </a:p>
          <a:p>
            <a:pPr lvl="1"/>
            <a:r>
              <a:rPr lang="en-US" sz="1867" dirty="0">
                <a:solidFill>
                  <a:schemeClr val="bg2">
                    <a:lumMod val="50000"/>
                    <a:lumOff val="50000"/>
                  </a:schemeClr>
                </a:solidFill>
                <a:latin typeface="Inter"/>
              </a:rPr>
              <a:t>5.16 is the answer</a:t>
            </a:r>
            <a:r>
              <a:rPr lang="en-US" dirty="0"/>
              <a:t>.</a:t>
            </a:r>
          </a:p>
          <a:p>
            <a:endParaRPr lang="en-US" dirty="0"/>
          </a:p>
        </p:txBody>
      </p:sp>
      <p:pic>
        <p:nvPicPr>
          <p:cNvPr id="6" name="Picture 5">
            <a:extLst>
              <a:ext uri="{FF2B5EF4-FFF2-40B4-BE49-F238E27FC236}">
                <a16:creationId xmlns:a16="http://schemas.microsoft.com/office/drawing/2014/main" id="{27CA7337-1D9D-4B99-B6FB-2A461EFDE4E9}"/>
              </a:ext>
            </a:extLst>
          </p:cNvPr>
          <p:cNvPicPr>
            <a:picLocks noChangeAspect="1"/>
          </p:cNvPicPr>
          <p:nvPr/>
        </p:nvPicPr>
        <p:blipFill>
          <a:blip r:embed="rId2"/>
          <a:stretch>
            <a:fillRect/>
          </a:stretch>
        </p:blipFill>
        <p:spPr>
          <a:xfrm>
            <a:off x="709213" y="4876413"/>
            <a:ext cx="5524500" cy="660400"/>
          </a:xfrm>
          <a:prstGeom prst="rect">
            <a:avLst/>
          </a:prstGeom>
        </p:spPr>
      </p:pic>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E2784234-171B-4A0C-800A-7AEAEF56856D}"/>
                  </a:ext>
                </a:extLst>
              </p14:cNvPr>
              <p14:cNvContentPartPr/>
              <p14:nvPr/>
            </p14:nvContentPartPr>
            <p14:xfrm>
              <a:off x="3035520" y="1378080"/>
              <a:ext cx="6451680" cy="4426080"/>
            </p14:xfrm>
          </p:contentPart>
        </mc:Choice>
        <mc:Fallback>
          <p:pic>
            <p:nvPicPr>
              <p:cNvPr id="2" name="Ink 1">
                <a:extLst>
                  <a:ext uri="{FF2B5EF4-FFF2-40B4-BE49-F238E27FC236}">
                    <a16:creationId xmlns:a16="http://schemas.microsoft.com/office/drawing/2014/main" id="{E2784234-171B-4A0C-800A-7AEAEF56856D}"/>
                  </a:ext>
                </a:extLst>
              </p:cNvPr>
              <p:cNvPicPr/>
              <p:nvPr/>
            </p:nvPicPr>
            <p:blipFill>
              <a:blip r:embed="rId4"/>
              <a:stretch>
                <a:fillRect/>
              </a:stretch>
            </p:blipFill>
            <p:spPr>
              <a:xfrm>
                <a:off x="3026160" y="1368719"/>
                <a:ext cx="6470400" cy="4444801"/>
              </a:xfrm>
              <a:prstGeom prst="rect">
                <a:avLst/>
              </a:prstGeom>
            </p:spPr>
          </p:pic>
        </mc:Fallback>
      </mc:AlternateContent>
    </p:spTree>
    <p:extLst>
      <p:ext uri="{BB962C8B-B14F-4D97-AF65-F5344CB8AC3E}">
        <p14:creationId xmlns:p14="http://schemas.microsoft.com/office/powerpoint/2010/main" val="2903660889"/>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1FEF-38B0-4D5D-ACF9-640E94B25F1B}"/>
              </a:ext>
            </a:extLst>
          </p:cNvPr>
          <p:cNvSpPr>
            <a:spLocks noGrp="1"/>
          </p:cNvSpPr>
          <p:nvPr>
            <p:ph type="title"/>
          </p:nvPr>
        </p:nvSpPr>
        <p:spPr/>
        <p:txBody>
          <a:bodyPr/>
          <a:lstStyle/>
          <a:p>
            <a:r>
              <a:rPr lang="en-US" dirty="0"/>
              <a:t>Some statistical statements</a:t>
            </a:r>
          </a:p>
        </p:txBody>
      </p:sp>
      <p:sp>
        <p:nvSpPr>
          <p:cNvPr id="3" name="Content Placeholder 2">
            <a:extLst>
              <a:ext uri="{FF2B5EF4-FFF2-40B4-BE49-F238E27FC236}">
                <a16:creationId xmlns:a16="http://schemas.microsoft.com/office/drawing/2014/main" id="{CA61F78B-9CC5-4759-8D88-4612E1CAB972}"/>
              </a:ext>
            </a:extLst>
          </p:cNvPr>
          <p:cNvSpPr>
            <a:spLocks noGrp="1"/>
          </p:cNvSpPr>
          <p:nvPr>
            <p:ph sz="half" idx="1"/>
          </p:nvPr>
        </p:nvSpPr>
        <p:spPr>
          <a:xfrm>
            <a:off x="215448" y="1406255"/>
            <a:ext cx="10565848" cy="4267200"/>
          </a:xfrm>
        </p:spPr>
        <p:txBody>
          <a:bodyPr/>
          <a:lstStyle/>
          <a:p>
            <a:r>
              <a:rPr lang="en-US" dirty="0">
                <a:solidFill>
                  <a:schemeClr val="bg2">
                    <a:lumMod val="50000"/>
                    <a:lumOff val="50000"/>
                  </a:schemeClr>
                </a:solidFill>
              </a:rPr>
              <a:t>I drive my car at an average speed of 50 km/hr.</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A survey of 1000 adults by a capital markets company showed that 75% of adults think that Corona vaccine is 96% efficacy (if that is the case then 4% of people can die)</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We will close the quarter higher at 120% attainment ( Actuals/Target)</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20% of our workforce would resign by the end of next year</a:t>
            </a:r>
          </a:p>
          <a:p>
            <a:endParaRPr lang="en-US" dirty="0"/>
          </a:p>
        </p:txBody>
      </p:sp>
      <p:sp>
        <p:nvSpPr>
          <p:cNvPr id="4" name="TextBox 3">
            <a:extLst>
              <a:ext uri="{FF2B5EF4-FFF2-40B4-BE49-F238E27FC236}">
                <a16:creationId xmlns:a16="http://schemas.microsoft.com/office/drawing/2014/main" id="{65CFAE00-AD21-409B-AE44-D05A37D298A0}"/>
              </a:ext>
            </a:extLst>
          </p:cNvPr>
          <p:cNvSpPr txBox="1"/>
          <p:nvPr/>
        </p:nvSpPr>
        <p:spPr>
          <a:xfrm>
            <a:off x="215447" y="5324642"/>
            <a:ext cx="11475511" cy="666977"/>
          </a:xfrm>
          <a:prstGeom prst="rect">
            <a:avLst/>
          </a:prstGeom>
          <a:noFill/>
        </p:spPr>
        <p:txBody>
          <a:bodyPr wrap="square" rtlCol="0">
            <a:spAutoFit/>
          </a:bodyPr>
          <a:lstStyle/>
          <a:p>
            <a:pPr defTabSz="1219170" fontAlgn="base">
              <a:buClr>
                <a:srgbClr val="007DB8"/>
              </a:buClr>
            </a:pPr>
            <a:r>
              <a:rPr lang="en-US" sz="1867" i="1" dirty="0">
                <a:solidFill>
                  <a:srgbClr val="007DB8"/>
                </a:solidFill>
                <a:latin typeface="Arial"/>
              </a:rPr>
              <a:t>So, you can challenge most of the statements here. But these statements will be applicable to most of the population but there can be exceptions.</a:t>
            </a:r>
          </a:p>
        </p:txBody>
      </p:sp>
    </p:spTree>
    <p:extLst>
      <p:ext uri="{BB962C8B-B14F-4D97-AF65-F5344CB8AC3E}">
        <p14:creationId xmlns:p14="http://schemas.microsoft.com/office/powerpoint/2010/main" val="3865591795"/>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5DE446-0BA5-47DD-9C34-E22160028D02}"/>
              </a:ext>
            </a:extLst>
          </p:cNvPr>
          <p:cNvSpPr>
            <a:spLocks noGrp="1"/>
          </p:cNvSpPr>
          <p:nvPr>
            <p:ph type="title"/>
          </p:nvPr>
        </p:nvSpPr>
        <p:spPr>
          <a:xfrm>
            <a:off x="0" y="37308"/>
            <a:ext cx="10607040" cy="853440"/>
          </a:xfrm>
        </p:spPr>
        <p:txBody>
          <a:bodyPr/>
          <a:lstStyle/>
          <a:p>
            <a:r>
              <a:rPr lang="en-US" dirty="0"/>
              <a:t>Geometric Mean</a:t>
            </a:r>
          </a:p>
        </p:txBody>
      </p:sp>
      <p:sp>
        <p:nvSpPr>
          <p:cNvPr id="4" name="Content Placeholder 3">
            <a:extLst>
              <a:ext uri="{FF2B5EF4-FFF2-40B4-BE49-F238E27FC236}">
                <a16:creationId xmlns:a16="http://schemas.microsoft.com/office/drawing/2014/main" id="{8B864218-C049-4F5F-973F-1252FE3B9728}"/>
              </a:ext>
            </a:extLst>
          </p:cNvPr>
          <p:cNvSpPr>
            <a:spLocks noGrp="1"/>
          </p:cNvSpPr>
          <p:nvPr>
            <p:ph sz="half" idx="1"/>
          </p:nvPr>
        </p:nvSpPr>
        <p:spPr>
          <a:xfrm>
            <a:off x="365760" y="809698"/>
            <a:ext cx="10607040" cy="5286303"/>
          </a:xfrm>
        </p:spPr>
        <p:txBody>
          <a:bodyPr/>
          <a:lstStyle/>
          <a:p>
            <a:r>
              <a:rPr lang="en-US" dirty="0">
                <a:solidFill>
                  <a:schemeClr val="bg2">
                    <a:lumMod val="50000"/>
                    <a:lumOff val="50000"/>
                  </a:schemeClr>
                </a:solidFill>
                <a:latin typeface="Inter"/>
              </a:rPr>
              <a:t>While finding geometric mean the values are </a:t>
            </a:r>
            <a:r>
              <a:rPr lang="en-US" dirty="0" err="1">
                <a:solidFill>
                  <a:schemeClr val="bg2">
                    <a:lumMod val="50000"/>
                    <a:lumOff val="50000"/>
                  </a:schemeClr>
                </a:solidFill>
                <a:latin typeface="Inter"/>
              </a:rPr>
              <a:t>multipled</a:t>
            </a:r>
            <a:r>
              <a:rPr lang="en-US" dirty="0">
                <a:solidFill>
                  <a:schemeClr val="bg2">
                    <a:lumMod val="50000"/>
                    <a:lumOff val="50000"/>
                  </a:schemeClr>
                </a:solidFill>
                <a:latin typeface="Inter"/>
              </a:rPr>
              <a:t> rather than summed up </a:t>
            </a:r>
          </a:p>
          <a:p>
            <a:endParaRPr lang="en-US" dirty="0">
              <a:solidFill>
                <a:schemeClr val="bg2">
                  <a:lumMod val="50000"/>
                  <a:lumOff val="50000"/>
                </a:schemeClr>
              </a:solidFill>
              <a:latin typeface="Inter"/>
            </a:endParaRPr>
          </a:p>
          <a:p>
            <a:r>
              <a:rPr lang="en-US" dirty="0">
                <a:solidFill>
                  <a:schemeClr val="bg2">
                    <a:lumMod val="50000"/>
                    <a:lumOff val="50000"/>
                  </a:schemeClr>
                </a:solidFill>
                <a:latin typeface="Inter"/>
              </a:rPr>
              <a:t>Example: Find the geometric mean of 4 and 3 ?</a:t>
            </a:r>
          </a:p>
          <a:p>
            <a:pPr lvl="1"/>
            <a:r>
              <a:rPr lang="en-US" sz="1867" dirty="0">
                <a:solidFill>
                  <a:schemeClr val="bg2">
                    <a:lumMod val="50000"/>
                    <a:lumOff val="50000"/>
                  </a:schemeClr>
                </a:solidFill>
                <a:latin typeface="Inter"/>
              </a:rPr>
              <a:t>Geometric Mean =√4×3=2√23= 3.46</a:t>
            </a:r>
          </a:p>
          <a:p>
            <a:r>
              <a:rPr lang="en-US" dirty="0">
                <a:solidFill>
                  <a:schemeClr val="bg2">
                    <a:lumMod val="50000"/>
                    <a:lumOff val="50000"/>
                  </a:schemeClr>
                </a:solidFill>
                <a:latin typeface="Inter"/>
              </a:rPr>
              <a:t>GM of 2 numbers is like finding area and the GM of 3 numbers is like finding the volume of area.. </a:t>
            </a:r>
          </a:p>
          <a:p>
            <a:pPr lvl="1"/>
            <a:r>
              <a:rPr lang="en-US" sz="1867" dirty="0">
                <a:solidFill>
                  <a:schemeClr val="bg2">
                    <a:lumMod val="50000"/>
                    <a:lumOff val="50000"/>
                  </a:schemeClr>
                </a:solidFill>
                <a:latin typeface="Inter"/>
              </a:rPr>
              <a:t>Ex : What is geometric mean of 1,3,9,27,81 ? </a:t>
            </a:r>
          </a:p>
          <a:p>
            <a:r>
              <a:rPr lang="en-US" dirty="0">
                <a:solidFill>
                  <a:schemeClr val="bg2">
                    <a:lumMod val="50000"/>
                    <a:lumOff val="50000"/>
                  </a:schemeClr>
                </a:solidFill>
                <a:latin typeface="Inter"/>
              </a:rPr>
              <a:t>Why Geometric Mean ? </a:t>
            </a:r>
          </a:p>
          <a:p>
            <a:pPr lvl="1"/>
            <a:r>
              <a:rPr lang="en-US" sz="1867" dirty="0">
                <a:solidFill>
                  <a:schemeClr val="bg2">
                    <a:lumMod val="50000"/>
                    <a:lumOff val="50000"/>
                  </a:schemeClr>
                </a:solidFill>
                <a:latin typeface="Inter"/>
              </a:rPr>
              <a:t>Ex : Buying a laptop </a:t>
            </a:r>
          </a:p>
          <a:p>
            <a:endParaRPr lang="en-US" dirty="0"/>
          </a:p>
        </p:txBody>
      </p:sp>
      <p:pic>
        <p:nvPicPr>
          <p:cNvPr id="6" name="Picture 5" descr="A picture containing text, electronics, computer, display&#10;&#10;Description automatically generated">
            <a:extLst>
              <a:ext uri="{FF2B5EF4-FFF2-40B4-BE49-F238E27FC236}">
                <a16:creationId xmlns:a16="http://schemas.microsoft.com/office/drawing/2014/main" id="{5F3DBB60-44C0-4843-BD26-C515BA6729B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665357" y="3782662"/>
            <a:ext cx="3412168" cy="1885223"/>
          </a:xfrm>
          <a:prstGeom prst="rect">
            <a:avLst/>
          </a:prstGeom>
        </p:spPr>
      </p:pic>
      <p:pic>
        <p:nvPicPr>
          <p:cNvPr id="9" name="Picture 8">
            <a:extLst>
              <a:ext uri="{FF2B5EF4-FFF2-40B4-BE49-F238E27FC236}">
                <a16:creationId xmlns:a16="http://schemas.microsoft.com/office/drawing/2014/main" id="{EF92DF04-2F8E-4143-B9E7-DB7E0542E115}"/>
              </a:ext>
            </a:extLst>
          </p:cNvPr>
          <p:cNvPicPr>
            <a:picLocks noChangeAspect="1"/>
          </p:cNvPicPr>
          <p:nvPr/>
        </p:nvPicPr>
        <p:blipFill>
          <a:blip r:embed="rId4"/>
          <a:stretch>
            <a:fillRect/>
          </a:stretch>
        </p:blipFill>
        <p:spPr>
          <a:xfrm>
            <a:off x="2159195" y="1091445"/>
            <a:ext cx="4876800" cy="622300"/>
          </a:xfrm>
          <a:prstGeom prst="rect">
            <a:avLst/>
          </a:prstGeom>
        </p:spPr>
      </p:pic>
      <mc:AlternateContent xmlns:mc="http://schemas.openxmlformats.org/markup-compatibility/2006">
        <mc:Choice xmlns:p14="http://schemas.microsoft.com/office/powerpoint/2010/main" Requires="p14">
          <p:contentPart p14:bwMode="auto" r:id="rId5">
            <p14:nvContentPartPr>
              <p14:cNvPr id="2" name="Ink 1">
                <a:extLst>
                  <a:ext uri="{FF2B5EF4-FFF2-40B4-BE49-F238E27FC236}">
                    <a16:creationId xmlns:a16="http://schemas.microsoft.com/office/drawing/2014/main" id="{2D3C9CDD-E4B2-489D-B13B-8B9347B68E4C}"/>
                  </a:ext>
                </a:extLst>
              </p14:cNvPr>
              <p14:cNvContentPartPr/>
              <p14:nvPr/>
            </p14:nvContentPartPr>
            <p14:xfrm>
              <a:off x="133440" y="76320"/>
              <a:ext cx="10541280" cy="6458400"/>
            </p14:xfrm>
          </p:contentPart>
        </mc:Choice>
        <mc:Fallback>
          <p:pic>
            <p:nvPicPr>
              <p:cNvPr id="2" name="Ink 1">
                <a:extLst>
                  <a:ext uri="{FF2B5EF4-FFF2-40B4-BE49-F238E27FC236}">
                    <a16:creationId xmlns:a16="http://schemas.microsoft.com/office/drawing/2014/main" id="{2D3C9CDD-E4B2-489D-B13B-8B9347B68E4C}"/>
                  </a:ext>
                </a:extLst>
              </p:cNvPr>
              <p:cNvPicPr/>
              <p:nvPr/>
            </p:nvPicPr>
            <p:blipFill>
              <a:blip r:embed="rId6"/>
              <a:stretch>
                <a:fillRect/>
              </a:stretch>
            </p:blipFill>
            <p:spPr>
              <a:xfrm>
                <a:off x="124080" y="66960"/>
                <a:ext cx="10560000" cy="6477120"/>
              </a:xfrm>
              <a:prstGeom prst="rect">
                <a:avLst/>
              </a:prstGeom>
            </p:spPr>
          </p:pic>
        </mc:Fallback>
      </mc:AlternateContent>
    </p:spTree>
    <p:extLst>
      <p:ext uri="{BB962C8B-B14F-4D97-AF65-F5344CB8AC3E}">
        <p14:creationId xmlns:p14="http://schemas.microsoft.com/office/powerpoint/2010/main" val="2355739922"/>
      </p:ext>
    </p:extLst>
  </p:cSld>
  <p:clrMapOvr>
    <a:masterClrMapping/>
  </p:clrMapOvr>
  <p:transition spd="med">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2BE7F-23BD-4650-9881-92293F42646A}"/>
              </a:ext>
            </a:extLst>
          </p:cNvPr>
          <p:cNvSpPr>
            <a:spLocks noGrp="1"/>
          </p:cNvSpPr>
          <p:nvPr>
            <p:ph type="title"/>
          </p:nvPr>
        </p:nvSpPr>
        <p:spPr>
          <a:xfrm>
            <a:off x="0" y="0"/>
            <a:ext cx="10607040" cy="853440"/>
          </a:xfrm>
        </p:spPr>
        <p:txBody>
          <a:bodyPr/>
          <a:lstStyle/>
          <a:p>
            <a:r>
              <a:rPr lang="en-US" dirty="0"/>
              <a:t>Harmonic Mean</a:t>
            </a:r>
          </a:p>
        </p:txBody>
      </p:sp>
      <p:sp>
        <p:nvSpPr>
          <p:cNvPr id="4" name="Content Placeholder 3">
            <a:extLst>
              <a:ext uri="{FF2B5EF4-FFF2-40B4-BE49-F238E27FC236}">
                <a16:creationId xmlns:a16="http://schemas.microsoft.com/office/drawing/2014/main" id="{FE64AFE6-BC36-4F1D-ACEC-72EB9E24C942}"/>
              </a:ext>
            </a:extLst>
          </p:cNvPr>
          <p:cNvSpPr>
            <a:spLocks noGrp="1"/>
          </p:cNvSpPr>
          <p:nvPr>
            <p:ph sz="half" idx="1"/>
          </p:nvPr>
        </p:nvSpPr>
        <p:spPr>
          <a:xfrm>
            <a:off x="77248" y="761186"/>
            <a:ext cx="11379509" cy="5335628"/>
          </a:xfrm>
        </p:spPr>
        <p:txBody>
          <a:bodyPr/>
          <a:lstStyle/>
          <a:p>
            <a:r>
              <a:rPr lang="en-US" sz="2400" kern="1200" dirty="0">
                <a:solidFill>
                  <a:schemeClr val="bg2">
                    <a:lumMod val="50000"/>
                    <a:lumOff val="50000"/>
                  </a:schemeClr>
                </a:solidFill>
                <a:latin typeface="Inter"/>
                <a:ea typeface="+mn-ea"/>
              </a:rPr>
              <a:t>The harmonic mean is a type of numerical average. It is calculated by dividing the number of observations by the reciprocal of each number in the series. </a:t>
            </a:r>
          </a:p>
          <a:p>
            <a:r>
              <a:rPr lang="en-US" sz="2400" kern="1200" dirty="0">
                <a:solidFill>
                  <a:schemeClr val="bg2">
                    <a:lumMod val="50000"/>
                    <a:lumOff val="50000"/>
                  </a:schemeClr>
                </a:solidFill>
                <a:latin typeface="Inter"/>
                <a:ea typeface="+mn-ea"/>
              </a:rPr>
              <a:t>The reciprocal of a number n is simply 1 / n.</a:t>
            </a:r>
          </a:p>
          <a:p>
            <a:r>
              <a:rPr lang="en-US" sz="2400" kern="1200" dirty="0">
                <a:solidFill>
                  <a:schemeClr val="bg2">
                    <a:lumMod val="50000"/>
                    <a:lumOff val="50000"/>
                  </a:schemeClr>
                </a:solidFill>
                <a:latin typeface="Inter"/>
                <a:ea typeface="+mn-ea"/>
              </a:rPr>
              <a:t>Ex : the harmonic mean of 2, 4, 6, 8, 50 is </a:t>
            </a:r>
          </a:p>
        </p:txBody>
      </p:sp>
      <mc:AlternateContent xmlns:mc="http://schemas.openxmlformats.org/markup-compatibility/2006">
        <mc:Choice xmlns:p14="http://schemas.microsoft.com/office/powerpoint/2010/main" Requires="p14">
          <p:contentPart p14:bwMode="auto" r:id="rId2">
            <p14:nvContentPartPr>
              <p14:cNvPr id="9" name="Ink 8">
                <a:extLst>
                  <a:ext uri="{FF2B5EF4-FFF2-40B4-BE49-F238E27FC236}">
                    <a16:creationId xmlns:a16="http://schemas.microsoft.com/office/drawing/2014/main" id="{521DD35F-BF5C-4C24-8567-60DAF0F0E899}"/>
                  </a:ext>
                </a:extLst>
              </p14:cNvPr>
              <p14:cNvContentPartPr/>
              <p14:nvPr/>
            </p14:nvContentPartPr>
            <p14:xfrm>
              <a:off x="2102796" y="3843251"/>
              <a:ext cx="480" cy="480"/>
            </p14:xfrm>
          </p:contentPart>
        </mc:Choice>
        <mc:Fallback>
          <p:pic>
            <p:nvPicPr>
              <p:cNvPr id="9" name="Ink 8">
                <a:extLst>
                  <a:ext uri="{FF2B5EF4-FFF2-40B4-BE49-F238E27FC236}">
                    <a16:creationId xmlns:a16="http://schemas.microsoft.com/office/drawing/2014/main" id="{521DD35F-BF5C-4C24-8567-60DAF0F0E899}"/>
                  </a:ext>
                </a:extLst>
              </p:cNvPr>
              <p:cNvPicPr/>
              <p:nvPr/>
            </p:nvPicPr>
            <p:blipFill>
              <a:blip r:embed="rId3"/>
              <a:stretch>
                <a:fillRect/>
              </a:stretch>
            </p:blipFill>
            <p:spPr>
              <a:xfrm>
                <a:off x="2097036" y="3837491"/>
                <a:ext cx="12000" cy="1200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13" name="Ink 12">
                <a:extLst>
                  <a:ext uri="{FF2B5EF4-FFF2-40B4-BE49-F238E27FC236}">
                    <a16:creationId xmlns:a16="http://schemas.microsoft.com/office/drawing/2014/main" id="{C247D014-0380-4712-8703-F5FA9E77D00C}"/>
                  </a:ext>
                </a:extLst>
              </p14:cNvPr>
              <p14:cNvContentPartPr/>
              <p14:nvPr/>
            </p14:nvContentPartPr>
            <p14:xfrm>
              <a:off x="585996" y="3281171"/>
              <a:ext cx="1939200" cy="125280"/>
            </p14:xfrm>
          </p:contentPart>
        </mc:Choice>
        <mc:Fallback>
          <p:pic>
            <p:nvPicPr>
              <p:cNvPr id="13" name="Ink 12">
                <a:extLst>
                  <a:ext uri="{FF2B5EF4-FFF2-40B4-BE49-F238E27FC236}">
                    <a16:creationId xmlns:a16="http://schemas.microsoft.com/office/drawing/2014/main" id="{C247D014-0380-4712-8703-F5FA9E77D00C}"/>
                  </a:ext>
                </a:extLst>
              </p:cNvPr>
              <p:cNvPicPr/>
              <p:nvPr/>
            </p:nvPicPr>
            <p:blipFill>
              <a:blip r:embed="rId5"/>
              <a:stretch>
                <a:fillRect/>
              </a:stretch>
            </p:blipFill>
            <p:spPr>
              <a:xfrm>
                <a:off x="581675" y="3276863"/>
                <a:ext cx="1947841" cy="133895"/>
              </a:xfrm>
              <a:prstGeom prst="rect">
                <a:avLst/>
              </a:prstGeom>
            </p:spPr>
          </p:pic>
        </mc:Fallback>
      </mc:AlternateContent>
      <p:grpSp>
        <p:nvGrpSpPr>
          <p:cNvPr id="31" name="Group 30">
            <a:extLst>
              <a:ext uri="{FF2B5EF4-FFF2-40B4-BE49-F238E27FC236}">
                <a16:creationId xmlns:a16="http://schemas.microsoft.com/office/drawing/2014/main" id="{7F6642C1-E870-4010-B0E9-EF747B2FA80D}"/>
              </a:ext>
            </a:extLst>
          </p:cNvPr>
          <p:cNvGrpSpPr/>
          <p:nvPr/>
        </p:nvGrpSpPr>
        <p:grpSpPr>
          <a:xfrm>
            <a:off x="213516" y="3489491"/>
            <a:ext cx="1666560" cy="529920"/>
            <a:chOff x="160137" y="2617118"/>
            <a:chExt cx="1249920" cy="397440"/>
          </a:xfrm>
        </p:grpSpPr>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ABBCC6A1-7D66-471E-B664-9C36034A1695}"/>
                    </a:ext>
                  </a:extLst>
                </p14:cNvPr>
                <p14:cNvContentPartPr/>
                <p14:nvPr/>
              </p14:nvContentPartPr>
              <p14:xfrm>
                <a:off x="281457" y="2652398"/>
                <a:ext cx="18720" cy="69120"/>
              </p14:xfrm>
            </p:contentPart>
          </mc:Choice>
          <mc:Fallback xmlns="">
            <p:pic>
              <p:nvPicPr>
                <p:cNvPr id="15" name="Ink 14">
                  <a:extLst>
                    <a:ext uri="{FF2B5EF4-FFF2-40B4-BE49-F238E27FC236}">
                      <a16:creationId xmlns:a16="http://schemas.microsoft.com/office/drawing/2014/main" id="{ABBCC6A1-7D66-471E-B664-9C36034A1695}"/>
                    </a:ext>
                  </a:extLst>
                </p:cNvPr>
                <p:cNvPicPr/>
                <p:nvPr/>
              </p:nvPicPr>
              <p:blipFill>
                <a:blip r:embed="rId7"/>
                <a:stretch>
                  <a:fillRect/>
                </a:stretch>
              </p:blipFill>
              <p:spPr>
                <a:xfrm>
                  <a:off x="277137" y="2648078"/>
                  <a:ext cx="27360" cy="777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Ink 15">
                  <a:extLst>
                    <a:ext uri="{FF2B5EF4-FFF2-40B4-BE49-F238E27FC236}">
                      <a16:creationId xmlns:a16="http://schemas.microsoft.com/office/drawing/2014/main" id="{E827FF3F-D218-4768-83C1-269622D7BE6B}"/>
                    </a:ext>
                  </a:extLst>
                </p14:cNvPr>
                <p14:cNvContentPartPr/>
                <p14:nvPr/>
              </p14:nvContentPartPr>
              <p14:xfrm>
                <a:off x="160137" y="2777678"/>
                <a:ext cx="195480" cy="9360"/>
              </p14:xfrm>
            </p:contentPart>
          </mc:Choice>
          <mc:Fallback xmlns="">
            <p:pic>
              <p:nvPicPr>
                <p:cNvPr id="16" name="Ink 15">
                  <a:extLst>
                    <a:ext uri="{FF2B5EF4-FFF2-40B4-BE49-F238E27FC236}">
                      <a16:creationId xmlns:a16="http://schemas.microsoft.com/office/drawing/2014/main" id="{E827FF3F-D218-4768-83C1-269622D7BE6B}"/>
                    </a:ext>
                  </a:extLst>
                </p:cNvPr>
                <p:cNvPicPr/>
                <p:nvPr/>
              </p:nvPicPr>
              <p:blipFill>
                <a:blip r:embed="rId9"/>
                <a:stretch>
                  <a:fillRect/>
                </a:stretch>
              </p:blipFill>
              <p:spPr>
                <a:xfrm>
                  <a:off x="155817" y="2773358"/>
                  <a:ext cx="2041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Ink 16">
                  <a:extLst>
                    <a:ext uri="{FF2B5EF4-FFF2-40B4-BE49-F238E27FC236}">
                      <a16:creationId xmlns:a16="http://schemas.microsoft.com/office/drawing/2014/main" id="{808A8589-F238-4BBB-833C-8E6EB5A163A0}"/>
                    </a:ext>
                  </a:extLst>
                </p14:cNvPr>
                <p14:cNvContentPartPr/>
                <p14:nvPr/>
              </p14:nvContentPartPr>
              <p14:xfrm>
                <a:off x="184977" y="2847158"/>
                <a:ext cx="104760" cy="98280"/>
              </p14:xfrm>
            </p:contentPart>
          </mc:Choice>
          <mc:Fallback xmlns="">
            <p:pic>
              <p:nvPicPr>
                <p:cNvPr id="17" name="Ink 16">
                  <a:extLst>
                    <a:ext uri="{FF2B5EF4-FFF2-40B4-BE49-F238E27FC236}">
                      <a16:creationId xmlns:a16="http://schemas.microsoft.com/office/drawing/2014/main" id="{808A8589-F238-4BBB-833C-8E6EB5A163A0}"/>
                    </a:ext>
                  </a:extLst>
                </p:cNvPr>
                <p:cNvPicPr/>
                <p:nvPr/>
              </p:nvPicPr>
              <p:blipFill>
                <a:blip r:embed="rId11"/>
                <a:stretch>
                  <a:fillRect/>
                </a:stretch>
              </p:blipFill>
              <p:spPr>
                <a:xfrm>
                  <a:off x="180657" y="2842838"/>
                  <a:ext cx="113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Ink 17">
                  <a:extLst>
                    <a:ext uri="{FF2B5EF4-FFF2-40B4-BE49-F238E27FC236}">
                      <a16:creationId xmlns:a16="http://schemas.microsoft.com/office/drawing/2014/main" id="{ADC4EA80-7CFB-4BBE-ABC7-58B9F39C8CE8}"/>
                    </a:ext>
                  </a:extLst>
                </p14:cNvPr>
                <p14:cNvContentPartPr/>
                <p14:nvPr/>
              </p14:nvContentPartPr>
              <p14:xfrm>
                <a:off x="488817" y="2699558"/>
                <a:ext cx="6840" cy="91440"/>
              </p14:xfrm>
            </p:contentPart>
          </mc:Choice>
          <mc:Fallback xmlns="">
            <p:pic>
              <p:nvPicPr>
                <p:cNvPr id="18" name="Ink 17">
                  <a:extLst>
                    <a:ext uri="{FF2B5EF4-FFF2-40B4-BE49-F238E27FC236}">
                      <a16:creationId xmlns:a16="http://schemas.microsoft.com/office/drawing/2014/main" id="{ADC4EA80-7CFB-4BBE-ABC7-58B9F39C8CE8}"/>
                    </a:ext>
                  </a:extLst>
                </p:cNvPr>
                <p:cNvPicPr/>
                <p:nvPr/>
              </p:nvPicPr>
              <p:blipFill>
                <a:blip r:embed="rId13"/>
                <a:stretch>
                  <a:fillRect/>
                </a:stretch>
              </p:blipFill>
              <p:spPr>
                <a:xfrm>
                  <a:off x="484497" y="2695238"/>
                  <a:ext cx="15480" cy="1000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Ink 18">
                  <a:extLst>
                    <a:ext uri="{FF2B5EF4-FFF2-40B4-BE49-F238E27FC236}">
                      <a16:creationId xmlns:a16="http://schemas.microsoft.com/office/drawing/2014/main" id="{A80AF556-75FB-4007-89BC-179550900F1D}"/>
                    </a:ext>
                  </a:extLst>
                </p14:cNvPr>
                <p14:cNvContentPartPr/>
                <p14:nvPr/>
              </p14:nvContentPartPr>
              <p14:xfrm>
                <a:off x="425817" y="2766518"/>
                <a:ext cx="76320" cy="4320"/>
              </p14:xfrm>
            </p:contentPart>
          </mc:Choice>
          <mc:Fallback xmlns="">
            <p:pic>
              <p:nvPicPr>
                <p:cNvPr id="19" name="Ink 18">
                  <a:extLst>
                    <a:ext uri="{FF2B5EF4-FFF2-40B4-BE49-F238E27FC236}">
                      <a16:creationId xmlns:a16="http://schemas.microsoft.com/office/drawing/2014/main" id="{A80AF556-75FB-4007-89BC-179550900F1D}"/>
                    </a:ext>
                  </a:extLst>
                </p:cNvPr>
                <p:cNvPicPr/>
                <p:nvPr/>
              </p:nvPicPr>
              <p:blipFill>
                <a:blip r:embed="rId15"/>
                <a:stretch>
                  <a:fillRect/>
                </a:stretch>
              </p:blipFill>
              <p:spPr>
                <a:xfrm>
                  <a:off x="421497" y="2762198"/>
                  <a:ext cx="84960" cy="129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Ink 19">
                  <a:extLst>
                    <a:ext uri="{FF2B5EF4-FFF2-40B4-BE49-F238E27FC236}">
                      <a16:creationId xmlns:a16="http://schemas.microsoft.com/office/drawing/2014/main" id="{6E0D1770-2FF1-49B0-B884-EB534999F7B1}"/>
                    </a:ext>
                  </a:extLst>
                </p14:cNvPr>
                <p14:cNvContentPartPr/>
                <p14:nvPr/>
              </p14:nvContentPartPr>
              <p14:xfrm>
                <a:off x="677457" y="2637998"/>
                <a:ext cx="15480" cy="139320"/>
              </p14:xfrm>
            </p:contentPart>
          </mc:Choice>
          <mc:Fallback xmlns="">
            <p:pic>
              <p:nvPicPr>
                <p:cNvPr id="20" name="Ink 19">
                  <a:extLst>
                    <a:ext uri="{FF2B5EF4-FFF2-40B4-BE49-F238E27FC236}">
                      <a16:creationId xmlns:a16="http://schemas.microsoft.com/office/drawing/2014/main" id="{6E0D1770-2FF1-49B0-B884-EB534999F7B1}"/>
                    </a:ext>
                  </a:extLst>
                </p:cNvPr>
                <p:cNvPicPr/>
                <p:nvPr/>
              </p:nvPicPr>
              <p:blipFill>
                <a:blip r:embed="rId17"/>
                <a:stretch>
                  <a:fillRect/>
                </a:stretch>
              </p:blipFill>
              <p:spPr>
                <a:xfrm>
                  <a:off x="673137" y="2633678"/>
                  <a:ext cx="2412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1" name="Ink 20">
                  <a:extLst>
                    <a:ext uri="{FF2B5EF4-FFF2-40B4-BE49-F238E27FC236}">
                      <a16:creationId xmlns:a16="http://schemas.microsoft.com/office/drawing/2014/main" id="{701DEE8B-F426-46BC-A8D6-2F140690654E}"/>
                    </a:ext>
                  </a:extLst>
                </p14:cNvPr>
                <p14:cNvContentPartPr/>
                <p14:nvPr/>
              </p14:nvContentPartPr>
              <p14:xfrm>
                <a:off x="586017" y="2798558"/>
                <a:ext cx="279720" cy="14400"/>
              </p14:xfrm>
            </p:contentPart>
          </mc:Choice>
          <mc:Fallback xmlns="">
            <p:pic>
              <p:nvPicPr>
                <p:cNvPr id="21" name="Ink 20">
                  <a:extLst>
                    <a:ext uri="{FF2B5EF4-FFF2-40B4-BE49-F238E27FC236}">
                      <a16:creationId xmlns:a16="http://schemas.microsoft.com/office/drawing/2014/main" id="{701DEE8B-F426-46BC-A8D6-2F140690654E}"/>
                    </a:ext>
                  </a:extLst>
                </p:cNvPr>
                <p:cNvPicPr/>
                <p:nvPr/>
              </p:nvPicPr>
              <p:blipFill>
                <a:blip r:embed="rId19"/>
                <a:stretch>
                  <a:fillRect/>
                </a:stretch>
              </p:blipFill>
              <p:spPr>
                <a:xfrm>
                  <a:off x="581697" y="2794238"/>
                  <a:ext cx="28836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2" name="Ink 21">
                  <a:extLst>
                    <a:ext uri="{FF2B5EF4-FFF2-40B4-BE49-F238E27FC236}">
                      <a16:creationId xmlns:a16="http://schemas.microsoft.com/office/drawing/2014/main" id="{FAE1AE06-5FE8-4148-8B52-F004B4A5D083}"/>
                    </a:ext>
                  </a:extLst>
                </p14:cNvPr>
                <p14:cNvContentPartPr/>
                <p14:nvPr/>
              </p14:nvContentPartPr>
              <p14:xfrm>
                <a:off x="645417" y="2882438"/>
                <a:ext cx="142920" cy="64080"/>
              </p14:xfrm>
            </p:contentPart>
          </mc:Choice>
          <mc:Fallback xmlns="">
            <p:pic>
              <p:nvPicPr>
                <p:cNvPr id="22" name="Ink 21">
                  <a:extLst>
                    <a:ext uri="{FF2B5EF4-FFF2-40B4-BE49-F238E27FC236}">
                      <a16:creationId xmlns:a16="http://schemas.microsoft.com/office/drawing/2014/main" id="{FAE1AE06-5FE8-4148-8B52-F004B4A5D083}"/>
                    </a:ext>
                  </a:extLst>
                </p:cNvPr>
                <p:cNvPicPr/>
                <p:nvPr/>
              </p:nvPicPr>
              <p:blipFill>
                <a:blip r:embed="rId21"/>
                <a:stretch>
                  <a:fillRect/>
                </a:stretch>
              </p:blipFill>
              <p:spPr>
                <a:xfrm>
                  <a:off x="641097" y="2878118"/>
                  <a:ext cx="15156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3" name="Ink 22">
                  <a:extLst>
                    <a:ext uri="{FF2B5EF4-FFF2-40B4-BE49-F238E27FC236}">
                      <a16:creationId xmlns:a16="http://schemas.microsoft.com/office/drawing/2014/main" id="{EB4BAC1B-4F7A-4D56-A8AE-52BAA53BED62}"/>
                    </a:ext>
                  </a:extLst>
                </p14:cNvPr>
                <p14:cNvContentPartPr/>
                <p14:nvPr/>
              </p14:nvContentPartPr>
              <p14:xfrm>
                <a:off x="660177" y="2889278"/>
                <a:ext cx="37800" cy="125280"/>
              </p14:xfrm>
            </p:contentPart>
          </mc:Choice>
          <mc:Fallback xmlns="">
            <p:pic>
              <p:nvPicPr>
                <p:cNvPr id="23" name="Ink 22">
                  <a:extLst>
                    <a:ext uri="{FF2B5EF4-FFF2-40B4-BE49-F238E27FC236}">
                      <a16:creationId xmlns:a16="http://schemas.microsoft.com/office/drawing/2014/main" id="{EB4BAC1B-4F7A-4D56-A8AE-52BAA53BED62}"/>
                    </a:ext>
                  </a:extLst>
                </p:cNvPr>
                <p:cNvPicPr/>
                <p:nvPr/>
              </p:nvPicPr>
              <p:blipFill>
                <a:blip r:embed="rId23"/>
                <a:stretch>
                  <a:fillRect/>
                </a:stretch>
              </p:blipFill>
              <p:spPr>
                <a:xfrm>
                  <a:off x="655857" y="2884958"/>
                  <a:ext cx="46440" cy="1339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6" name="Ink 25">
                  <a:extLst>
                    <a:ext uri="{FF2B5EF4-FFF2-40B4-BE49-F238E27FC236}">
                      <a16:creationId xmlns:a16="http://schemas.microsoft.com/office/drawing/2014/main" id="{B66B6A31-3D97-4A0C-A2EB-9697A5137218}"/>
                    </a:ext>
                  </a:extLst>
                </p14:cNvPr>
                <p14:cNvContentPartPr/>
                <p14:nvPr/>
              </p14:nvContentPartPr>
              <p14:xfrm>
                <a:off x="970497" y="2714678"/>
                <a:ext cx="6840" cy="76680"/>
              </p14:xfrm>
            </p:contentPart>
          </mc:Choice>
          <mc:Fallback xmlns="">
            <p:pic>
              <p:nvPicPr>
                <p:cNvPr id="26" name="Ink 25">
                  <a:extLst>
                    <a:ext uri="{FF2B5EF4-FFF2-40B4-BE49-F238E27FC236}">
                      <a16:creationId xmlns:a16="http://schemas.microsoft.com/office/drawing/2014/main" id="{B66B6A31-3D97-4A0C-A2EB-9697A5137218}"/>
                    </a:ext>
                  </a:extLst>
                </p:cNvPr>
                <p:cNvPicPr/>
                <p:nvPr/>
              </p:nvPicPr>
              <p:blipFill>
                <a:blip r:embed="rId25"/>
                <a:stretch>
                  <a:fillRect/>
                </a:stretch>
              </p:blipFill>
              <p:spPr>
                <a:xfrm>
                  <a:off x="966177" y="2710358"/>
                  <a:ext cx="15480" cy="8532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7" name="Ink 26">
                  <a:extLst>
                    <a:ext uri="{FF2B5EF4-FFF2-40B4-BE49-F238E27FC236}">
                      <a16:creationId xmlns:a16="http://schemas.microsoft.com/office/drawing/2014/main" id="{19ED34EB-BF86-44FD-BC89-488EA6E66ABF}"/>
                    </a:ext>
                  </a:extLst>
                </p14:cNvPr>
                <p14:cNvContentPartPr/>
                <p14:nvPr/>
              </p14:nvContentPartPr>
              <p14:xfrm>
                <a:off x="948897" y="2749598"/>
                <a:ext cx="40680" cy="7560"/>
              </p14:xfrm>
            </p:contentPart>
          </mc:Choice>
          <mc:Fallback xmlns="">
            <p:pic>
              <p:nvPicPr>
                <p:cNvPr id="27" name="Ink 26">
                  <a:extLst>
                    <a:ext uri="{FF2B5EF4-FFF2-40B4-BE49-F238E27FC236}">
                      <a16:creationId xmlns:a16="http://schemas.microsoft.com/office/drawing/2014/main" id="{19ED34EB-BF86-44FD-BC89-488EA6E66ABF}"/>
                    </a:ext>
                  </a:extLst>
                </p:cNvPr>
                <p:cNvPicPr/>
                <p:nvPr/>
              </p:nvPicPr>
              <p:blipFill>
                <a:blip r:embed="rId27"/>
                <a:stretch>
                  <a:fillRect/>
                </a:stretch>
              </p:blipFill>
              <p:spPr>
                <a:xfrm>
                  <a:off x="944577" y="2745278"/>
                  <a:ext cx="49320" cy="162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29" name="Ink 28">
                  <a:extLst>
                    <a:ext uri="{FF2B5EF4-FFF2-40B4-BE49-F238E27FC236}">
                      <a16:creationId xmlns:a16="http://schemas.microsoft.com/office/drawing/2014/main" id="{958D456E-D080-40F6-AAF6-58B13AC96704}"/>
                    </a:ext>
                  </a:extLst>
                </p14:cNvPr>
                <p14:cNvContentPartPr/>
                <p14:nvPr/>
              </p14:nvContentPartPr>
              <p14:xfrm>
                <a:off x="1243377" y="2617118"/>
                <a:ext cx="20160" cy="83160"/>
              </p14:xfrm>
            </p:contentPart>
          </mc:Choice>
          <mc:Fallback xmlns="">
            <p:pic>
              <p:nvPicPr>
                <p:cNvPr id="29" name="Ink 28">
                  <a:extLst>
                    <a:ext uri="{FF2B5EF4-FFF2-40B4-BE49-F238E27FC236}">
                      <a16:creationId xmlns:a16="http://schemas.microsoft.com/office/drawing/2014/main" id="{958D456E-D080-40F6-AAF6-58B13AC96704}"/>
                    </a:ext>
                  </a:extLst>
                </p:cNvPr>
                <p:cNvPicPr/>
                <p:nvPr/>
              </p:nvPicPr>
              <p:blipFill>
                <a:blip r:embed="rId29"/>
                <a:stretch>
                  <a:fillRect/>
                </a:stretch>
              </p:blipFill>
              <p:spPr>
                <a:xfrm>
                  <a:off x="1239057" y="2612798"/>
                  <a:ext cx="2880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0" name="Ink 29">
                  <a:extLst>
                    <a:ext uri="{FF2B5EF4-FFF2-40B4-BE49-F238E27FC236}">
                      <a16:creationId xmlns:a16="http://schemas.microsoft.com/office/drawing/2014/main" id="{7F3C5EC0-6AAC-4326-8F00-D53A917C07D7}"/>
                    </a:ext>
                  </a:extLst>
                </p14:cNvPr>
                <p14:cNvContentPartPr/>
                <p14:nvPr/>
              </p14:nvContentPartPr>
              <p14:xfrm>
                <a:off x="1130337" y="2748518"/>
                <a:ext cx="279720" cy="8640"/>
              </p14:xfrm>
            </p:contentPart>
          </mc:Choice>
          <mc:Fallback xmlns="">
            <p:pic>
              <p:nvPicPr>
                <p:cNvPr id="30" name="Ink 29">
                  <a:extLst>
                    <a:ext uri="{FF2B5EF4-FFF2-40B4-BE49-F238E27FC236}">
                      <a16:creationId xmlns:a16="http://schemas.microsoft.com/office/drawing/2014/main" id="{7F3C5EC0-6AAC-4326-8F00-D53A917C07D7}"/>
                    </a:ext>
                  </a:extLst>
                </p:cNvPr>
                <p:cNvPicPr/>
                <p:nvPr/>
              </p:nvPicPr>
              <p:blipFill>
                <a:blip r:embed="rId31"/>
                <a:stretch>
                  <a:fillRect/>
                </a:stretch>
              </p:blipFill>
              <p:spPr>
                <a:xfrm>
                  <a:off x="1126017" y="2744198"/>
                  <a:ext cx="288360" cy="172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32">
            <p14:nvContentPartPr>
              <p14:cNvPr id="51" name="Ink 50">
                <a:extLst>
                  <a:ext uri="{FF2B5EF4-FFF2-40B4-BE49-F238E27FC236}">
                    <a16:creationId xmlns:a16="http://schemas.microsoft.com/office/drawing/2014/main" id="{147E4D44-176A-4371-91BB-08E459C0414E}"/>
                  </a:ext>
                </a:extLst>
              </p14:cNvPr>
              <p14:cNvContentPartPr/>
              <p14:nvPr/>
            </p14:nvContentPartPr>
            <p14:xfrm>
              <a:off x="1574316" y="3826451"/>
              <a:ext cx="102720" cy="156480"/>
            </p14:xfrm>
          </p:contentPart>
        </mc:Choice>
        <mc:Fallback>
          <p:pic>
            <p:nvPicPr>
              <p:cNvPr id="51" name="Ink 50">
                <a:extLst>
                  <a:ext uri="{FF2B5EF4-FFF2-40B4-BE49-F238E27FC236}">
                    <a16:creationId xmlns:a16="http://schemas.microsoft.com/office/drawing/2014/main" id="{147E4D44-176A-4371-91BB-08E459C0414E}"/>
                  </a:ext>
                </a:extLst>
              </p:cNvPr>
              <p:cNvPicPr/>
              <p:nvPr/>
            </p:nvPicPr>
            <p:blipFill>
              <a:blip r:embed="rId33"/>
              <a:stretch>
                <a:fillRect/>
              </a:stretch>
            </p:blipFill>
            <p:spPr>
              <a:xfrm>
                <a:off x="1569991" y="3822114"/>
                <a:ext cx="111370" cy="165153"/>
              </a:xfrm>
              <a:prstGeom prst="rect">
                <a:avLst/>
              </a:prstGeom>
            </p:spPr>
          </p:pic>
        </mc:Fallback>
      </mc:AlternateContent>
      <p:grpSp>
        <p:nvGrpSpPr>
          <p:cNvPr id="60" name="Group 59">
            <a:extLst>
              <a:ext uri="{FF2B5EF4-FFF2-40B4-BE49-F238E27FC236}">
                <a16:creationId xmlns:a16="http://schemas.microsoft.com/office/drawing/2014/main" id="{5500A8B3-627B-44F8-A466-699BAAE65DAB}"/>
              </a:ext>
            </a:extLst>
          </p:cNvPr>
          <p:cNvGrpSpPr/>
          <p:nvPr/>
        </p:nvGrpSpPr>
        <p:grpSpPr>
          <a:xfrm>
            <a:off x="1982316" y="3452531"/>
            <a:ext cx="660960" cy="447840"/>
            <a:chOff x="1486737" y="2589398"/>
            <a:chExt cx="495720" cy="335880"/>
          </a:xfrm>
        </p:grpSpPr>
        <mc:AlternateContent xmlns:mc="http://schemas.openxmlformats.org/markup-compatibility/2006" xmlns:p14="http://schemas.microsoft.com/office/powerpoint/2010/main">
          <mc:Choice Requires="p14">
            <p:contentPart p14:bwMode="auto" r:id="rId34">
              <p14:nvContentPartPr>
                <p14:cNvPr id="52" name="Ink 51">
                  <a:extLst>
                    <a:ext uri="{FF2B5EF4-FFF2-40B4-BE49-F238E27FC236}">
                      <a16:creationId xmlns:a16="http://schemas.microsoft.com/office/drawing/2014/main" id="{8FA09571-9A51-4CE5-873F-9A52DAFC1104}"/>
                    </a:ext>
                  </a:extLst>
                </p14:cNvPr>
                <p14:cNvContentPartPr/>
                <p14:nvPr/>
              </p14:nvContentPartPr>
              <p14:xfrm>
                <a:off x="1567017" y="2678678"/>
                <a:ext cx="3240" cy="86040"/>
              </p14:xfrm>
            </p:contentPart>
          </mc:Choice>
          <mc:Fallback xmlns="">
            <p:pic>
              <p:nvPicPr>
                <p:cNvPr id="52" name="Ink 51">
                  <a:extLst>
                    <a:ext uri="{FF2B5EF4-FFF2-40B4-BE49-F238E27FC236}">
                      <a16:creationId xmlns:a16="http://schemas.microsoft.com/office/drawing/2014/main" id="{8FA09571-9A51-4CE5-873F-9A52DAFC1104}"/>
                    </a:ext>
                  </a:extLst>
                </p:cNvPr>
                <p:cNvPicPr/>
                <p:nvPr/>
              </p:nvPicPr>
              <p:blipFill>
                <a:blip r:embed="rId35"/>
                <a:stretch>
                  <a:fillRect/>
                </a:stretch>
              </p:blipFill>
              <p:spPr>
                <a:xfrm>
                  <a:off x="1562697" y="2674358"/>
                  <a:ext cx="11880" cy="946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53" name="Ink 52">
                  <a:extLst>
                    <a:ext uri="{FF2B5EF4-FFF2-40B4-BE49-F238E27FC236}">
                      <a16:creationId xmlns:a16="http://schemas.microsoft.com/office/drawing/2014/main" id="{1A8E33E0-5E67-451F-AF01-FFF4767A37F0}"/>
                    </a:ext>
                  </a:extLst>
                </p14:cNvPr>
                <p14:cNvContentPartPr/>
                <p14:nvPr/>
              </p14:nvContentPartPr>
              <p14:xfrm>
                <a:off x="1486737" y="2714678"/>
                <a:ext cx="123840" cy="360"/>
              </p14:xfrm>
            </p:contentPart>
          </mc:Choice>
          <mc:Fallback xmlns="">
            <p:pic>
              <p:nvPicPr>
                <p:cNvPr id="53" name="Ink 52">
                  <a:extLst>
                    <a:ext uri="{FF2B5EF4-FFF2-40B4-BE49-F238E27FC236}">
                      <a16:creationId xmlns:a16="http://schemas.microsoft.com/office/drawing/2014/main" id="{1A8E33E0-5E67-451F-AF01-FFF4767A37F0}"/>
                    </a:ext>
                  </a:extLst>
                </p:cNvPr>
                <p:cNvPicPr/>
                <p:nvPr/>
              </p:nvPicPr>
              <p:blipFill>
                <a:blip r:embed="rId37"/>
                <a:stretch>
                  <a:fillRect/>
                </a:stretch>
              </p:blipFill>
              <p:spPr>
                <a:xfrm>
                  <a:off x="1482417" y="2710358"/>
                  <a:ext cx="132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55" name="Ink 54">
                  <a:extLst>
                    <a:ext uri="{FF2B5EF4-FFF2-40B4-BE49-F238E27FC236}">
                      <a16:creationId xmlns:a16="http://schemas.microsoft.com/office/drawing/2014/main" id="{7977434D-220A-4EFB-BC3F-55598BA839DF}"/>
                    </a:ext>
                  </a:extLst>
                </p14:cNvPr>
                <p14:cNvContentPartPr/>
                <p14:nvPr/>
              </p14:nvContentPartPr>
              <p14:xfrm>
                <a:off x="1814697" y="2589398"/>
                <a:ext cx="21240" cy="118080"/>
              </p14:xfrm>
            </p:contentPart>
          </mc:Choice>
          <mc:Fallback xmlns="">
            <p:pic>
              <p:nvPicPr>
                <p:cNvPr id="55" name="Ink 54">
                  <a:extLst>
                    <a:ext uri="{FF2B5EF4-FFF2-40B4-BE49-F238E27FC236}">
                      <a16:creationId xmlns:a16="http://schemas.microsoft.com/office/drawing/2014/main" id="{7977434D-220A-4EFB-BC3F-55598BA839DF}"/>
                    </a:ext>
                  </a:extLst>
                </p:cNvPr>
                <p:cNvPicPr/>
                <p:nvPr/>
              </p:nvPicPr>
              <p:blipFill>
                <a:blip r:embed="rId39"/>
                <a:stretch>
                  <a:fillRect/>
                </a:stretch>
              </p:blipFill>
              <p:spPr>
                <a:xfrm>
                  <a:off x="1810377" y="2585078"/>
                  <a:ext cx="29880" cy="12672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6" name="Ink 55">
                  <a:extLst>
                    <a:ext uri="{FF2B5EF4-FFF2-40B4-BE49-F238E27FC236}">
                      <a16:creationId xmlns:a16="http://schemas.microsoft.com/office/drawing/2014/main" id="{34C9B2D5-82D6-4C61-AA2F-9DB4139C99F2}"/>
                    </a:ext>
                  </a:extLst>
                </p14:cNvPr>
                <p14:cNvContentPartPr/>
                <p14:nvPr/>
              </p14:nvContentPartPr>
              <p14:xfrm>
                <a:off x="1723617" y="2721878"/>
                <a:ext cx="258840" cy="28080"/>
              </p14:xfrm>
            </p:contentPart>
          </mc:Choice>
          <mc:Fallback xmlns="">
            <p:pic>
              <p:nvPicPr>
                <p:cNvPr id="56" name="Ink 55">
                  <a:extLst>
                    <a:ext uri="{FF2B5EF4-FFF2-40B4-BE49-F238E27FC236}">
                      <a16:creationId xmlns:a16="http://schemas.microsoft.com/office/drawing/2014/main" id="{34C9B2D5-82D6-4C61-AA2F-9DB4139C99F2}"/>
                    </a:ext>
                  </a:extLst>
                </p:cNvPr>
                <p:cNvPicPr/>
                <p:nvPr/>
              </p:nvPicPr>
              <p:blipFill>
                <a:blip r:embed="rId41"/>
                <a:stretch>
                  <a:fillRect/>
                </a:stretch>
              </p:blipFill>
              <p:spPr>
                <a:xfrm>
                  <a:off x="1719297" y="2717558"/>
                  <a:ext cx="267480" cy="367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8" name="Ink 57">
                  <a:extLst>
                    <a:ext uri="{FF2B5EF4-FFF2-40B4-BE49-F238E27FC236}">
                      <a16:creationId xmlns:a16="http://schemas.microsoft.com/office/drawing/2014/main" id="{CA821B2D-06F0-48D0-83A3-75445FC3F964}"/>
                    </a:ext>
                  </a:extLst>
                </p14:cNvPr>
                <p14:cNvContentPartPr/>
                <p14:nvPr/>
              </p14:nvContentPartPr>
              <p14:xfrm>
                <a:off x="1706697" y="2828078"/>
                <a:ext cx="117360" cy="97200"/>
              </p14:xfrm>
            </p:contentPart>
          </mc:Choice>
          <mc:Fallback xmlns="">
            <p:pic>
              <p:nvPicPr>
                <p:cNvPr id="58" name="Ink 57">
                  <a:extLst>
                    <a:ext uri="{FF2B5EF4-FFF2-40B4-BE49-F238E27FC236}">
                      <a16:creationId xmlns:a16="http://schemas.microsoft.com/office/drawing/2014/main" id="{CA821B2D-06F0-48D0-83A3-75445FC3F964}"/>
                    </a:ext>
                  </a:extLst>
                </p:cNvPr>
                <p:cNvPicPr/>
                <p:nvPr/>
              </p:nvPicPr>
              <p:blipFill>
                <a:blip r:embed="rId43"/>
                <a:stretch>
                  <a:fillRect/>
                </a:stretch>
              </p:blipFill>
              <p:spPr>
                <a:xfrm>
                  <a:off x="1702377" y="2823758"/>
                  <a:ext cx="126000" cy="10584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9" name="Ink 58">
                  <a:extLst>
                    <a:ext uri="{FF2B5EF4-FFF2-40B4-BE49-F238E27FC236}">
                      <a16:creationId xmlns:a16="http://schemas.microsoft.com/office/drawing/2014/main" id="{47C56DC8-4860-43BE-9987-8909F6894683}"/>
                    </a:ext>
                  </a:extLst>
                </p14:cNvPr>
                <p14:cNvContentPartPr/>
                <p14:nvPr/>
              </p14:nvContentPartPr>
              <p14:xfrm>
                <a:off x="1891377" y="2841398"/>
                <a:ext cx="71280" cy="77040"/>
              </p14:xfrm>
            </p:contentPart>
          </mc:Choice>
          <mc:Fallback xmlns="">
            <p:pic>
              <p:nvPicPr>
                <p:cNvPr id="59" name="Ink 58">
                  <a:extLst>
                    <a:ext uri="{FF2B5EF4-FFF2-40B4-BE49-F238E27FC236}">
                      <a16:creationId xmlns:a16="http://schemas.microsoft.com/office/drawing/2014/main" id="{47C56DC8-4860-43BE-9987-8909F6894683}"/>
                    </a:ext>
                  </a:extLst>
                </p:cNvPr>
                <p:cNvPicPr/>
                <p:nvPr/>
              </p:nvPicPr>
              <p:blipFill>
                <a:blip r:embed="rId45"/>
                <a:stretch>
                  <a:fillRect/>
                </a:stretch>
              </p:blipFill>
              <p:spPr>
                <a:xfrm>
                  <a:off x="1887057" y="2837078"/>
                  <a:ext cx="79920" cy="85680"/>
                </a:xfrm>
                <a:prstGeom prst="rect">
                  <a:avLst/>
                </a:prstGeom>
              </p:spPr>
            </p:pic>
          </mc:Fallback>
        </mc:AlternateContent>
      </p:grpSp>
      <p:grpSp>
        <p:nvGrpSpPr>
          <p:cNvPr id="65" name="Group 64">
            <a:extLst>
              <a:ext uri="{FF2B5EF4-FFF2-40B4-BE49-F238E27FC236}">
                <a16:creationId xmlns:a16="http://schemas.microsoft.com/office/drawing/2014/main" id="{B21D57C7-8482-4DD6-AF96-719B98630E9F}"/>
              </a:ext>
            </a:extLst>
          </p:cNvPr>
          <p:cNvGrpSpPr/>
          <p:nvPr/>
        </p:nvGrpSpPr>
        <p:grpSpPr>
          <a:xfrm>
            <a:off x="1471596" y="3015251"/>
            <a:ext cx="208800" cy="176640"/>
            <a:chOff x="1103697" y="2261438"/>
            <a:chExt cx="156600" cy="132480"/>
          </a:xfrm>
        </p:grpSpPr>
        <mc:AlternateContent xmlns:mc="http://schemas.openxmlformats.org/markup-compatibility/2006" xmlns:p14="http://schemas.microsoft.com/office/powerpoint/2010/main">
          <mc:Choice Requires="p14">
            <p:contentPart p14:bwMode="auto" r:id="rId46">
              <p14:nvContentPartPr>
                <p14:cNvPr id="61" name="Ink 60">
                  <a:extLst>
                    <a:ext uri="{FF2B5EF4-FFF2-40B4-BE49-F238E27FC236}">
                      <a16:creationId xmlns:a16="http://schemas.microsoft.com/office/drawing/2014/main" id="{480E3E99-EF3A-4C88-93F3-6D77EB41F963}"/>
                    </a:ext>
                  </a:extLst>
                </p14:cNvPr>
                <p14:cNvContentPartPr/>
                <p14:nvPr/>
              </p14:nvContentPartPr>
              <p14:xfrm>
                <a:off x="1103697" y="2261438"/>
                <a:ext cx="156600" cy="92520"/>
              </p14:xfrm>
            </p:contentPart>
          </mc:Choice>
          <mc:Fallback xmlns="">
            <p:pic>
              <p:nvPicPr>
                <p:cNvPr id="61" name="Ink 60">
                  <a:extLst>
                    <a:ext uri="{FF2B5EF4-FFF2-40B4-BE49-F238E27FC236}">
                      <a16:creationId xmlns:a16="http://schemas.microsoft.com/office/drawing/2014/main" id="{480E3E99-EF3A-4C88-93F3-6D77EB41F963}"/>
                    </a:ext>
                  </a:extLst>
                </p:cNvPr>
                <p:cNvPicPr/>
                <p:nvPr/>
              </p:nvPicPr>
              <p:blipFill>
                <a:blip r:embed="rId47"/>
                <a:stretch>
                  <a:fillRect/>
                </a:stretch>
              </p:blipFill>
              <p:spPr>
                <a:xfrm>
                  <a:off x="1099377" y="2257118"/>
                  <a:ext cx="165240" cy="10116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62" name="Ink 61">
                  <a:extLst>
                    <a:ext uri="{FF2B5EF4-FFF2-40B4-BE49-F238E27FC236}">
                      <a16:creationId xmlns:a16="http://schemas.microsoft.com/office/drawing/2014/main" id="{87064BBA-9E69-46B3-A4EE-110E2D5BCC62}"/>
                    </a:ext>
                  </a:extLst>
                </p14:cNvPr>
                <p14:cNvContentPartPr/>
                <p14:nvPr/>
              </p14:nvContentPartPr>
              <p14:xfrm>
                <a:off x="1160937" y="2261438"/>
                <a:ext cx="11880" cy="100080"/>
              </p14:xfrm>
            </p:contentPart>
          </mc:Choice>
          <mc:Fallback xmlns="">
            <p:pic>
              <p:nvPicPr>
                <p:cNvPr id="62" name="Ink 61">
                  <a:extLst>
                    <a:ext uri="{FF2B5EF4-FFF2-40B4-BE49-F238E27FC236}">
                      <a16:creationId xmlns:a16="http://schemas.microsoft.com/office/drawing/2014/main" id="{87064BBA-9E69-46B3-A4EE-110E2D5BCC62}"/>
                    </a:ext>
                  </a:extLst>
                </p:cNvPr>
                <p:cNvPicPr/>
                <p:nvPr/>
              </p:nvPicPr>
              <p:blipFill>
                <a:blip r:embed="rId49"/>
                <a:stretch>
                  <a:fillRect/>
                </a:stretch>
              </p:blipFill>
              <p:spPr>
                <a:xfrm>
                  <a:off x="1156617" y="2257118"/>
                  <a:ext cx="205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64" name="Ink 63">
                  <a:extLst>
                    <a:ext uri="{FF2B5EF4-FFF2-40B4-BE49-F238E27FC236}">
                      <a16:creationId xmlns:a16="http://schemas.microsoft.com/office/drawing/2014/main" id="{043A83EE-DB33-4020-B958-C79356266DCB}"/>
                    </a:ext>
                  </a:extLst>
                </p14:cNvPr>
                <p14:cNvContentPartPr/>
                <p14:nvPr/>
              </p14:nvContentPartPr>
              <p14:xfrm>
                <a:off x="1165257" y="2344958"/>
                <a:ext cx="6120" cy="48960"/>
              </p14:xfrm>
            </p:contentPart>
          </mc:Choice>
          <mc:Fallback xmlns="">
            <p:pic>
              <p:nvPicPr>
                <p:cNvPr id="64" name="Ink 63">
                  <a:extLst>
                    <a:ext uri="{FF2B5EF4-FFF2-40B4-BE49-F238E27FC236}">
                      <a16:creationId xmlns:a16="http://schemas.microsoft.com/office/drawing/2014/main" id="{043A83EE-DB33-4020-B958-C79356266DCB}"/>
                    </a:ext>
                  </a:extLst>
                </p:cNvPr>
                <p:cNvPicPr/>
                <p:nvPr/>
              </p:nvPicPr>
              <p:blipFill>
                <a:blip r:embed="rId51"/>
                <a:stretch>
                  <a:fillRect/>
                </a:stretch>
              </p:blipFill>
              <p:spPr>
                <a:xfrm>
                  <a:off x="1160937" y="2340638"/>
                  <a:ext cx="14760" cy="57600"/>
                </a:xfrm>
                <a:prstGeom prst="rect">
                  <a:avLst/>
                </a:prstGeom>
              </p:spPr>
            </p:pic>
          </mc:Fallback>
        </mc:AlternateContent>
      </p:grpSp>
      <p:grpSp>
        <p:nvGrpSpPr>
          <p:cNvPr id="69" name="Group 68">
            <a:extLst>
              <a:ext uri="{FF2B5EF4-FFF2-40B4-BE49-F238E27FC236}">
                <a16:creationId xmlns:a16="http://schemas.microsoft.com/office/drawing/2014/main" id="{1EB69986-8F72-4419-98F3-B23336B89302}"/>
              </a:ext>
            </a:extLst>
          </p:cNvPr>
          <p:cNvGrpSpPr/>
          <p:nvPr/>
        </p:nvGrpSpPr>
        <p:grpSpPr>
          <a:xfrm>
            <a:off x="3098796" y="3228851"/>
            <a:ext cx="123360" cy="93600"/>
            <a:chOff x="2324097" y="2421638"/>
            <a:chExt cx="92520" cy="70200"/>
          </a:xfrm>
        </p:grpSpPr>
        <mc:AlternateContent xmlns:mc="http://schemas.openxmlformats.org/markup-compatibility/2006" xmlns:p14="http://schemas.microsoft.com/office/powerpoint/2010/main">
          <mc:Choice Requires="p14">
            <p:contentPart p14:bwMode="auto" r:id="rId52">
              <p14:nvContentPartPr>
                <p14:cNvPr id="66" name="Ink 65">
                  <a:extLst>
                    <a:ext uri="{FF2B5EF4-FFF2-40B4-BE49-F238E27FC236}">
                      <a16:creationId xmlns:a16="http://schemas.microsoft.com/office/drawing/2014/main" id="{6CE74AAD-E46E-48EC-979F-BE10F983C6F4}"/>
                    </a:ext>
                  </a:extLst>
                </p14:cNvPr>
                <p14:cNvContentPartPr/>
                <p14:nvPr/>
              </p14:nvContentPartPr>
              <p14:xfrm>
                <a:off x="2400777" y="2421638"/>
                <a:ext cx="15840" cy="360"/>
              </p14:xfrm>
            </p:contentPart>
          </mc:Choice>
          <mc:Fallback xmlns="">
            <p:pic>
              <p:nvPicPr>
                <p:cNvPr id="66" name="Ink 65">
                  <a:extLst>
                    <a:ext uri="{FF2B5EF4-FFF2-40B4-BE49-F238E27FC236}">
                      <a16:creationId xmlns:a16="http://schemas.microsoft.com/office/drawing/2014/main" id="{6CE74AAD-E46E-48EC-979F-BE10F983C6F4}"/>
                    </a:ext>
                  </a:extLst>
                </p:cNvPr>
                <p:cNvPicPr/>
                <p:nvPr/>
              </p:nvPicPr>
              <p:blipFill>
                <a:blip r:embed="rId53"/>
                <a:stretch>
                  <a:fillRect/>
                </a:stretch>
              </p:blipFill>
              <p:spPr>
                <a:xfrm>
                  <a:off x="2396457" y="2417318"/>
                  <a:ext cx="24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7" name="Ink 66">
                  <a:extLst>
                    <a:ext uri="{FF2B5EF4-FFF2-40B4-BE49-F238E27FC236}">
                      <a16:creationId xmlns:a16="http://schemas.microsoft.com/office/drawing/2014/main" id="{1EA26F19-E686-436D-A93F-0CC403F15E5F}"/>
                    </a:ext>
                  </a:extLst>
                </p14:cNvPr>
                <p14:cNvContentPartPr/>
                <p14:nvPr/>
              </p14:nvContentPartPr>
              <p14:xfrm>
                <a:off x="2324097" y="2491478"/>
                <a:ext cx="76680" cy="360"/>
              </p14:xfrm>
            </p:contentPart>
          </mc:Choice>
          <mc:Fallback xmlns="">
            <p:pic>
              <p:nvPicPr>
                <p:cNvPr id="67" name="Ink 66">
                  <a:extLst>
                    <a:ext uri="{FF2B5EF4-FFF2-40B4-BE49-F238E27FC236}">
                      <a16:creationId xmlns:a16="http://schemas.microsoft.com/office/drawing/2014/main" id="{1EA26F19-E686-436D-A93F-0CC403F15E5F}"/>
                    </a:ext>
                  </a:extLst>
                </p:cNvPr>
                <p:cNvPicPr/>
                <p:nvPr/>
              </p:nvPicPr>
              <p:blipFill>
                <a:blip r:embed="rId55"/>
                <a:stretch>
                  <a:fillRect/>
                </a:stretch>
              </p:blipFill>
              <p:spPr>
                <a:xfrm>
                  <a:off x="2319777" y="2487158"/>
                  <a:ext cx="8532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8" name="Ink 67">
                  <a:extLst>
                    <a:ext uri="{FF2B5EF4-FFF2-40B4-BE49-F238E27FC236}">
                      <a16:creationId xmlns:a16="http://schemas.microsoft.com/office/drawing/2014/main" id="{F9EF1054-8C28-4C16-A6FA-50DD1ED26A21}"/>
                    </a:ext>
                  </a:extLst>
                </p14:cNvPr>
                <p14:cNvContentPartPr/>
                <p14:nvPr/>
              </p14:nvContentPartPr>
              <p14:xfrm>
                <a:off x="2344977" y="2421638"/>
                <a:ext cx="47880" cy="21240"/>
              </p14:xfrm>
            </p:contentPart>
          </mc:Choice>
          <mc:Fallback xmlns="">
            <p:pic>
              <p:nvPicPr>
                <p:cNvPr id="68" name="Ink 67">
                  <a:extLst>
                    <a:ext uri="{FF2B5EF4-FFF2-40B4-BE49-F238E27FC236}">
                      <a16:creationId xmlns:a16="http://schemas.microsoft.com/office/drawing/2014/main" id="{F9EF1054-8C28-4C16-A6FA-50DD1ED26A21}"/>
                    </a:ext>
                  </a:extLst>
                </p:cNvPr>
                <p:cNvPicPr/>
                <p:nvPr/>
              </p:nvPicPr>
              <p:blipFill>
                <a:blip r:embed="rId57"/>
                <a:stretch>
                  <a:fillRect/>
                </a:stretch>
              </p:blipFill>
              <p:spPr>
                <a:xfrm>
                  <a:off x="2340657" y="2417318"/>
                  <a:ext cx="56520" cy="29880"/>
                </a:xfrm>
                <a:prstGeom prst="rect">
                  <a:avLst/>
                </a:prstGeom>
              </p:spPr>
            </p:pic>
          </mc:Fallback>
        </mc:AlternateContent>
      </p:grpSp>
      <p:grpSp>
        <p:nvGrpSpPr>
          <p:cNvPr id="73" name="Group 72">
            <a:extLst>
              <a:ext uri="{FF2B5EF4-FFF2-40B4-BE49-F238E27FC236}">
                <a16:creationId xmlns:a16="http://schemas.microsoft.com/office/drawing/2014/main" id="{4424BF29-E655-4E00-9CEF-396E97441723}"/>
              </a:ext>
            </a:extLst>
          </p:cNvPr>
          <p:cNvGrpSpPr/>
          <p:nvPr/>
        </p:nvGrpSpPr>
        <p:grpSpPr>
          <a:xfrm>
            <a:off x="3926796" y="2921651"/>
            <a:ext cx="2437920" cy="475200"/>
            <a:chOff x="2945097" y="2191238"/>
            <a:chExt cx="1828440" cy="356400"/>
          </a:xfrm>
        </p:grpSpPr>
        <mc:AlternateContent xmlns:mc="http://schemas.openxmlformats.org/markup-compatibility/2006" xmlns:p14="http://schemas.microsoft.com/office/powerpoint/2010/main">
          <mc:Choice Requires="p14">
            <p:contentPart p14:bwMode="auto" r:id="rId58">
              <p14:nvContentPartPr>
                <p14:cNvPr id="70" name="Ink 69">
                  <a:extLst>
                    <a:ext uri="{FF2B5EF4-FFF2-40B4-BE49-F238E27FC236}">
                      <a16:creationId xmlns:a16="http://schemas.microsoft.com/office/drawing/2014/main" id="{4317C1E6-A60C-4D3F-B40E-FB6A28C6716C}"/>
                    </a:ext>
                  </a:extLst>
                </p14:cNvPr>
                <p14:cNvContentPartPr/>
                <p14:nvPr/>
              </p14:nvContentPartPr>
              <p14:xfrm>
                <a:off x="3479337" y="2198438"/>
                <a:ext cx="206280" cy="154080"/>
              </p14:xfrm>
            </p:contentPart>
          </mc:Choice>
          <mc:Fallback xmlns="">
            <p:pic>
              <p:nvPicPr>
                <p:cNvPr id="70" name="Ink 69">
                  <a:extLst>
                    <a:ext uri="{FF2B5EF4-FFF2-40B4-BE49-F238E27FC236}">
                      <a16:creationId xmlns:a16="http://schemas.microsoft.com/office/drawing/2014/main" id="{4317C1E6-A60C-4D3F-B40E-FB6A28C6716C}"/>
                    </a:ext>
                  </a:extLst>
                </p:cNvPr>
                <p:cNvPicPr/>
                <p:nvPr/>
              </p:nvPicPr>
              <p:blipFill>
                <a:blip r:embed="rId59"/>
                <a:stretch>
                  <a:fillRect/>
                </a:stretch>
              </p:blipFill>
              <p:spPr>
                <a:xfrm>
                  <a:off x="3475017" y="2194118"/>
                  <a:ext cx="214920" cy="16272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71" name="Ink 70">
                  <a:extLst>
                    <a:ext uri="{FF2B5EF4-FFF2-40B4-BE49-F238E27FC236}">
                      <a16:creationId xmlns:a16="http://schemas.microsoft.com/office/drawing/2014/main" id="{9ABBD5C8-320C-4FD3-B16D-DF9709F0A3F9}"/>
                    </a:ext>
                  </a:extLst>
                </p14:cNvPr>
                <p14:cNvContentPartPr/>
                <p14:nvPr/>
              </p14:nvContentPartPr>
              <p14:xfrm>
                <a:off x="3545577" y="2191238"/>
                <a:ext cx="77040" cy="223920"/>
              </p14:xfrm>
            </p:contentPart>
          </mc:Choice>
          <mc:Fallback xmlns="">
            <p:pic>
              <p:nvPicPr>
                <p:cNvPr id="71" name="Ink 70">
                  <a:extLst>
                    <a:ext uri="{FF2B5EF4-FFF2-40B4-BE49-F238E27FC236}">
                      <a16:creationId xmlns:a16="http://schemas.microsoft.com/office/drawing/2014/main" id="{9ABBD5C8-320C-4FD3-B16D-DF9709F0A3F9}"/>
                    </a:ext>
                  </a:extLst>
                </p:cNvPr>
                <p:cNvPicPr/>
                <p:nvPr/>
              </p:nvPicPr>
              <p:blipFill>
                <a:blip r:embed="rId61"/>
                <a:stretch>
                  <a:fillRect/>
                </a:stretch>
              </p:blipFill>
              <p:spPr>
                <a:xfrm>
                  <a:off x="3541257" y="2186918"/>
                  <a:ext cx="85680" cy="23256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72" name="Ink 71">
                  <a:extLst>
                    <a:ext uri="{FF2B5EF4-FFF2-40B4-BE49-F238E27FC236}">
                      <a16:creationId xmlns:a16="http://schemas.microsoft.com/office/drawing/2014/main" id="{242EB795-7C6E-40FE-A792-B604ADDC4D6F}"/>
                    </a:ext>
                  </a:extLst>
                </p14:cNvPr>
                <p14:cNvContentPartPr/>
                <p14:nvPr/>
              </p14:nvContentPartPr>
              <p14:xfrm>
                <a:off x="2945097" y="2463038"/>
                <a:ext cx="1828440" cy="84600"/>
              </p14:xfrm>
            </p:contentPart>
          </mc:Choice>
          <mc:Fallback xmlns="">
            <p:pic>
              <p:nvPicPr>
                <p:cNvPr id="72" name="Ink 71">
                  <a:extLst>
                    <a:ext uri="{FF2B5EF4-FFF2-40B4-BE49-F238E27FC236}">
                      <a16:creationId xmlns:a16="http://schemas.microsoft.com/office/drawing/2014/main" id="{242EB795-7C6E-40FE-A792-B604ADDC4D6F}"/>
                    </a:ext>
                  </a:extLst>
                </p:cNvPr>
                <p:cNvPicPr/>
                <p:nvPr/>
              </p:nvPicPr>
              <p:blipFill>
                <a:blip r:embed="rId63"/>
                <a:stretch>
                  <a:fillRect/>
                </a:stretch>
              </p:blipFill>
              <p:spPr>
                <a:xfrm>
                  <a:off x="2940777" y="2458718"/>
                  <a:ext cx="1837080" cy="93240"/>
                </a:xfrm>
                <a:prstGeom prst="rect">
                  <a:avLst/>
                </a:prstGeom>
              </p:spPr>
            </p:pic>
          </mc:Fallback>
        </mc:AlternateContent>
      </p:grpSp>
      <p:grpSp>
        <p:nvGrpSpPr>
          <p:cNvPr id="87" name="Group 86">
            <a:extLst>
              <a:ext uri="{FF2B5EF4-FFF2-40B4-BE49-F238E27FC236}">
                <a16:creationId xmlns:a16="http://schemas.microsoft.com/office/drawing/2014/main" id="{AF082C2C-E264-4EDF-91E8-19018BEA3604}"/>
              </a:ext>
            </a:extLst>
          </p:cNvPr>
          <p:cNvGrpSpPr/>
          <p:nvPr/>
        </p:nvGrpSpPr>
        <p:grpSpPr>
          <a:xfrm>
            <a:off x="3920556" y="3554771"/>
            <a:ext cx="1663200" cy="228960"/>
            <a:chOff x="2940417" y="2666078"/>
            <a:chExt cx="1247400" cy="171720"/>
          </a:xfrm>
        </p:grpSpPr>
        <mc:AlternateContent xmlns:mc="http://schemas.openxmlformats.org/markup-compatibility/2006" xmlns:p14="http://schemas.microsoft.com/office/powerpoint/2010/main">
          <mc:Choice Requires="p14">
            <p:contentPart p14:bwMode="auto" r:id="rId64">
              <p14:nvContentPartPr>
                <p14:cNvPr id="74" name="Ink 73">
                  <a:extLst>
                    <a:ext uri="{FF2B5EF4-FFF2-40B4-BE49-F238E27FC236}">
                      <a16:creationId xmlns:a16="http://schemas.microsoft.com/office/drawing/2014/main" id="{E2DC2372-3F00-4641-A310-766F79B8828F}"/>
                    </a:ext>
                  </a:extLst>
                </p14:cNvPr>
                <p14:cNvContentPartPr/>
                <p14:nvPr/>
              </p14:nvContentPartPr>
              <p14:xfrm>
                <a:off x="2940417" y="2749598"/>
                <a:ext cx="68040" cy="88200"/>
              </p14:xfrm>
            </p:contentPart>
          </mc:Choice>
          <mc:Fallback xmlns="">
            <p:pic>
              <p:nvPicPr>
                <p:cNvPr id="74" name="Ink 73">
                  <a:extLst>
                    <a:ext uri="{FF2B5EF4-FFF2-40B4-BE49-F238E27FC236}">
                      <a16:creationId xmlns:a16="http://schemas.microsoft.com/office/drawing/2014/main" id="{E2DC2372-3F00-4641-A310-766F79B8828F}"/>
                    </a:ext>
                  </a:extLst>
                </p:cNvPr>
                <p:cNvPicPr/>
                <p:nvPr/>
              </p:nvPicPr>
              <p:blipFill>
                <a:blip r:embed="rId65"/>
                <a:stretch>
                  <a:fillRect/>
                </a:stretch>
              </p:blipFill>
              <p:spPr>
                <a:xfrm>
                  <a:off x="2936097" y="2745278"/>
                  <a:ext cx="76680" cy="9684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75" name="Ink 74">
                  <a:extLst>
                    <a:ext uri="{FF2B5EF4-FFF2-40B4-BE49-F238E27FC236}">
                      <a16:creationId xmlns:a16="http://schemas.microsoft.com/office/drawing/2014/main" id="{82CD5D70-D9AD-439F-ABA1-74AD526D5D66}"/>
                    </a:ext>
                  </a:extLst>
                </p14:cNvPr>
                <p14:cNvContentPartPr/>
                <p14:nvPr/>
              </p14:nvContentPartPr>
              <p14:xfrm>
                <a:off x="3082257" y="2784878"/>
                <a:ext cx="3240" cy="360"/>
              </p14:xfrm>
            </p:contentPart>
          </mc:Choice>
          <mc:Fallback xmlns="">
            <p:pic>
              <p:nvPicPr>
                <p:cNvPr id="75" name="Ink 74">
                  <a:extLst>
                    <a:ext uri="{FF2B5EF4-FFF2-40B4-BE49-F238E27FC236}">
                      <a16:creationId xmlns:a16="http://schemas.microsoft.com/office/drawing/2014/main" id="{82CD5D70-D9AD-439F-ABA1-74AD526D5D66}"/>
                    </a:ext>
                  </a:extLst>
                </p:cNvPr>
                <p:cNvPicPr/>
                <p:nvPr/>
              </p:nvPicPr>
              <p:blipFill>
                <a:blip r:embed="rId67"/>
                <a:stretch>
                  <a:fillRect/>
                </a:stretch>
              </p:blipFill>
              <p:spPr>
                <a:xfrm>
                  <a:off x="3077937" y="2780558"/>
                  <a:ext cx="118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76" name="Ink 75">
                  <a:extLst>
                    <a:ext uri="{FF2B5EF4-FFF2-40B4-BE49-F238E27FC236}">
                      <a16:creationId xmlns:a16="http://schemas.microsoft.com/office/drawing/2014/main" id="{A96F12AE-A523-459C-AFEE-917B9CDF547F}"/>
                    </a:ext>
                  </a:extLst>
                </p14:cNvPr>
                <p14:cNvContentPartPr/>
                <p14:nvPr/>
              </p14:nvContentPartPr>
              <p14:xfrm>
                <a:off x="3121857" y="2721518"/>
                <a:ext cx="56520" cy="106200"/>
              </p14:xfrm>
            </p:contentPart>
          </mc:Choice>
          <mc:Fallback xmlns="">
            <p:pic>
              <p:nvPicPr>
                <p:cNvPr id="76" name="Ink 75">
                  <a:extLst>
                    <a:ext uri="{FF2B5EF4-FFF2-40B4-BE49-F238E27FC236}">
                      <a16:creationId xmlns:a16="http://schemas.microsoft.com/office/drawing/2014/main" id="{A96F12AE-A523-459C-AFEE-917B9CDF547F}"/>
                    </a:ext>
                  </a:extLst>
                </p:cNvPr>
                <p:cNvPicPr/>
                <p:nvPr/>
              </p:nvPicPr>
              <p:blipFill>
                <a:blip r:embed="rId69"/>
                <a:stretch>
                  <a:fillRect/>
                </a:stretch>
              </p:blipFill>
              <p:spPr>
                <a:xfrm>
                  <a:off x="3117537" y="2717198"/>
                  <a:ext cx="65160" cy="11484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77" name="Ink 76">
                  <a:extLst>
                    <a:ext uri="{FF2B5EF4-FFF2-40B4-BE49-F238E27FC236}">
                      <a16:creationId xmlns:a16="http://schemas.microsoft.com/office/drawing/2014/main" id="{61C33078-B810-4587-A6A4-42D84EE583FB}"/>
                    </a:ext>
                  </a:extLst>
                </p14:cNvPr>
                <p14:cNvContentPartPr/>
                <p14:nvPr/>
              </p14:nvContentPartPr>
              <p14:xfrm>
                <a:off x="3133737" y="2721518"/>
                <a:ext cx="73800" cy="7920"/>
              </p14:xfrm>
            </p:contentPart>
          </mc:Choice>
          <mc:Fallback xmlns="">
            <p:pic>
              <p:nvPicPr>
                <p:cNvPr id="77" name="Ink 76">
                  <a:extLst>
                    <a:ext uri="{FF2B5EF4-FFF2-40B4-BE49-F238E27FC236}">
                      <a16:creationId xmlns:a16="http://schemas.microsoft.com/office/drawing/2014/main" id="{61C33078-B810-4587-A6A4-42D84EE583FB}"/>
                    </a:ext>
                  </a:extLst>
                </p:cNvPr>
                <p:cNvPicPr/>
                <p:nvPr/>
              </p:nvPicPr>
              <p:blipFill>
                <a:blip r:embed="rId71"/>
                <a:stretch>
                  <a:fillRect/>
                </a:stretch>
              </p:blipFill>
              <p:spPr>
                <a:xfrm>
                  <a:off x="3129417" y="2717198"/>
                  <a:ext cx="82440" cy="1656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79" name="Ink 78">
                  <a:extLst>
                    <a:ext uri="{FF2B5EF4-FFF2-40B4-BE49-F238E27FC236}">
                      <a16:creationId xmlns:a16="http://schemas.microsoft.com/office/drawing/2014/main" id="{5C9CABE6-4E9B-4141-83E3-87F86B150E5B}"/>
                    </a:ext>
                  </a:extLst>
                </p14:cNvPr>
                <p14:cNvContentPartPr/>
                <p14:nvPr/>
              </p14:nvContentPartPr>
              <p14:xfrm>
                <a:off x="3392217" y="2693798"/>
                <a:ext cx="28080" cy="104040"/>
              </p14:xfrm>
            </p:contentPart>
          </mc:Choice>
          <mc:Fallback xmlns="">
            <p:pic>
              <p:nvPicPr>
                <p:cNvPr id="79" name="Ink 78">
                  <a:extLst>
                    <a:ext uri="{FF2B5EF4-FFF2-40B4-BE49-F238E27FC236}">
                      <a16:creationId xmlns:a16="http://schemas.microsoft.com/office/drawing/2014/main" id="{5C9CABE6-4E9B-4141-83E3-87F86B150E5B}"/>
                    </a:ext>
                  </a:extLst>
                </p:cNvPr>
                <p:cNvPicPr/>
                <p:nvPr/>
              </p:nvPicPr>
              <p:blipFill>
                <a:blip r:embed="rId73"/>
                <a:stretch>
                  <a:fillRect/>
                </a:stretch>
              </p:blipFill>
              <p:spPr>
                <a:xfrm>
                  <a:off x="3387897" y="2689478"/>
                  <a:ext cx="3672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80" name="Ink 79">
                  <a:extLst>
                    <a:ext uri="{FF2B5EF4-FFF2-40B4-BE49-F238E27FC236}">
                      <a16:creationId xmlns:a16="http://schemas.microsoft.com/office/drawing/2014/main" id="{B58D5708-C6CE-436E-992C-2154E0E86019}"/>
                    </a:ext>
                  </a:extLst>
                </p14:cNvPr>
                <p14:cNvContentPartPr/>
                <p14:nvPr/>
              </p14:nvContentPartPr>
              <p14:xfrm>
                <a:off x="3350097" y="2749598"/>
                <a:ext cx="83520" cy="360"/>
              </p14:xfrm>
            </p:contentPart>
          </mc:Choice>
          <mc:Fallback xmlns="">
            <p:pic>
              <p:nvPicPr>
                <p:cNvPr id="80" name="Ink 79">
                  <a:extLst>
                    <a:ext uri="{FF2B5EF4-FFF2-40B4-BE49-F238E27FC236}">
                      <a16:creationId xmlns:a16="http://schemas.microsoft.com/office/drawing/2014/main" id="{B58D5708-C6CE-436E-992C-2154E0E86019}"/>
                    </a:ext>
                  </a:extLst>
                </p:cNvPr>
                <p:cNvPicPr/>
                <p:nvPr/>
              </p:nvPicPr>
              <p:blipFill>
                <a:blip r:embed="rId75"/>
                <a:stretch>
                  <a:fillRect/>
                </a:stretch>
              </p:blipFill>
              <p:spPr>
                <a:xfrm>
                  <a:off x="3345777" y="2745278"/>
                  <a:ext cx="9216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81" name="Ink 80">
                  <a:extLst>
                    <a:ext uri="{FF2B5EF4-FFF2-40B4-BE49-F238E27FC236}">
                      <a16:creationId xmlns:a16="http://schemas.microsoft.com/office/drawing/2014/main" id="{766E1BF5-C8AF-47F3-A2CC-CF96E0B3DCBC}"/>
                    </a:ext>
                  </a:extLst>
                </p14:cNvPr>
                <p14:cNvContentPartPr/>
                <p14:nvPr/>
              </p14:nvContentPartPr>
              <p14:xfrm>
                <a:off x="3566817" y="2704598"/>
                <a:ext cx="85320" cy="97920"/>
              </p14:xfrm>
            </p:contentPart>
          </mc:Choice>
          <mc:Fallback xmlns="">
            <p:pic>
              <p:nvPicPr>
                <p:cNvPr id="81" name="Ink 80">
                  <a:extLst>
                    <a:ext uri="{FF2B5EF4-FFF2-40B4-BE49-F238E27FC236}">
                      <a16:creationId xmlns:a16="http://schemas.microsoft.com/office/drawing/2014/main" id="{766E1BF5-C8AF-47F3-A2CC-CF96E0B3DCBC}"/>
                    </a:ext>
                  </a:extLst>
                </p:cNvPr>
                <p:cNvPicPr/>
                <p:nvPr/>
              </p:nvPicPr>
              <p:blipFill>
                <a:blip r:embed="rId77"/>
                <a:stretch>
                  <a:fillRect/>
                </a:stretch>
              </p:blipFill>
              <p:spPr>
                <a:xfrm>
                  <a:off x="3562497" y="2700278"/>
                  <a:ext cx="93960" cy="10656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82" name="Ink 81">
                  <a:extLst>
                    <a:ext uri="{FF2B5EF4-FFF2-40B4-BE49-F238E27FC236}">
                      <a16:creationId xmlns:a16="http://schemas.microsoft.com/office/drawing/2014/main" id="{8493DB77-04CA-44B7-A3CF-5B2B78681B2F}"/>
                    </a:ext>
                  </a:extLst>
                </p14:cNvPr>
                <p14:cNvContentPartPr/>
                <p14:nvPr/>
              </p14:nvContentPartPr>
              <p14:xfrm>
                <a:off x="3733857" y="2742758"/>
                <a:ext cx="360" cy="360"/>
              </p14:xfrm>
            </p:contentPart>
          </mc:Choice>
          <mc:Fallback xmlns="">
            <p:pic>
              <p:nvPicPr>
                <p:cNvPr id="82" name="Ink 81">
                  <a:extLst>
                    <a:ext uri="{FF2B5EF4-FFF2-40B4-BE49-F238E27FC236}">
                      <a16:creationId xmlns:a16="http://schemas.microsoft.com/office/drawing/2014/main" id="{8493DB77-04CA-44B7-A3CF-5B2B78681B2F}"/>
                    </a:ext>
                  </a:extLst>
                </p:cNvPr>
                <p:cNvPicPr/>
                <p:nvPr/>
              </p:nvPicPr>
              <p:blipFill>
                <a:blip r:embed="rId79"/>
                <a:stretch>
                  <a:fillRect/>
                </a:stretch>
              </p:blipFill>
              <p:spPr>
                <a:xfrm>
                  <a:off x="3729537" y="27384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83" name="Ink 82">
                  <a:extLst>
                    <a:ext uri="{FF2B5EF4-FFF2-40B4-BE49-F238E27FC236}">
                      <a16:creationId xmlns:a16="http://schemas.microsoft.com/office/drawing/2014/main" id="{7717E4D3-1A14-4BD6-BB56-CC41BA460A6B}"/>
                    </a:ext>
                  </a:extLst>
                </p14:cNvPr>
                <p14:cNvContentPartPr/>
                <p14:nvPr/>
              </p14:nvContentPartPr>
              <p14:xfrm>
                <a:off x="3808737" y="2676878"/>
                <a:ext cx="92160" cy="114480"/>
              </p14:xfrm>
            </p:contentPart>
          </mc:Choice>
          <mc:Fallback xmlns="">
            <p:pic>
              <p:nvPicPr>
                <p:cNvPr id="83" name="Ink 82">
                  <a:extLst>
                    <a:ext uri="{FF2B5EF4-FFF2-40B4-BE49-F238E27FC236}">
                      <a16:creationId xmlns:a16="http://schemas.microsoft.com/office/drawing/2014/main" id="{7717E4D3-1A14-4BD6-BB56-CC41BA460A6B}"/>
                    </a:ext>
                  </a:extLst>
                </p:cNvPr>
                <p:cNvPicPr/>
                <p:nvPr/>
              </p:nvPicPr>
              <p:blipFill>
                <a:blip r:embed="rId81"/>
                <a:stretch>
                  <a:fillRect/>
                </a:stretch>
              </p:blipFill>
              <p:spPr>
                <a:xfrm>
                  <a:off x="3804417" y="2672558"/>
                  <a:ext cx="10080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84" name="Ink 83">
                  <a:extLst>
                    <a:ext uri="{FF2B5EF4-FFF2-40B4-BE49-F238E27FC236}">
                      <a16:creationId xmlns:a16="http://schemas.microsoft.com/office/drawing/2014/main" id="{2305226F-A32F-4E0D-BEB4-09C8163BBC31}"/>
                    </a:ext>
                  </a:extLst>
                </p14:cNvPr>
                <p14:cNvContentPartPr/>
                <p14:nvPr/>
              </p14:nvContentPartPr>
              <p14:xfrm>
                <a:off x="3888657" y="2666078"/>
                <a:ext cx="103320" cy="112680"/>
              </p14:xfrm>
            </p:contentPart>
          </mc:Choice>
          <mc:Fallback xmlns="">
            <p:pic>
              <p:nvPicPr>
                <p:cNvPr id="84" name="Ink 83">
                  <a:extLst>
                    <a:ext uri="{FF2B5EF4-FFF2-40B4-BE49-F238E27FC236}">
                      <a16:creationId xmlns:a16="http://schemas.microsoft.com/office/drawing/2014/main" id="{2305226F-A32F-4E0D-BEB4-09C8163BBC31}"/>
                    </a:ext>
                  </a:extLst>
                </p:cNvPr>
                <p:cNvPicPr/>
                <p:nvPr/>
              </p:nvPicPr>
              <p:blipFill>
                <a:blip r:embed="rId83"/>
                <a:stretch>
                  <a:fillRect/>
                </a:stretch>
              </p:blipFill>
              <p:spPr>
                <a:xfrm>
                  <a:off x="3884337" y="2661758"/>
                  <a:ext cx="111960" cy="12132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85" name="Ink 84">
                  <a:extLst>
                    <a:ext uri="{FF2B5EF4-FFF2-40B4-BE49-F238E27FC236}">
                      <a16:creationId xmlns:a16="http://schemas.microsoft.com/office/drawing/2014/main" id="{D5EE0536-0E3B-4A6B-81D1-EB3FFB91D185}"/>
                    </a:ext>
                  </a:extLst>
                </p14:cNvPr>
                <p14:cNvContentPartPr/>
                <p14:nvPr/>
              </p14:nvContentPartPr>
              <p14:xfrm>
                <a:off x="4105017" y="2686958"/>
                <a:ext cx="20160" cy="82800"/>
              </p14:xfrm>
            </p:contentPart>
          </mc:Choice>
          <mc:Fallback xmlns="">
            <p:pic>
              <p:nvPicPr>
                <p:cNvPr id="85" name="Ink 84">
                  <a:extLst>
                    <a:ext uri="{FF2B5EF4-FFF2-40B4-BE49-F238E27FC236}">
                      <a16:creationId xmlns:a16="http://schemas.microsoft.com/office/drawing/2014/main" id="{D5EE0536-0E3B-4A6B-81D1-EB3FFB91D185}"/>
                    </a:ext>
                  </a:extLst>
                </p:cNvPr>
                <p:cNvPicPr/>
                <p:nvPr/>
              </p:nvPicPr>
              <p:blipFill>
                <a:blip r:embed="rId29"/>
                <a:stretch>
                  <a:fillRect/>
                </a:stretch>
              </p:blipFill>
              <p:spPr>
                <a:xfrm>
                  <a:off x="4100697" y="2682638"/>
                  <a:ext cx="28800" cy="91440"/>
                </a:xfrm>
                <a:prstGeom prst="rect">
                  <a:avLst/>
                </a:prstGeom>
              </p:spPr>
            </p:pic>
          </mc:Fallback>
        </mc:AlternateContent>
        <mc:AlternateContent xmlns:mc="http://schemas.openxmlformats.org/markup-compatibility/2006" xmlns:p14="http://schemas.microsoft.com/office/powerpoint/2010/main">
          <mc:Choice Requires="p14">
            <p:contentPart p14:bwMode="auto" r:id="rId85">
              <p14:nvContentPartPr>
                <p14:cNvPr id="86" name="Ink 85">
                  <a:extLst>
                    <a:ext uri="{FF2B5EF4-FFF2-40B4-BE49-F238E27FC236}">
                      <a16:creationId xmlns:a16="http://schemas.microsoft.com/office/drawing/2014/main" id="{EFD931F9-B7D6-4A0C-ADF2-48A294C2F01D}"/>
                    </a:ext>
                  </a:extLst>
                </p14:cNvPr>
                <p14:cNvContentPartPr/>
                <p14:nvPr/>
              </p14:nvContentPartPr>
              <p14:xfrm>
                <a:off x="4062177" y="2716118"/>
                <a:ext cx="125640" cy="12960"/>
              </p14:xfrm>
            </p:contentPart>
          </mc:Choice>
          <mc:Fallback xmlns="">
            <p:pic>
              <p:nvPicPr>
                <p:cNvPr id="86" name="Ink 85">
                  <a:extLst>
                    <a:ext uri="{FF2B5EF4-FFF2-40B4-BE49-F238E27FC236}">
                      <a16:creationId xmlns:a16="http://schemas.microsoft.com/office/drawing/2014/main" id="{EFD931F9-B7D6-4A0C-ADF2-48A294C2F01D}"/>
                    </a:ext>
                  </a:extLst>
                </p:cNvPr>
                <p:cNvPicPr/>
                <p:nvPr/>
              </p:nvPicPr>
              <p:blipFill>
                <a:blip r:embed="rId86"/>
                <a:stretch>
                  <a:fillRect/>
                </a:stretch>
              </p:blipFill>
              <p:spPr>
                <a:xfrm>
                  <a:off x="4057857" y="2711798"/>
                  <a:ext cx="134280" cy="21600"/>
                </a:xfrm>
                <a:prstGeom prst="rect">
                  <a:avLst/>
                </a:prstGeom>
              </p:spPr>
            </p:pic>
          </mc:Fallback>
        </mc:AlternateContent>
      </p:grpSp>
      <p:grpSp>
        <p:nvGrpSpPr>
          <p:cNvPr id="100" name="Group 99">
            <a:extLst>
              <a:ext uri="{FF2B5EF4-FFF2-40B4-BE49-F238E27FC236}">
                <a16:creationId xmlns:a16="http://schemas.microsoft.com/office/drawing/2014/main" id="{A9F4159A-25B1-4432-866A-4E7FB4FD22E7}"/>
              </a:ext>
            </a:extLst>
          </p:cNvPr>
          <p:cNvGrpSpPr/>
          <p:nvPr/>
        </p:nvGrpSpPr>
        <p:grpSpPr>
          <a:xfrm>
            <a:off x="5733516" y="3452531"/>
            <a:ext cx="1320000" cy="215520"/>
            <a:chOff x="4300137" y="2589398"/>
            <a:chExt cx="990000" cy="161640"/>
          </a:xfrm>
        </p:grpSpPr>
        <mc:AlternateContent xmlns:mc="http://schemas.openxmlformats.org/markup-compatibility/2006" xmlns:p14="http://schemas.microsoft.com/office/powerpoint/2010/main">
          <mc:Choice Requires="p14">
            <p:contentPart p14:bwMode="auto" r:id="rId87">
              <p14:nvContentPartPr>
                <p14:cNvPr id="88" name="Ink 87">
                  <a:extLst>
                    <a:ext uri="{FF2B5EF4-FFF2-40B4-BE49-F238E27FC236}">
                      <a16:creationId xmlns:a16="http://schemas.microsoft.com/office/drawing/2014/main" id="{7150333E-B932-465E-BDB6-198191C88484}"/>
                    </a:ext>
                  </a:extLst>
                </p14:cNvPr>
                <p14:cNvContentPartPr/>
                <p14:nvPr/>
              </p14:nvContentPartPr>
              <p14:xfrm>
                <a:off x="4300137" y="2671838"/>
                <a:ext cx="68400" cy="79200"/>
              </p14:xfrm>
            </p:contentPart>
          </mc:Choice>
          <mc:Fallback xmlns="">
            <p:pic>
              <p:nvPicPr>
                <p:cNvPr id="88" name="Ink 87">
                  <a:extLst>
                    <a:ext uri="{FF2B5EF4-FFF2-40B4-BE49-F238E27FC236}">
                      <a16:creationId xmlns:a16="http://schemas.microsoft.com/office/drawing/2014/main" id="{7150333E-B932-465E-BDB6-198191C88484}"/>
                    </a:ext>
                  </a:extLst>
                </p:cNvPr>
                <p:cNvPicPr/>
                <p:nvPr/>
              </p:nvPicPr>
              <p:blipFill>
                <a:blip r:embed="rId88"/>
                <a:stretch>
                  <a:fillRect/>
                </a:stretch>
              </p:blipFill>
              <p:spPr>
                <a:xfrm>
                  <a:off x="4295817" y="2667518"/>
                  <a:ext cx="7704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89">
              <p14:nvContentPartPr>
                <p14:cNvPr id="89" name="Ink 88">
                  <a:extLst>
                    <a:ext uri="{FF2B5EF4-FFF2-40B4-BE49-F238E27FC236}">
                      <a16:creationId xmlns:a16="http://schemas.microsoft.com/office/drawing/2014/main" id="{903AD705-D9ED-4493-9168-511B1DDDD9F4}"/>
                    </a:ext>
                  </a:extLst>
                </p14:cNvPr>
                <p14:cNvContentPartPr/>
                <p14:nvPr/>
              </p14:nvContentPartPr>
              <p14:xfrm>
                <a:off x="4411017" y="2729078"/>
                <a:ext cx="360" cy="2880"/>
              </p14:xfrm>
            </p:contentPart>
          </mc:Choice>
          <mc:Fallback xmlns="">
            <p:pic>
              <p:nvPicPr>
                <p:cNvPr id="89" name="Ink 88">
                  <a:extLst>
                    <a:ext uri="{FF2B5EF4-FFF2-40B4-BE49-F238E27FC236}">
                      <a16:creationId xmlns:a16="http://schemas.microsoft.com/office/drawing/2014/main" id="{903AD705-D9ED-4493-9168-511B1DDDD9F4}"/>
                    </a:ext>
                  </a:extLst>
                </p:cNvPr>
                <p:cNvPicPr/>
                <p:nvPr/>
              </p:nvPicPr>
              <p:blipFill>
                <a:blip r:embed="rId90"/>
                <a:stretch>
                  <a:fillRect/>
                </a:stretch>
              </p:blipFill>
              <p:spPr>
                <a:xfrm>
                  <a:off x="4406697" y="2724758"/>
                  <a:ext cx="9000" cy="11520"/>
                </a:xfrm>
                <a:prstGeom prst="rect">
                  <a:avLst/>
                </a:prstGeom>
              </p:spPr>
            </p:pic>
          </mc:Fallback>
        </mc:AlternateContent>
        <mc:AlternateContent xmlns:mc="http://schemas.openxmlformats.org/markup-compatibility/2006" xmlns:p14="http://schemas.microsoft.com/office/powerpoint/2010/main">
          <mc:Choice Requires="p14">
            <p:contentPart p14:bwMode="auto" r:id="rId91">
              <p14:nvContentPartPr>
                <p14:cNvPr id="90" name="Ink 89">
                  <a:extLst>
                    <a:ext uri="{FF2B5EF4-FFF2-40B4-BE49-F238E27FC236}">
                      <a16:creationId xmlns:a16="http://schemas.microsoft.com/office/drawing/2014/main" id="{864DAD99-776D-47A1-A649-B066EA8886B1}"/>
                    </a:ext>
                  </a:extLst>
                </p14:cNvPr>
                <p14:cNvContentPartPr/>
                <p14:nvPr/>
              </p14:nvContentPartPr>
              <p14:xfrm>
                <a:off x="4452777" y="2652398"/>
                <a:ext cx="7920" cy="90000"/>
              </p14:xfrm>
            </p:contentPart>
          </mc:Choice>
          <mc:Fallback xmlns="">
            <p:pic>
              <p:nvPicPr>
                <p:cNvPr id="90" name="Ink 89">
                  <a:extLst>
                    <a:ext uri="{FF2B5EF4-FFF2-40B4-BE49-F238E27FC236}">
                      <a16:creationId xmlns:a16="http://schemas.microsoft.com/office/drawing/2014/main" id="{864DAD99-776D-47A1-A649-B066EA8886B1}"/>
                    </a:ext>
                  </a:extLst>
                </p:cNvPr>
                <p:cNvPicPr/>
                <p:nvPr/>
              </p:nvPicPr>
              <p:blipFill>
                <a:blip r:embed="rId92"/>
                <a:stretch>
                  <a:fillRect/>
                </a:stretch>
              </p:blipFill>
              <p:spPr>
                <a:xfrm>
                  <a:off x="4448457" y="2648078"/>
                  <a:ext cx="1656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93">
              <p14:nvContentPartPr>
                <p14:cNvPr id="91" name="Ink 90">
                  <a:extLst>
                    <a:ext uri="{FF2B5EF4-FFF2-40B4-BE49-F238E27FC236}">
                      <a16:creationId xmlns:a16="http://schemas.microsoft.com/office/drawing/2014/main" id="{6322F807-6C41-42E6-A1B0-4C5F248B647A}"/>
                    </a:ext>
                  </a:extLst>
                </p14:cNvPr>
                <p14:cNvContentPartPr/>
                <p14:nvPr/>
              </p14:nvContentPartPr>
              <p14:xfrm>
                <a:off x="4506417" y="2652038"/>
                <a:ext cx="65160" cy="78480"/>
              </p14:xfrm>
            </p:contentPart>
          </mc:Choice>
          <mc:Fallback xmlns="">
            <p:pic>
              <p:nvPicPr>
                <p:cNvPr id="91" name="Ink 90">
                  <a:extLst>
                    <a:ext uri="{FF2B5EF4-FFF2-40B4-BE49-F238E27FC236}">
                      <a16:creationId xmlns:a16="http://schemas.microsoft.com/office/drawing/2014/main" id="{6322F807-6C41-42E6-A1B0-4C5F248B647A}"/>
                    </a:ext>
                  </a:extLst>
                </p:cNvPr>
                <p:cNvPicPr/>
                <p:nvPr/>
              </p:nvPicPr>
              <p:blipFill>
                <a:blip r:embed="rId94"/>
                <a:stretch>
                  <a:fillRect/>
                </a:stretch>
              </p:blipFill>
              <p:spPr>
                <a:xfrm>
                  <a:off x="4502097" y="2647718"/>
                  <a:ext cx="73800" cy="87120"/>
                </a:xfrm>
                <a:prstGeom prst="rect">
                  <a:avLst/>
                </a:prstGeom>
              </p:spPr>
            </p:pic>
          </mc:Fallback>
        </mc:AlternateContent>
        <mc:AlternateContent xmlns:mc="http://schemas.openxmlformats.org/markup-compatibility/2006" xmlns:p14="http://schemas.microsoft.com/office/powerpoint/2010/main">
          <mc:Choice Requires="p14">
            <p:contentPart p14:bwMode="auto" r:id="rId95">
              <p14:nvContentPartPr>
                <p14:cNvPr id="92" name="Ink 91">
                  <a:extLst>
                    <a:ext uri="{FF2B5EF4-FFF2-40B4-BE49-F238E27FC236}">
                      <a16:creationId xmlns:a16="http://schemas.microsoft.com/office/drawing/2014/main" id="{570943C6-E320-44AB-8D76-5609F373ABED}"/>
                    </a:ext>
                  </a:extLst>
                </p14:cNvPr>
                <p14:cNvContentPartPr/>
                <p14:nvPr/>
              </p14:nvContentPartPr>
              <p14:xfrm>
                <a:off x="4612257" y="2642678"/>
                <a:ext cx="58320" cy="104040"/>
              </p14:xfrm>
            </p:contentPart>
          </mc:Choice>
          <mc:Fallback xmlns="">
            <p:pic>
              <p:nvPicPr>
                <p:cNvPr id="92" name="Ink 91">
                  <a:extLst>
                    <a:ext uri="{FF2B5EF4-FFF2-40B4-BE49-F238E27FC236}">
                      <a16:creationId xmlns:a16="http://schemas.microsoft.com/office/drawing/2014/main" id="{570943C6-E320-44AB-8D76-5609F373ABED}"/>
                    </a:ext>
                  </a:extLst>
                </p:cNvPr>
                <p:cNvPicPr/>
                <p:nvPr/>
              </p:nvPicPr>
              <p:blipFill>
                <a:blip r:embed="rId96"/>
                <a:stretch>
                  <a:fillRect/>
                </a:stretch>
              </p:blipFill>
              <p:spPr>
                <a:xfrm>
                  <a:off x="4607937" y="2638358"/>
                  <a:ext cx="6696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97">
              <p14:nvContentPartPr>
                <p14:cNvPr id="93" name="Ink 92">
                  <a:extLst>
                    <a:ext uri="{FF2B5EF4-FFF2-40B4-BE49-F238E27FC236}">
                      <a16:creationId xmlns:a16="http://schemas.microsoft.com/office/drawing/2014/main" id="{9D44812A-A5A3-42E5-AF55-F1205B0D3AEA}"/>
                    </a:ext>
                  </a:extLst>
                </p14:cNvPr>
                <p14:cNvContentPartPr/>
                <p14:nvPr/>
              </p14:nvContentPartPr>
              <p14:xfrm>
                <a:off x="4767057" y="2624318"/>
                <a:ext cx="7920" cy="90360"/>
              </p14:xfrm>
            </p:contentPart>
          </mc:Choice>
          <mc:Fallback xmlns="">
            <p:pic>
              <p:nvPicPr>
                <p:cNvPr id="93" name="Ink 92">
                  <a:extLst>
                    <a:ext uri="{FF2B5EF4-FFF2-40B4-BE49-F238E27FC236}">
                      <a16:creationId xmlns:a16="http://schemas.microsoft.com/office/drawing/2014/main" id="{9D44812A-A5A3-42E5-AF55-F1205B0D3AEA}"/>
                    </a:ext>
                  </a:extLst>
                </p:cNvPr>
                <p:cNvPicPr/>
                <p:nvPr/>
              </p:nvPicPr>
              <p:blipFill>
                <a:blip r:embed="rId98"/>
                <a:stretch>
                  <a:fillRect/>
                </a:stretch>
              </p:blipFill>
              <p:spPr>
                <a:xfrm>
                  <a:off x="4762737" y="2619998"/>
                  <a:ext cx="1656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99">
              <p14:nvContentPartPr>
                <p14:cNvPr id="94" name="Ink 93">
                  <a:extLst>
                    <a:ext uri="{FF2B5EF4-FFF2-40B4-BE49-F238E27FC236}">
                      <a16:creationId xmlns:a16="http://schemas.microsoft.com/office/drawing/2014/main" id="{3E07791C-A239-417F-BCCC-C715632EBAC4}"/>
                    </a:ext>
                  </a:extLst>
                </p14:cNvPr>
                <p14:cNvContentPartPr/>
                <p14:nvPr/>
              </p14:nvContentPartPr>
              <p14:xfrm>
                <a:off x="4725297" y="2673278"/>
                <a:ext cx="76320" cy="14040"/>
              </p14:xfrm>
            </p:contentPart>
          </mc:Choice>
          <mc:Fallback xmlns="">
            <p:pic>
              <p:nvPicPr>
                <p:cNvPr id="94" name="Ink 93">
                  <a:extLst>
                    <a:ext uri="{FF2B5EF4-FFF2-40B4-BE49-F238E27FC236}">
                      <a16:creationId xmlns:a16="http://schemas.microsoft.com/office/drawing/2014/main" id="{3E07791C-A239-417F-BCCC-C715632EBAC4}"/>
                    </a:ext>
                  </a:extLst>
                </p:cNvPr>
                <p:cNvPicPr/>
                <p:nvPr/>
              </p:nvPicPr>
              <p:blipFill>
                <a:blip r:embed="rId100"/>
                <a:stretch>
                  <a:fillRect/>
                </a:stretch>
              </p:blipFill>
              <p:spPr>
                <a:xfrm>
                  <a:off x="4720977" y="2668958"/>
                  <a:ext cx="8496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1">
              <p14:nvContentPartPr>
                <p14:cNvPr id="96" name="Ink 95">
                  <a:extLst>
                    <a:ext uri="{FF2B5EF4-FFF2-40B4-BE49-F238E27FC236}">
                      <a16:creationId xmlns:a16="http://schemas.microsoft.com/office/drawing/2014/main" id="{45EEE506-88A2-4193-9C54-8C8449DFE730}"/>
                    </a:ext>
                  </a:extLst>
                </p14:cNvPr>
                <p14:cNvContentPartPr/>
                <p14:nvPr/>
              </p14:nvContentPartPr>
              <p14:xfrm>
                <a:off x="4936617" y="2603798"/>
                <a:ext cx="95760" cy="85320"/>
              </p14:xfrm>
            </p:contentPart>
          </mc:Choice>
          <mc:Fallback xmlns="">
            <p:pic>
              <p:nvPicPr>
                <p:cNvPr id="96" name="Ink 95">
                  <a:extLst>
                    <a:ext uri="{FF2B5EF4-FFF2-40B4-BE49-F238E27FC236}">
                      <a16:creationId xmlns:a16="http://schemas.microsoft.com/office/drawing/2014/main" id="{45EEE506-88A2-4193-9C54-8C8449DFE730}"/>
                    </a:ext>
                  </a:extLst>
                </p:cNvPr>
                <p:cNvPicPr/>
                <p:nvPr/>
              </p:nvPicPr>
              <p:blipFill>
                <a:blip r:embed="rId102"/>
                <a:stretch>
                  <a:fillRect/>
                </a:stretch>
              </p:blipFill>
              <p:spPr>
                <a:xfrm>
                  <a:off x="4932297" y="2599478"/>
                  <a:ext cx="10440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97" name="Ink 96">
                  <a:extLst>
                    <a:ext uri="{FF2B5EF4-FFF2-40B4-BE49-F238E27FC236}">
                      <a16:creationId xmlns:a16="http://schemas.microsoft.com/office/drawing/2014/main" id="{B715EBB9-3E3F-4D08-ACA5-9DC3F8F6B292}"/>
                    </a:ext>
                  </a:extLst>
                </p14:cNvPr>
                <p14:cNvContentPartPr/>
                <p14:nvPr/>
              </p14:nvContentPartPr>
              <p14:xfrm>
                <a:off x="5088177" y="2666078"/>
                <a:ext cx="360" cy="360"/>
              </p14:xfrm>
            </p:contentPart>
          </mc:Choice>
          <mc:Fallback xmlns="">
            <p:pic>
              <p:nvPicPr>
                <p:cNvPr id="97" name="Ink 96">
                  <a:extLst>
                    <a:ext uri="{FF2B5EF4-FFF2-40B4-BE49-F238E27FC236}">
                      <a16:creationId xmlns:a16="http://schemas.microsoft.com/office/drawing/2014/main" id="{B715EBB9-3E3F-4D08-ACA5-9DC3F8F6B292}"/>
                    </a:ext>
                  </a:extLst>
                </p:cNvPr>
                <p:cNvPicPr/>
                <p:nvPr/>
              </p:nvPicPr>
              <p:blipFill>
                <a:blip r:embed="rId79"/>
                <a:stretch>
                  <a:fillRect/>
                </a:stretch>
              </p:blipFill>
              <p:spPr>
                <a:xfrm>
                  <a:off x="5083857" y="26617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98" name="Ink 97">
                  <a:extLst>
                    <a:ext uri="{FF2B5EF4-FFF2-40B4-BE49-F238E27FC236}">
                      <a16:creationId xmlns:a16="http://schemas.microsoft.com/office/drawing/2014/main" id="{D3A830D0-F0D6-44F5-B9F2-36FF45C191DB}"/>
                    </a:ext>
                  </a:extLst>
                </p14:cNvPr>
                <p14:cNvContentPartPr/>
                <p14:nvPr/>
              </p14:nvContentPartPr>
              <p14:xfrm>
                <a:off x="5131737" y="2589398"/>
                <a:ext cx="61920" cy="89280"/>
              </p14:xfrm>
            </p:contentPart>
          </mc:Choice>
          <mc:Fallback xmlns="">
            <p:pic>
              <p:nvPicPr>
                <p:cNvPr id="98" name="Ink 97">
                  <a:extLst>
                    <a:ext uri="{FF2B5EF4-FFF2-40B4-BE49-F238E27FC236}">
                      <a16:creationId xmlns:a16="http://schemas.microsoft.com/office/drawing/2014/main" id="{D3A830D0-F0D6-44F5-B9F2-36FF45C191DB}"/>
                    </a:ext>
                  </a:extLst>
                </p:cNvPr>
                <p:cNvPicPr/>
                <p:nvPr/>
              </p:nvPicPr>
              <p:blipFill>
                <a:blip r:embed="rId105"/>
                <a:stretch>
                  <a:fillRect/>
                </a:stretch>
              </p:blipFill>
              <p:spPr>
                <a:xfrm>
                  <a:off x="5127417" y="2585078"/>
                  <a:ext cx="7056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99" name="Ink 98">
                  <a:extLst>
                    <a:ext uri="{FF2B5EF4-FFF2-40B4-BE49-F238E27FC236}">
                      <a16:creationId xmlns:a16="http://schemas.microsoft.com/office/drawing/2014/main" id="{20F5E6BA-171F-4F0C-A1E4-124FE3399DBA}"/>
                    </a:ext>
                  </a:extLst>
                </p14:cNvPr>
                <p14:cNvContentPartPr/>
                <p14:nvPr/>
              </p14:nvContentPartPr>
              <p14:xfrm>
                <a:off x="5229297" y="2595518"/>
                <a:ext cx="60840" cy="72360"/>
              </p14:xfrm>
            </p:contentPart>
          </mc:Choice>
          <mc:Fallback xmlns="">
            <p:pic>
              <p:nvPicPr>
                <p:cNvPr id="99" name="Ink 98">
                  <a:extLst>
                    <a:ext uri="{FF2B5EF4-FFF2-40B4-BE49-F238E27FC236}">
                      <a16:creationId xmlns:a16="http://schemas.microsoft.com/office/drawing/2014/main" id="{20F5E6BA-171F-4F0C-A1E4-124FE3399DBA}"/>
                    </a:ext>
                  </a:extLst>
                </p:cNvPr>
                <p:cNvPicPr/>
                <p:nvPr/>
              </p:nvPicPr>
              <p:blipFill>
                <a:blip r:embed="rId107"/>
                <a:stretch>
                  <a:fillRect/>
                </a:stretch>
              </p:blipFill>
              <p:spPr>
                <a:xfrm>
                  <a:off x="5224977" y="2591198"/>
                  <a:ext cx="69480" cy="81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8">
            <p14:nvContentPartPr>
              <p14:cNvPr id="101" name="Ink 100">
                <a:extLst>
                  <a:ext uri="{FF2B5EF4-FFF2-40B4-BE49-F238E27FC236}">
                    <a16:creationId xmlns:a16="http://schemas.microsoft.com/office/drawing/2014/main" id="{D9CAB537-CA15-47F7-898B-A67370E7504E}"/>
                  </a:ext>
                </a:extLst>
              </p14:cNvPr>
              <p14:cNvContentPartPr/>
              <p14:nvPr/>
            </p14:nvContentPartPr>
            <p14:xfrm>
              <a:off x="7435596" y="3135731"/>
              <a:ext cx="118560" cy="480"/>
            </p14:xfrm>
          </p:contentPart>
        </mc:Choice>
        <mc:Fallback>
          <p:pic>
            <p:nvPicPr>
              <p:cNvPr id="101" name="Ink 100">
                <a:extLst>
                  <a:ext uri="{FF2B5EF4-FFF2-40B4-BE49-F238E27FC236}">
                    <a16:creationId xmlns:a16="http://schemas.microsoft.com/office/drawing/2014/main" id="{D9CAB537-CA15-47F7-898B-A67370E7504E}"/>
                  </a:ext>
                </a:extLst>
              </p:cNvPr>
              <p:cNvPicPr/>
              <p:nvPr/>
            </p:nvPicPr>
            <p:blipFill>
              <a:blip r:embed="rId109"/>
              <a:stretch>
                <a:fillRect/>
              </a:stretch>
            </p:blipFill>
            <p:spPr>
              <a:xfrm>
                <a:off x="7431272" y="3129971"/>
                <a:ext cx="127209" cy="12000"/>
              </a:xfrm>
              <a:prstGeom prst="rect">
                <a:avLst/>
              </a:prstGeom>
            </p:spPr>
          </p:pic>
        </mc:Fallback>
      </mc:AlternateContent>
      <p:grpSp>
        <p:nvGrpSpPr>
          <p:cNvPr id="104" name="Group 103">
            <a:extLst>
              <a:ext uri="{FF2B5EF4-FFF2-40B4-BE49-F238E27FC236}">
                <a16:creationId xmlns:a16="http://schemas.microsoft.com/office/drawing/2014/main" id="{673549E1-D675-42AA-BE35-08B353582A17}"/>
              </a:ext>
            </a:extLst>
          </p:cNvPr>
          <p:cNvGrpSpPr/>
          <p:nvPr/>
        </p:nvGrpSpPr>
        <p:grpSpPr>
          <a:xfrm>
            <a:off x="7445196" y="3221651"/>
            <a:ext cx="148800" cy="7680"/>
            <a:chOff x="5583897" y="2416238"/>
            <a:chExt cx="111600" cy="5760"/>
          </a:xfrm>
        </p:grpSpPr>
        <mc:AlternateContent xmlns:mc="http://schemas.openxmlformats.org/markup-compatibility/2006" xmlns:p14="http://schemas.microsoft.com/office/powerpoint/2010/main">
          <mc:Choice Requires="p14">
            <p:contentPart p14:bwMode="auto" r:id="rId110">
              <p14:nvContentPartPr>
                <p14:cNvPr id="102" name="Ink 101">
                  <a:extLst>
                    <a:ext uri="{FF2B5EF4-FFF2-40B4-BE49-F238E27FC236}">
                      <a16:creationId xmlns:a16="http://schemas.microsoft.com/office/drawing/2014/main" id="{385105F5-29F1-4053-8C51-F613A2E39263}"/>
                    </a:ext>
                  </a:extLst>
                </p14:cNvPr>
                <p14:cNvContentPartPr/>
                <p14:nvPr/>
              </p14:nvContentPartPr>
              <p14:xfrm>
                <a:off x="5583897" y="2416238"/>
                <a:ext cx="37440" cy="5760"/>
              </p14:xfrm>
            </p:contentPart>
          </mc:Choice>
          <mc:Fallback xmlns="">
            <p:pic>
              <p:nvPicPr>
                <p:cNvPr id="102" name="Ink 101">
                  <a:extLst>
                    <a:ext uri="{FF2B5EF4-FFF2-40B4-BE49-F238E27FC236}">
                      <a16:creationId xmlns:a16="http://schemas.microsoft.com/office/drawing/2014/main" id="{385105F5-29F1-4053-8C51-F613A2E39263}"/>
                    </a:ext>
                  </a:extLst>
                </p:cNvPr>
                <p:cNvPicPr/>
                <p:nvPr/>
              </p:nvPicPr>
              <p:blipFill>
                <a:blip r:embed="rId111"/>
                <a:stretch>
                  <a:fillRect/>
                </a:stretch>
              </p:blipFill>
              <p:spPr>
                <a:xfrm>
                  <a:off x="5579577" y="2411918"/>
                  <a:ext cx="46080" cy="1440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103" name="Ink 102">
                  <a:extLst>
                    <a:ext uri="{FF2B5EF4-FFF2-40B4-BE49-F238E27FC236}">
                      <a16:creationId xmlns:a16="http://schemas.microsoft.com/office/drawing/2014/main" id="{397FCE79-ED80-4ED5-A468-FF0165DA9002}"/>
                    </a:ext>
                  </a:extLst>
                </p14:cNvPr>
                <p14:cNvContentPartPr/>
                <p14:nvPr/>
              </p14:nvContentPartPr>
              <p14:xfrm>
                <a:off x="5597937" y="2421638"/>
                <a:ext cx="97560" cy="360"/>
              </p14:xfrm>
            </p:contentPart>
          </mc:Choice>
          <mc:Fallback xmlns="">
            <p:pic>
              <p:nvPicPr>
                <p:cNvPr id="103" name="Ink 102">
                  <a:extLst>
                    <a:ext uri="{FF2B5EF4-FFF2-40B4-BE49-F238E27FC236}">
                      <a16:creationId xmlns:a16="http://schemas.microsoft.com/office/drawing/2014/main" id="{397FCE79-ED80-4ED5-A468-FF0165DA9002}"/>
                    </a:ext>
                  </a:extLst>
                </p:cNvPr>
                <p:cNvPicPr/>
                <p:nvPr/>
              </p:nvPicPr>
              <p:blipFill>
                <a:blip r:embed="rId113"/>
                <a:stretch>
                  <a:fillRect/>
                </a:stretch>
              </p:blipFill>
              <p:spPr>
                <a:xfrm>
                  <a:off x="5593617" y="2417318"/>
                  <a:ext cx="106200" cy="9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14">
            <p14:nvContentPartPr>
              <p14:cNvPr id="2" name="Ink 1">
                <a:extLst>
                  <a:ext uri="{FF2B5EF4-FFF2-40B4-BE49-F238E27FC236}">
                    <a16:creationId xmlns:a16="http://schemas.microsoft.com/office/drawing/2014/main" id="{AF1A041E-327B-40B5-992B-4A3A7F599E35}"/>
                  </a:ext>
                </a:extLst>
              </p14:cNvPr>
              <p14:cNvContentPartPr/>
              <p14:nvPr/>
            </p14:nvContentPartPr>
            <p14:xfrm>
              <a:off x="12480" y="685920"/>
              <a:ext cx="11405280" cy="5486880"/>
            </p14:xfrm>
          </p:contentPart>
        </mc:Choice>
        <mc:Fallback>
          <p:pic>
            <p:nvPicPr>
              <p:cNvPr id="2" name="Ink 1">
                <a:extLst>
                  <a:ext uri="{FF2B5EF4-FFF2-40B4-BE49-F238E27FC236}">
                    <a16:creationId xmlns:a16="http://schemas.microsoft.com/office/drawing/2014/main" id="{AF1A041E-327B-40B5-992B-4A3A7F599E35}"/>
                  </a:ext>
                </a:extLst>
              </p:cNvPr>
              <p:cNvPicPr/>
              <p:nvPr/>
            </p:nvPicPr>
            <p:blipFill>
              <a:blip r:embed="rId115"/>
              <a:stretch>
                <a:fillRect/>
              </a:stretch>
            </p:blipFill>
            <p:spPr>
              <a:xfrm>
                <a:off x="3120" y="676560"/>
                <a:ext cx="11424000" cy="5505600"/>
              </a:xfrm>
              <a:prstGeom prst="rect">
                <a:avLst/>
              </a:prstGeom>
            </p:spPr>
          </p:pic>
        </mc:Fallback>
      </mc:AlternateContent>
    </p:spTree>
    <p:extLst>
      <p:ext uri="{BB962C8B-B14F-4D97-AF65-F5344CB8AC3E}">
        <p14:creationId xmlns:p14="http://schemas.microsoft.com/office/powerpoint/2010/main" val="1236711108"/>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ECB27-EAA2-4EE0-A357-855C3ABB6A5B}"/>
              </a:ext>
            </a:extLst>
          </p:cNvPr>
          <p:cNvSpPr>
            <a:spLocks noGrp="1"/>
          </p:cNvSpPr>
          <p:nvPr>
            <p:ph type="title"/>
          </p:nvPr>
        </p:nvSpPr>
        <p:spPr>
          <a:xfrm>
            <a:off x="0" y="0"/>
            <a:ext cx="10607040" cy="853440"/>
          </a:xfrm>
        </p:spPr>
        <p:txBody>
          <a:bodyPr/>
          <a:lstStyle/>
          <a:p>
            <a:r>
              <a:rPr lang="en-US" dirty="0"/>
              <a:t>Harmonic Mean - </a:t>
            </a:r>
            <a:r>
              <a:rPr lang="en-US" sz="3200" dirty="0">
                <a:solidFill>
                  <a:schemeClr val="bg2">
                    <a:lumMod val="50000"/>
                    <a:lumOff val="50000"/>
                  </a:schemeClr>
                </a:solidFill>
              </a:rPr>
              <a:t>Continued</a:t>
            </a:r>
            <a:endParaRPr lang="en-US" dirty="0">
              <a:solidFill>
                <a:schemeClr val="bg2">
                  <a:lumMod val="50000"/>
                  <a:lumOff val="50000"/>
                </a:schemeClr>
              </a:solidFill>
            </a:endParaRPr>
          </a:p>
        </p:txBody>
      </p:sp>
      <p:sp>
        <p:nvSpPr>
          <p:cNvPr id="4" name="Content Placeholder 3">
            <a:extLst>
              <a:ext uri="{FF2B5EF4-FFF2-40B4-BE49-F238E27FC236}">
                <a16:creationId xmlns:a16="http://schemas.microsoft.com/office/drawing/2014/main" id="{B5302A69-3D48-4326-8584-D4306A30249E}"/>
              </a:ext>
            </a:extLst>
          </p:cNvPr>
          <p:cNvSpPr>
            <a:spLocks noGrp="1"/>
          </p:cNvSpPr>
          <p:nvPr>
            <p:ph sz="half" idx="1"/>
          </p:nvPr>
        </p:nvSpPr>
        <p:spPr>
          <a:xfrm>
            <a:off x="235464" y="1139510"/>
            <a:ext cx="10607040" cy="5081551"/>
          </a:xfrm>
        </p:spPr>
        <p:txBody>
          <a:bodyPr/>
          <a:lstStyle/>
          <a:p>
            <a:r>
              <a:rPr lang="en-US" dirty="0">
                <a:solidFill>
                  <a:schemeClr val="bg2">
                    <a:lumMod val="50000"/>
                    <a:lumOff val="50000"/>
                  </a:schemeClr>
                </a:solidFill>
                <a:latin typeface="Inter"/>
              </a:rPr>
              <a:t>The Harmonic mean is the reciprocal of the average of the reciprocals</a:t>
            </a:r>
          </a:p>
          <a:p>
            <a:r>
              <a:rPr lang="en-US" dirty="0">
                <a:solidFill>
                  <a:schemeClr val="bg2">
                    <a:lumMod val="50000"/>
                    <a:lumOff val="50000"/>
                  </a:schemeClr>
                </a:solidFill>
                <a:latin typeface="Inter"/>
              </a:rPr>
              <a:t>The formula is : </a:t>
            </a:r>
          </a:p>
          <a:p>
            <a:pPr lvl="1"/>
            <a:endParaRPr lang="en-US" dirty="0"/>
          </a:p>
        </p:txBody>
      </p:sp>
      <p:pic>
        <p:nvPicPr>
          <p:cNvPr id="6" name="Picture 5">
            <a:extLst>
              <a:ext uri="{FF2B5EF4-FFF2-40B4-BE49-F238E27FC236}">
                <a16:creationId xmlns:a16="http://schemas.microsoft.com/office/drawing/2014/main" id="{1E1A9138-205F-4B7A-8E4D-495313CAAA7C}"/>
              </a:ext>
            </a:extLst>
          </p:cNvPr>
          <p:cNvPicPr>
            <a:picLocks noChangeAspect="1"/>
          </p:cNvPicPr>
          <p:nvPr/>
        </p:nvPicPr>
        <p:blipFill>
          <a:blip r:embed="rId2"/>
          <a:stretch>
            <a:fillRect/>
          </a:stretch>
        </p:blipFill>
        <p:spPr>
          <a:xfrm>
            <a:off x="1263408" y="2094094"/>
            <a:ext cx="7721529" cy="716581"/>
          </a:xfrm>
          <a:prstGeom prst="rect">
            <a:avLst/>
          </a:prstGeom>
        </p:spPr>
      </p:pic>
      <p:sp>
        <p:nvSpPr>
          <p:cNvPr id="7" name="TextBox 6">
            <a:extLst>
              <a:ext uri="{FF2B5EF4-FFF2-40B4-BE49-F238E27FC236}">
                <a16:creationId xmlns:a16="http://schemas.microsoft.com/office/drawing/2014/main" id="{DDA14BC5-E68B-44F9-AF61-3F4A96899004}"/>
              </a:ext>
            </a:extLst>
          </p:cNvPr>
          <p:cNvSpPr txBox="1"/>
          <p:nvPr/>
        </p:nvSpPr>
        <p:spPr>
          <a:xfrm>
            <a:off x="2842823" y="2686375"/>
            <a:ext cx="6670701" cy="379656"/>
          </a:xfrm>
          <a:prstGeom prst="rect">
            <a:avLst/>
          </a:prstGeom>
          <a:noFill/>
        </p:spPr>
        <p:txBody>
          <a:bodyPr wrap="square" rtlCol="0">
            <a:spAutoFit/>
          </a:bodyPr>
          <a:lstStyle/>
          <a:p>
            <a:pPr marL="380990" indent="-380990" defTabSz="1219170" fontAlgn="base">
              <a:buClr>
                <a:srgbClr val="007DB8"/>
              </a:buClr>
              <a:buFont typeface="Wingdings" panose="05000000000000000000" pitchFamily="2" charset="2"/>
              <a:buChar char="q"/>
            </a:pPr>
            <a:r>
              <a:rPr lang="en-US" sz="1867" i="1" dirty="0">
                <a:solidFill>
                  <a:srgbClr val="000000"/>
                </a:solidFill>
                <a:latin typeface="Arial"/>
              </a:rPr>
              <a:t>a1, a2,a3,.. are the values and n being how many values</a:t>
            </a:r>
          </a:p>
        </p:txBody>
      </p:sp>
      <p:sp>
        <p:nvSpPr>
          <p:cNvPr id="9" name="TextBox 8">
            <a:extLst>
              <a:ext uri="{FF2B5EF4-FFF2-40B4-BE49-F238E27FC236}">
                <a16:creationId xmlns:a16="http://schemas.microsoft.com/office/drawing/2014/main" id="{E971881A-FAFB-4FE7-9BFB-69C4060B8AA2}"/>
              </a:ext>
            </a:extLst>
          </p:cNvPr>
          <p:cNvSpPr txBox="1"/>
          <p:nvPr/>
        </p:nvSpPr>
        <p:spPr>
          <a:xfrm>
            <a:off x="93067" y="3405151"/>
            <a:ext cx="11559135" cy="1569660"/>
          </a:xfrm>
          <a:prstGeom prst="rect">
            <a:avLst/>
          </a:prstGeom>
          <a:noFill/>
        </p:spPr>
        <p:txBody>
          <a:bodyPr wrap="square" rtlCol="0">
            <a:spAutoFit/>
          </a:bodyPr>
          <a:lstStyle/>
          <a:p>
            <a:pPr defTabSz="1219170" fontAlgn="base">
              <a:buClr>
                <a:srgbClr val="007DB8"/>
              </a:buClr>
            </a:pPr>
            <a:r>
              <a:rPr lang="en-US" sz="2400" b="1" dirty="0">
                <a:solidFill>
                  <a:srgbClr val="000000">
                    <a:lumMod val="50000"/>
                    <a:lumOff val="50000"/>
                  </a:srgbClr>
                </a:solidFill>
                <a:latin typeface="Inter"/>
                <a:cs typeface="Arial" panose="020B0604020202020204" pitchFamily="34" charset="0"/>
              </a:rPr>
              <a:t>Why Harmonic Mean ?</a:t>
            </a:r>
          </a:p>
          <a:p>
            <a:pPr defTabSz="1219170" fontAlgn="base">
              <a:buClr>
                <a:srgbClr val="007DB8"/>
              </a:buClr>
            </a:pPr>
            <a:endParaRPr lang="en-US" sz="2400" dirty="0">
              <a:solidFill>
                <a:srgbClr val="000000">
                  <a:lumMod val="50000"/>
                  <a:lumOff val="50000"/>
                </a:srgbClr>
              </a:solidFill>
              <a:latin typeface="Inter"/>
              <a:cs typeface="Arial" panose="020B0604020202020204" pitchFamily="34" charset="0"/>
            </a:endParaRPr>
          </a:p>
          <a:p>
            <a:pPr marL="380990" indent="-380990" defTabSz="1219170" fontAlgn="base">
              <a:buClr>
                <a:srgbClr val="007DB8"/>
              </a:buClr>
              <a:buFont typeface="Wingdings" panose="05000000000000000000" pitchFamily="2" charset="2"/>
              <a:buChar char="q"/>
            </a:pPr>
            <a:r>
              <a:rPr lang="en-US" sz="2400" dirty="0">
                <a:solidFill>
                  <a:srgbClr val="000000">
                    <a:lumMod val="50000"/>
                    <a:lumOff val="50000"/>
                  </a:srgbClr>
                </a:solidFill>
                <a:latin typeface="Inter"/>
                <a:cs typeface="Arial" panose="020B0604020202020204" pitchFamily="34" charset="0"/>
              </a:rPr>
              <a:t>Ex : Example : A car is travelling at 80 km/</a:t>
            </a:r>
            <a:r>
              <a:rPr lang="en-US" sz="2400" dirty="0" err="1">
                <a:solidFill>
                  <a:srgbClr val="000000">
                    <a:lumMod val="50000"/>
                    <a:lumOff val="50000"/>
                  </a:srgbClr>
                </a:solidFill>
                <a:latin typeface="Inter"/>
                <a:cs typeface="Arial" panose="020B0604020202020204" pitchFamily="34" charset="0"/>
              </a:rPr>
              <a:t>hr</a:t>
            </a:r>
            <a:r>
              <a:rPr lang="en-US" sz="2400" dirty="0">
                <a:solidFill>
                  <a:srgbClr val="000000">
                    <a:lumMod val="50000"/>
                    <a:lumOff val="50000"/>
                  </a:srgbClr>
                </a:solidFill>
                <a:latin typeface="Inter"/>
                <a:cs typeface="Arial" panose="020B0604020202020204" pitchFamily="34" charset="0"/>
              </a:rPr>
              <a:t> for 20km and then a another 20km at 50 km/</a:t>
            </a:r>
            <a:r>
              <a:rPr lang="en-US" sz="2400" dirty="0" err="1">
                <a:solidFill>
                  <a:srgbClr val="000000">
                    <a:lumMod val="50000"/>
                    <a:lumOff val="50000"/>
                  </a:srgbClr>
                </a:solidFill>
                <a:latin typeface="Inter"/>
                <a:cs typeface="Arial" panose="020B0604020202020204" pitchFamily="34" charset="0"/>
              </a:rPr>
              <a:t>hr</a:t>
            </a:r>
            <a:r>
              <a:rPr lang="en-US" sz="2400" dirty="0">
                <a:solidFill>
                  <a:srgbClr val="000000">
                    <a:lumMod val="50000"/>
                    <a:lumOff val="50000"/>
                  </a:srgbClr>
                </a:solidFill>
                <a:latin typeface="Inter"/>
                <a:cs typeface="Arial" panose="020B0604020202020204" pitchFamily="34" charset="0"/>
              </a:rPr>
              <a:t>, what is cars average speed? </a:t>
            </a:r>
          </a:p>
        </p:txBody>
      </p:sp>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80313EDD-F541-48DA-9E19-9830F041F4AA}"/>
                  </a:ext>
                </a:extLst>
              </p14:cNvPr>
              <p14:cNvContentPartPr/>
              <p14:nvPr/>
            </p14:nvContentPartPr>
            <p14:xfrm>
              <a:off x="692160" y="6240"/>
              <a:ext cx="11043360" cy="6274560"/>
            </p14:xfrm>
          </p:contentPart>
        </mc:Choice>
        <mc:Fallback>
          <p:pic>
            <p:nvPicPr>
              <p:cNvPr id="2" name="Ink 1">
                <a:extLst>
                  <a:ext uri="{FF2B5EF4-FFF2-40B4-BE49-F238E27FC236}">
                    <a16:creationId xmlns:a16="http://schemas.microsoft.com/office/drawing/2014/main" id="{80313EDD-F541-48DA-9E19-9830F041F4AA}"/>
                  </a:ext>
                </a:extLst>
              </p:cNvPr>
              <p:cNvPicPr/>
              <p:nvPr/>
            </p:nvPicPr>
            <p:blipFill>
              <a:blip r:embed="rId4"/>
              <a:stretch>
                <a:fillRect/>
              </a:stretch>
            </p:blipFill>
            <p:spPr>
              <a:xfrm>
                <a:off x="682800" y="-3120"/>
                <a:ext cx="11062080" cy="6293280"/>
              </a:xfrm>
              <a:prstGeom prst="rect">
                <a:avLst/>
              </a:prstGeom>
            </p:spPr>
          </p:pic>
        </mc:Fallback>
      </mc:AlternateContent>
    </p:spTree>
    <p:extLst>
      <p:ext uri="{BB962C8B-B14F-4D97-AF65-F5344CB8AC3E}">
        <p14:creationId xmlns:p14="http://schemas.microsoft.com/office/powerpoint/2010/main" val="3158841867"/>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CFC01E-EA6B-43E8-BBC9-193147DFA0CA}"/>
              </a:ext>
            </a:extLst>
          </p:cNvPr>
          <p:cNvSpPr>
            <a:spLocks noGrp="1"/>
          </p:cNvSpPr>
          <p:nvPr>
            <p:ph type="title"/>
          </p:nvPr>
        </p:nvSpPr>
        <p:spPr>
          <a:xfrm>
            <a:off x="133088" y="37308"/>
            <a:ext cx="10607040" cy="853440"/>
          </a:xfrm>
        </p:spPr>
        <p:txBody>
          <a:bodyPr/>
          <a:lstStyle/>
          <a:p>
            <a:r>
              <a:rPr lang="en-US" dirty="0"/>
              <a:t>Harmonic Mean</a:t>
            </a:r>
          </a:p>
        </p:txBody>
      </p:sp>
      <p:sp>
        <p:nvSpPr>
          <p:cNvPr id="4" name="Content Placeholder 3">
            <a:extLst>
              <a:ext uri="{FF2B5EF4-FFF2-40B4-BE49-F238E27FC236}">
                <a16:creationId xmlns:a16="http://schemas.microsoft.com/office/drawing/2014/main" id="{E713E63C-EBD1-4963-862B-4E27D9C33808}"/>
              </a:ext>
            </a:extLst>
          </p:cNvPr>
          <p:cNvSpPr>
            <a:spLocks noGrp="1"/>
          </p:cNvSpPr>
          <p:nvPr>
            <p:ph sz="half" idx="1"/>
          </p:nvPr>
        </p:nvSpPr>
        <p:spPr>
          <a:xfrm>
            <a:off x="133088" y="854255"/>
            <a:ext cx="11956536" cy="5149491"/>
          </a:xfrm>
        </p:spPr>
        <p:txBody>
          <a:bodyPr/>
          <a:lstStyle/>
          <a:p>
            <a:pPr>
              <a:buFont typeface="Wingdings" panose="05000000000000000000" pitchFamily="2" charset="2"/>
              <a:buChar char="q"/>
            </a:pPr>
            <a:r>
              <a:rPr lang="en-US" sz="2667" b="1" dirty="0">
                <a:solidFill>
                  <a:schemeClr val="bg2">
                    <a:lumMod val="50000"/>
                    <a:lumOff val="50000"/>
                  </a:schemeClr>
                </a:solidFill>
                <a:latin typeface="Inter"/>
              </a:rPr>
              <a:t>Find harmonic mean of 4, 6, 8, 100  </a:t>
            </a:r>
          </a:p>
          <a:p>
            <a:endParaRPr lang="en-US" dirty="0">
              <a:solidFill>
                <a:schemeClr val="bg2">
                  <a:lumMod val="50000"/>
                  <a:lumOff val="50000"/>
                </a:schemeClr>
              </a:solidFill>
              <a:latin typeface="Inter"/>
            </a:endParaRPr>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89AB6DF0-C46A-401B-8F25-361DE9DDA6D7}"/>
                  </a:ext>
                </a:extLst>
              </p14:cNvPr>
              <p14:cNvContentPartPr/>
              <p14:nvPr/>
            </p14:nvContentPartPr>
            <p14:xfrm>
              <a:off x="831840" y="736800"/>
              <a:ext cx="9411360" cy="5289600"/>
            </p14:xfrm>
          </p:contentPart>
        </mc:Choice>
        <mc:Fallback>
          <p:pic>
            <p:nvPicPr>
              <p:cNvPr id="2" name="Ink 1">
                <a:extLst>
                  <a:ext uri="{FF2B5EF4-FFF2-40B4-BE49-F238E27FC236}">
                    <a16:creationId xmlns:a16="http://schemas.microsoft.com/office/drawing/2014/main" id="{89AB6DF0-C46A-401B-8F25-361DE9DDA6D7}"/>
                  </a:ext>
                </a:extLst>
              </p:cNvPr>
              <p:cNvPicPr/>
              <p:nvPr/>
            </p:nvPicPr>
            <p:blipFill>
              <a:blip r:embed="rId3"/>
              <a:stretch>
                <a:fillRect/>
              </a:stretch>
            </p:blipFill>
            <p:spPr>
              <a:xfrm>
                <a:off x="822480" y="727440"/>
                <a:ext cx="9430080" cy="5308320"/>
              </a:xfrm>
              <a:prstGeom prst="rect">
                <a:avLst/>
              </a:prstGeom>
            </p:spPr>
          </p:pic>
        </mc:Fallback>
      </mc:AlternateContent>
    </p:spTree>
    <p:extLst>
      <p:ext uri="{BB962C8B-B14F-4D97-AF65-F5344CB8AC3E}">
        <p14:creationId xmlns:p14="http://schemas.microsoft.com/office/powerpoint/2010/main" val="3983213857"/>
      </p:ext>
    </p:extLst>
  </p:cSld>
  <p:clrMapOvr>
    <a:masterClrMapping/>
  </p:clrMapOvr>
  <p:transition spd="med">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CBCE88-F32A-46E6-B441-39E55F5DE739}"/>
              </a:ext>
            </a:extLst>
          </p:cNvPr>
          <p:cNvSpPr>
            <a:spLocks noGrp="1"/>
          </p:cNvSpPr>
          <p:nvPr>
            <p:ph type="title"/>
          </p:nvPr>
        </p:nvSpPr>
        <p:spPr>
          <a:xfrm>
            <a:off x="0" y="0"/>
            <a:ext cx="10607040" cy="853440"/>
          </a:xfrm>
        </p:spPr>
        <p:txBody>
          <a:bodyPr/>
          <a:lstStyle/>
          <a:p>
            <a:r>
              <a:rPr lang="en-US" dirty="0"/>
              <a:t>Conclusion : Mean, Median, Mode</a:t>
            </a:r>
          </a:p>
        </p:txBody>
      </p:sp>
      <p:sp>
        <p:nvSpPr>
          <p:cNvPr id="4" name="Content Placeholder 3">
            <a:extLst>
              <a:ext uri="{FF2B5EF4-FFF2-40B4-BE49-F238E27FC236}">
                <a16:creationId xmlns:a16="http://schemas.microsoft.com/office/drawing/2014/main" id="{0A4320CA-59D2-4476-A3FC-D912E3A0EBDE}"/>
              </a:ext>
            </a:extLst>
          </p:cNvPr>
          <p:cNvSpPr>
            <a:spLocks noGrp="1"/>
          </p:cNvSpPr>
          <p:nvPr>
            <p:ph sz="half" idx="1"/>
          </p:nvPr>
        </p:nvSpPr>
        <p:spPr>
          <a:xfrm>
            <a:off x="207543" y="993041"/>
            <a:ext cx="10607040" cy="4023360"/>
          </a:xfrm>
        </p:spPr>
        <p:txBody>
          <a:bodyPr>
            <a:normAutofit lnSpcReduction="10000"/>
          </a:bodyPr>
          <a:lstStyle/>
          <a:p>
            <a:r>
              <a:rPr lang="en-US" sz="3733" b="1" dirty="0">
                <a:solidFill>
                  <a:schemeClr val="bg2">
                    <a:lumMod val="50000"/>
                    <a:lumOff val="50000"/>
                  </a:schemeClr>
                </a:solidFill>
              </a:rPr>
              <a:t>A measure of central tendency is a measure that tells us where the middle of a bunch of data lies. The three most common measures of central tendency are the mean, the median, and the mode.</a:t>
            </a:r>
          </a:p>
          <a:p>
            <a:r>
              <a:rPr lang="en-US" sz="3733" b="1" dirty="0">
                <a:solidFill>
                  <a:schemeClr val="bg2">
                    <a:lumMod val="50000"/>
                    <a:lumOff val="50000"/>
                  </a:schemeClr>
                </a:solidFill>
              </a:rPr>
              <a:t>Use the one that best suits your data. Or better still use all three !</a:t>
            </a:r>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6BFDE2F2-DE22-486D-91B9-21C972791578}"/>
                  </a:ext>
                </a:extLst>
              </p14:cNvPr>
              <p14:cNvContentPartPr/>
              <p14:nvPr/>
            </p14:nvContentPartPr>
            <p14:xfrm>
              <a:off x="432000" y="1486080"/>
              <a:ext cx="10687200" cy="4597920"/>
            </p14:xfrm>
          </p:contentPart>
        </mc:Choice>
        <mc:Fallback>
          <p:pic>
            <p:nvPicPr>
              <p:cNvPr id="2" name="Ink 1">
                <a:extLst>
                  <a:ext uri="{FF2B5EF4-FFF2-40B4-BE49-F238E27FC236}">
                    <a16:creationId xmlns:a16="http://schemas.microsoft.com/office/drawing/2014/main" id="{6BFDE2F2-DE22-486D-91B9-21C972791578}"/>
                  </a:ext>
                </a:extLst>
              </p:cNvPr>
              <p:cNvPicPr/>
              <p:nvPr/>
            </p:nvPicPr>
            <p:blipFill>
              <a:blip r:embed="rId3"/>
              <a:stretch>
                <a:fillRect/>
              </a:stretch>
            </p:blipFill>
            <p:spPr>
              <a:xfrm>
                <a:off x="423000" y="1476720"/>
                <a:ext cx="10705920" cy="4616640"/>
              </a:xfrm>
              <a:prstGeom prst="rect">
                <a:avLst/>
              </a:prstGeom>
            </p:spPr>
          </p:pic>
        </mc:Fallback>
      </mc:AlternateContent>
    </p:spTree>
    <p:extLst>
      <p:ext uri="{BB962C8B-B14F-4D97-AF65-F5344CB8AC3E}">
        <p14:creationId xmlns:p14="http://schemas.microsoft.com/office/powerpoint/2010/main" val="142900990"/>
      </p:ext>
    </p:extLst>
  </p:cSld>
  <p:clrMapOvr>
    <a:masterClrMapping/>
  </p:clrMapOvr>
  <p:transition spd="med">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C462B2-9098-4F9E-B15A-40E3AA3A6352}"/>
              </a:ext>
            </a:extLst>
          </p:cNvPr>
          <p:cNvSpPr>
            <a:spLocks noGrp="1"/>
          </p:cNvSpPr>
          <p:nvPr>
            <p:ph type="title"/>
          </p:nvPr>
        </p:nvSpPr>
        <p:spPr>
          <a:xfrm>
            <a:off x="0" y="37308"/>
            <a:ext cx="10607040" cy="853440"/>
          </a:xfrm>
        </p:spPr>
        <p:txBody>
          <a:bodyPr/>
          <a:lstStyle/>
          <a:p>
            <a:r>
              <a:rPr lang="en-US" dirty="0"/>
              <a:t>The Mean from a Frequency Table</a:t>
            </a:r>
          </a:p>
        </p:txBody>
      </p:sp>
      <p:sp>
        <p:nvSpPr>
          <p:cNvPr id="4" name="Content Placeholder 3">
            <a:extLst>
              <a:ext uri="{FF2B5EF4-FFF2-40B4-BE49-F238E27FC236}">
                <a16:creationId xmlns:a16="http://schemas.microsoft.com/office/drawing/2014/main" id="{71B3E98E-0974-4A9D-8EB5-A9CB714EE14D}"/>
              </a:ext>
            </a:extLst>
          </p:cNvPr>
          <p:cNvSpPr>
            <a:spLocks noGrp="1"/>
          </p:cNvSpPr>
          <p:nvPr>
            <p:ph sz="half" idx="1"/>
          </p:nvPr>
        </p:nvSpPr>
        <p:spPr>
          <a:xfrm>
            <a:off x="65149" y="1021045"/>
            <a:ext cx="8971823" cy="1668641"/>
          </a:xfrm>
        </p:spPr>
        <p:txBody>
          <a:bodyPr/>
          <a:lstStyle/>
          <a:p>
            <a:r>
              <a:rPr lang="en-US" dirty="0">
                <a:solidFill>
                  <a:schemeClr val="bg2">
                    <a:lumMod val="50000"/>
                    <a:lumOff val="50000"/>
                  </a:schemeClr>
                </a:solidFill>
                <a:latin typeface="Inter"/>
              </a:rPr>
              <a:t>It is easy to calculate Mean : Add up all the numbers, then divide by how many numbers there are. </a:t>
            </a:r>
          </a:p>
          <a:p>
            <a:pPr lvl="1"/>
            <a:r>
              <a:rPr lang="en-US" sz="1867" dirty="0">
                <a:solidFill>
                  <a:schemeClr val="bg2">
                    <a:lumMod val="50000"/>
                    <a:lumOff val="50000"/>
                  </a:schemeClr>
                </a:solidFill>
                <a:latin typeface="Inter"/>
              </a:rPr>
              <a:t>Ex : What is the Mean of these numbers?</a:t>
            </a:r>
          </a:p>
          <a:p>
            <a:pPr lvl="2"/>
            <a:r>
              <a:rPr lang="en-US" sz="1867" dirty="0">
                <a:solidFill>
                  <a:schemeClr val="bg2">
                    <a:lumMod val="50000"/>
                    <a:lumOff val="50000"/>
                  </a:schemeClr>
                </a:solidFill>
                <a:latin typeface="Inter"/>
              </a:rPr>
              <a:t>6, 11, 7</a:t>
            </a:r>
          </a:p>
          <a:p>
            <a:pPr lvl="2"/>
            <a:r>
              <a:rPr lang="en-US" sz="1867" dirty="0">
                <a:solidFill>
                  <a:schemeClr val="bg2">
                    <a:lumMod val="50000"/>
                    <a:lumOff val="50000"/>
                  </a:schemeClr>
                </a:solidFill>
                <a:latin typeface="Inter"/>
              </a:rPr>
              <a:t>Add the numbers &amp; Divide by 3 : (6 + 11 + 7) / 3. </a:t>
            </a:r>
            <a:r>
              <a:rPr lang="en-US" sz="1867" b="1" i="1" dirty="0">
                <a:solidFill>
                  <a:schemeClr val="bg2">
                    <a:lumMod val="50000"/>
                    <a:lumOff val="50000"/>
                  </a:schemeClr>
                </a:solidFill>
                <a:latin typeface="Inter"/>
              </a:rPr>
              <a:t>Mean is 8 </a:t>
            </a:r>
          </a:p>
          <a:p>
            <a:pPr lvl="2"/>
            <a:endParaRPr lang="en-US" sz="1867" b="1" i="1" dirty="0">
              <a:solidFill>
                <a:schemeClr val="bg2">
                  <a:lumMod val="50000"/>
                  <a:lumOff val="50000"/>
                </a:schemeClr>
              </a:solidFill>
              <a:latin typeface="Inter"/>
            </a:endParaRPr>
          </a:p>
          <a:p>
            <a:pPr lvl="2"/>
            <a:endParaRPr lang="en-US" sz="1867" b="1" i="1" dirty="0">
              <a:solidFill>
                <a:schemeClr val="bg2">
                  <a:lumMod val="50000"/>
                  <a:lumOff val="50000"/>
                </a:schemeClr>
              </a:solidFill>
              <a:latin typeface="Inter"/>
            </a:endParaRPr>
          </a:p>
        </p:txBody>
      </p:sp>
      <p:sp>
        <p:nvSpPr>
          <p:cNvPr id="7" name="TextBox 6">
            <a:extLst>
              <a:ext uri="{FF2B5EF4-FFF2-40B4-BE49-F238E27FC236}">
                <a16:creationId xmlns:a16="http://schemas.microsoft.com/office/drawing/2014/main" id="{CBFD15FC-B763-4689-A555-569FEEEBA5DC}"/>
              </a:ext>
            </a:extLst>
          </p:cNvPr>
          <p:cNvSpPr txBox="1"/>
          <p:nvPr/>
        </p:nvSpPr>
        <p:spPr>
          <a:xfrm>
            <a:off x="65148" y="2940683"/>
            <a:ext cx="9267705" cy="666977"/>
          </a:xfrm>
          <a:prstGeom prst="rect">
            <a:avLst/>
          </a:prstGeom>
          <a:noFill/>
        </p:spPr>
        <p:txBody>
          <a:bodyPr wrap="square" rtlCol="0">
            <a:spAutoFit/>
          </a:bodyPr>
          <a:lstStyle/>
          <a:p>
            <a:pPr defTabSz="1219170" fontAlgn="base">
              <a:buClr>
                <a:srgbClr val="007DB8"/>
              </a:buClr>
            </a:pPr>
            <a:r>
              <a:rPr lang="en-US" sz="1867" dirty="0">
                <a:solidFill>
                  <a:srgbClr val="000000">
                    <a:lumMod val="50000"/>
                    <a:lumOff val="50000"/>
                  </a:srgbClr>
                </a:solidFill>
                <a:latin typeface="Inter"/>
                <a:cs typeface="Arial" panose="020B0604020202020204" pitchFamily="34" charset="0"/>
              </a:rPr>
              <a:t>But sometimes we don't have a simple list of numbers, it might be a </a:t>
            </a:r>
            <a:r>
              <a:rPr lang="en-US" sz="1867" b="1" dirty="0">
                <a:solidFill>
                  <a:srgbClr val="000000">
                    <a:lumMod val="50000"/>
                    <a:lumOff val="50000"/>
                  </a:srgbClr>
                </a:solidFill>
                <a:latin typeface="Inter"/>
                <a:cs typeface="Arial" panose="020B0604020202020204" pitchFamily="34" charset="0"/>
              </a:rPr>
              <a:t>frequency table </a:t>
            </a:r>
            <a:r>
              <a:rPr lang="en-US" sz="1867" dirty="0">
                <a:solidFill>
                  <a:srgbClr val="000000">
                    <a:lumMod val="50000"/>
                    <a:lumOff val="50000"/>
                  </a:srgbClr>
                </a:solidFill>
                <a:latin typeface="Inter"/>
                <a:cs typeface="Arial" panose="020B0604020202020204" pitchFamily="34" charset="0"/>
              </a:rPr>
              <a:t>like this (the "frequency" says how often they occur):</a:t>
            </a:r>
            <a:endParaRPr lang="en-US" sz="1867" dirty="0">
              <a:solidFill>
                <a:srgbClr val="000000"/>
              </a:solidFill>
              <a:latin typeface="Arial"/>
            </a:endParaRPr>
          </a:p>
        </p:txBody>
      </p:sp>
      <p:pic>
        <p:nvPicPr>
          <p:cNvPr id="9" name="Picture 8">
            <a:extLst>
              <a:ext uri="{FF2B5EF4-FFF2-40B4-BE49-F238E27FC236}">
                <a16:creationId xmlns:a16="http://schemas.microsoft.com/office/drawing/2014/main" id="{05C3B33C-63E7-4CA8-AE9F-A05162C62A6E}"/>
              </a:ext>
            </a:extLst>
          </p:cNvPr>
          <p:cNvPicPr>
            <a:picLocks noChangeAspect="1"/>
          </p:cNvPicPr>
          <p:nvPr/>
        </p:nvPicPr>
        <p:blipFill>
          <a:blip r:embed="rId2"/>
          <a:stretch>
            <a:fillRect/>
          </a:stretch>
        </p:blipFill>
        <p:spPr>
          <a:xfrm>
            <a:off x="9232416" y="2252483"/>
            <a:ext cx="2959585" cy="2504951"/>
          </a:xfrm>
          <a:prstGeom prst="rect">
            <a:avLst/>
          </a:prstGeom>
        </p:spPr>
      </p:pic>
      <p:sp>
        <p:nvSpPr>
          <p:cNvPr id="13" name="TextBox 12">
            <a:extLst>
              <a:ext uri="{FF2B5EF4-FFF2-40B4-BE49-F238E27FC236}">
                <a16:creationId xmlns:a16="http://schemas.microsoft.com/office/drawing/2014/main" id="{0A0536CE-DB43-41F4-904B-13D49F0C36A6}"/>
              </a:ext>
            </a:extLst>
          </p:cNvPr>
          <p:cNvSpPr txBox="1"/>
          <p:nvPr/>
        </p:nvSpPr>
        <p:spPr>
          <a:xfrm>
            <a:off x="214058" y="3889308"/>
            <a:ext cx="9418553" cy="461665"/>
          </a:xfrm>
          <a:prstGeom prst="rect">
            <a:avLst/>
          </a:prstGeom>
          <a:noFill/>
        </p:spPr>
        <p:txBody>
          <a:bodyPr wrap="square" rtlCol="0">
            <a:spAutoFit/>
          </a:bodyPr>
          <a:lstStyle/>
          <a:p>
            <a:pPr defTabSz="1219170" fontAlgn="base">
              <a:buClr>
                <a:srgbClr val="007DB8"/>
              </a:buClr>
            </a:pPr>
            <a:r>
              <a:rPr lang="en-US" sz="2400" b="1" dirty="0">
                <a:solidFill>
                  <a:srgbClr val="007DB8"/>
                </a:solidFill>
                <a:latin typeface="Arial" panose="020B0604020202020204" pitchFamily="34" charset="0"/>
                <a:cs typeface="Arial" panose="020B0604020202020204" pitchFamily="34" charset="0"/>
              </a:rPr>
              <a:t>Method 1 : </a:t>
            </a:r>
            <a:r>
              <a:rPr lang="en-US" sz="2400" b="1" dirty="0">
                <a:solidFill>
                  <a:srgbClr val="000000">
                    <a:lumMod val="50000"/>
                    <a:lumOff val="50000"/>
                  </a:srgbClr>
                </a:solidFill>
                <a:latin typeface="Arial" panose="020B0604020202020204" pitchFamily="34" charset="0"/>
                <a:cs typeface="Arial" panose="020B0604020202020204" pitchFamily="34" charset="0"/>
              </a:rPr>
              <a:t>We can list all the numbers</a:t>
            </a:r>
          </a:p>
        </p:txBody>
      </p:sp>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7B890152-396C-4A0B-9F12-241557C4413F}"/>
                  </a:ext>
                </a:extLst>
              </p14:cNvPr>
              <p14:cNvContentPartPr/>
              <p14:nvPr/>
            </p14:nvContentPartPr>
            <p14:xfrm>
              <a:off x="279360" y="165120"/>
              <a:ext cx="11690880" cy="6096480"/>
            </p14:xfrm>
          </p:contentPart>
        </mc:Choice>
        <mc:Fallback>
          <p:pic>
            <p:nvPicPr>
              <p:cNvPr id="2" name="Ink 1">
                <a:extLst>
                  <a:ext uri="{FF2B5EF4-FFF2-40B4-BE49-F238E27FC236}">
                    <a16:creationId xmlns:a16="http://schemas.microsoft.com/office/drawing/2014/main" id="{7B890152-396C-4A0B-9F12-241557C4413F}"/>
                  </a:ext>
                </a:extLst>
              </p:cNvPr>
              <p:cNvPicPr/>
              <p:nvPr/>
            </p:nvPicPr>
            <p:blipFill>
              <a:blip r:embed="rId4"/>
              <a:stretch>
                <a:fillRect/>
              </a:stretch>
            </p:blipFill>
            <p:spPr>
              <a:xfrm>
                <a:off x="270000" y="155760"/>
                <a:ext cx="11709600" cy="6115201"/>
              </a:xfrm>
              <a:prstGeom prst="rect">
                <a:avLst/>
              </a:prstGeom>
            </p:spPr>
          </p:pic>
        </mc:Fallback>
      </mc:AlternateContent>
    </p:spTree>
    <p:extLst>
      <p:ext uri="{BB962C8B-B14F-4D97-AF65-F5344CB8AC3E}">
        <p14:creationId xmlns:p14="http://schemas.microsoft.com/office/powerpoint/2010/main" val="4077311094"/>
      </p:ext>
    </p:extLst>
  </p:cSld>
  <p:clrMapOvr>
    <a:masterClrMapping/>
  </p:clrMapOvr>
  <p:transition spd="med">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247FCC-648D-405D-B74C-DC5AA1A2FA39}"/>
              </a:ext>
            </a:extLst>
          </p:cNvPr>
          <p:cNvSpPr>
            <a:spLocks noGrp="1"/>
          </p:cNvSpPr>
          <p:nvPr>
            <p:ph type="title"/>
          </p:nvPr>
        </p:nvSpPr>
        <p:spPr>
          <a:xfrm>
            <a:off x="0" y="0"/>
            <a:ext cx="10607040" cy="853440"/>
          </a:xfrm>
        </p:spPr>
        <p:txBody>
          <a:bodyPr/>
          <a:lstStyle/>
          <a:p>
            <a:r>
              <a:rPr lang="en-US" dirty="0"/>
              <a:t>The Mean from a Frequency Table - </a:t>
            </a:r>
            <a:r>
              <a:rPr lang="en-US" b="1" dirty="0">
                <a:solidFill>
                  <a:schemeClr val="bg2">
                    <a:lumMod val="50000"/>
                    <a:lumOff val="50000"/>
                  </a:schemeClr>
                </a:solidFill>
              </a:rPr>
              <a:t>Continued</a:t>
            </a:r>
          </a:p>
        </p:txBody>
      </p:sp>
      <p:sp>
        <p:nvSpPr>
          <p:cNvPr id="5" name="Content Placeholder 4">
            <a:extLst>
              <a:ext uri="{FF2B5EF4-FFF2-40B4-BE49-F238E27FC236}">
                <a16:creationId xmlns:a16="http://schemas.microsoft.com/office/drawing/2014/main" id="{CF1C8607-03FF-4056-8357-79E38FF403FC}"/>
              </a:ext>
            </a:extLst>
          </p:cNvPr>
          <p:cNvSpPr txBox="1">
            <a:spLocks noGrp="1"/>
          </p:cNvSpPr>
          <p:nvPr>
            <p:ph sz="half" idx="1"/>
          </p:nvPr>
        </p:nvSpPr>
        <p:spPr>
          <a:xfrm>
            <a:off x="161741" y="930364"/>
            <a:ext cx="10606617" cy="369332"/>
          </a:xfrm>
          <a:prstGeom prst="rect">
            <a:avLst/>
          </a:prstGeom>
          <a:noFill/>
        </p:spPr>
        <p:txBody>
          <a:bodyPr wrap="square" rtlCol="0">
            <a:spAutoFit/>
          </a:bodyPr>
          <a:lstStyle/>
          <a:p>
            <a:pPr marL="0" indent="0">
              <a:spcBef>
                <a:spcPts val="0"/>
              </a:spcBef>
              <a:buClr>
                <a:schemeClr val="bg1"/>
              </a:buClr>
              <a:buNone/>
            </a:pPr>
            <a:r>
              <a:rPr lang="en-US" sz="2400" b="1" dirty="0">
                <a:solidFill>
                  <a:srgbClr val="007DB8"/>
                </a:solidFill>
              </a:rPr>
              <a:t>Method 2 : </a:t>
            </a:r>
            <a:r>
              <a:rPr lang="en-US" sz="2400" b="1" dirty="0">
                <a:solidFill>
                  <a:schemeClr val="bg2">
                    <a:lumMod val="50000"/>
                    <a:lumOff val="50000"/>
                  </a:schemeClr>
                </a:solidFill>
              </a:rPr>
              <a:t>It is easier to use multiplication: </a:t>
            </a:r>
          </a:p>
        </p:txBody>
      </p:sp>
      <p:pic>
        <p:nvPicPr>
          <p:cNvPr id="6" name="Picture 5">
            <a:extLst>
              <a:ext uri="{FF2B5EF4-FFF2-40B4-BE49-F238E27FC236}">
                <a16:creationId xmlns:a16="http://schemas.microsoft.com/office/drawing/2014/main" id="{D12F7D83-572C-4B8E-B64D-C75A5FADBC65}"/>
              </a:ext>
            </a:extLst>
          </p:cNvPr>
          <p:cNvPicPr>
            <a:picLocks noChangeAspect="1"/>
          </p:cNvPicPr>
          <p:nvPr/>
        </p:nvPicPr>
        <p:blipFill>
          <a:blip r:embed="rId2"/>
          <a:stretch>
            <a:fillRect/>
          </a:stretch>
        </p:blipFill>
        <p:spPr>
          <a:xfrm>
            <a:off x="9127248" y="1002430"/>
            <a:ext cx="2959585" cy="2504951"/>
          </a:xfrm>
          <a:prstGeom prst="rect">
            <a:avLst/>
          </a:prstGeom>
        </p:spPr>
      </p:pic>
      <p:pic>
        <p:nvPicPr>
          <p:cNvPr id="8" name="Picture 7">
            <a:extLst>
              <a:ext uri="{FF2B5EF4-FFF2-40B4-BE49-F238E27FC236}">
                <a16:creationId xmlns:a16="http://schemas.microsoft.com/office/drawing/2014/main" id="{C513CFDB-808F-4A44-B1A6-71130FF08E65}"/>
              </a:ext>
            </a:extLst>
          </p:cNvPr>
          <p:cNvPicPr>
            <a:picLocks noChangeAspect="1"/>
          </p:cNvPicPr>
          <p:nvPr/>
        </p:nvPicPr>
        <p:blipFill>
          <a:blip r:embed="rId3"/>
          <a:stretch>
            <a:fillRect/>
          </a:stretch>
        </p:blipFill>
        <p:spPr>
          <a:xfrm>
            <a:off x="2292350" y="5110083"/>
            <a:ext cx="4575175" cy="1385965"/>
          </a:xfrm>
          <a:prstGeom prst="rect">
            <a:avLst/>
          </a:prstGeom>
        </p:spPr>
      </p:pic>
      <p:sp>
        <p:nvSpPr>
          <p:cNvPr id="9" name="TextBox 8">
            <a:extLst>
              <a:ext uri="{FF2B5EF4-FFF2-40B4-BE49-F238E27FC236}">
                <a16:creationId xmlns:a16="http://schemas.microsoft.com/office/drawing/2014/main" id="{45E930DC-77C7-4B7D-8DBE-B633640ED210}"/>
              </a:ext>
            </a:extLst>
          </p:cNvPr>
          <p:cNvSpPr txBox="1"/>
          <p:nvPr/>
        </p:nvSpPr>
        <p:spPr>
          <a:xfrm>
            <a:off x="413025" y="5556845"/>
            <a:ext cx="1781360" cy="461665"/>
          </a:xfrm>
          <a:prstGeom prst="rect">
            <a:avLst/>
          </a:prstGeom>
          <a:noFill/>
        </p:spPr>
        <p:txBody>
          <a:bodyPr wrap="square" rtlCol="0">
            <a:spAutoFit/>
          </a:bodyPr>
          <a:lstStyle/>
          <a:p>
            <a:pPr defTabSz="1219170" fontAlgn="base">
              <a:buClr>
                <a:srgbClr val="007DB8"/>
              </a:buClr>
            </a:pPr>
            <a:r>
              <a:rPr lang="en-US" sz="2400" b="1" dirty="0">
                <a:solidFill>
                  <a:srgbClr val="007DB8"/>
                </a:solidFill>
                <a:latin typeface="Arial"/>
              </a:rPr>
              <a:t>Notation : </a:t>
            </a:r>
            <a:endParaRPr lang="en-US" sz="1867" b="1" dirty="0">
              <a:solidFill>
                <a:srgbClr val="007DB8"/>
              </a:solidFill>
              <a:latin typeface="Arial"/>
            </a:endParaRPr>
          </a:p>
        </p:txBody>
      </p:sp>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EB0A8484-0254-435A-8FFF-62981BAE0561}"/>
                  </a:ext>
                </a:extLst>
              </p14:cNvPr>
              <p14:cNvContentPartPr/>
              <p14:nvPr/>
            </p14:nvContentPartPr>
            <p14:xfrm>
              <a:off x="285600" y="730080"/>
              <a:ext cx="11417760" cy="5411040"/>
            </p14:xfrm>
          </p:contentPart>
        </mc:Choice>
        <mc:Fallback>
          <p:pic>
            <p:nvPicPr>
              <p:cNvPr id="2" name="Ink 1">
                <a:extLst>
                  <a:ext uri="{FF2B5EF4-FFF2-40B4-BE49-F238E27FC236}">
                    <a16:creationId xmlns:a16="http://schemas.microsoft.com/office/drawing/2014/main" id="{EB0A8484-0254-435A-8FFF-62981BAE0561}"/>
                  </a:ext>
                </a:extLst>
              </p:cNvPr>
              <p:cNvPicPr/>
              <p:nvPr/>
            </p:nvPicPr>
            <p:blipFill>
              <a:blip r:embed="rId5"/>
              <a:stretch>
                <a:fillRect/>
              </a:stretch>
            </p:blipFill>
            <p:spPr>
              <a:xfrm>
                <a:off x="276240" y="720720"/>
                <a:ext cx="11436480" cy="5429761"/>
              </a:xfrm>
              <a:prstGeom prst="rect">
                <a:avLst/>
              </a:prstGeom>
            </p:spPr>
          </p:pic>
        </mc:Fallback>
      </mc:AlternateContent>
    </p:spTree>
    <p:extLst>
      <p:ext uri="{BB962C8B-B14F-4D97-AF65-F5344CB8AC3E}">
        <p14:creationId xmlns:p14="http://schemas.microsoft.com/office/powerpoint/2010/main" val="1490276767"/>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F4E04-8B25-441E-9B3E-D8CC37F76D72}"/>
              </a:ext>
            </a:extLst>
          </p:cNvPr>
          <p:cNvSpPr>
            <a:spLocks noGrp="1"/>
          </p:cNvSpPr>
          <p:nvPr>
            <p:ph type="title"/>
          </p:nvPr>
        </p:nvSpPr>
        <p:spPr>
          <a:xfrm>
            <a:off x="0" y="83307"/>
            <a:ext cx="10607040" cy="853440"/>
          </a:xfrm>
        </p:spPr>
        <p:txBody>
          <a:bodyPr/>
          <a:lstStyle/>
          <a:p>
            <a:r>
              <a:rPr lang="en-US" dirty="0"/>
              <a:t>Another example of Mean from a Freq Table</a:t>
            </a:r>
          </a:p>
        </p:txBody>
      </p:sp>
      <p:sp>
        <p:nvSpPr>
          <p:cNvPr id="4" name="Content Placeholder 3">
            <a:extLst>
              <a:ext uri="{FF2B5EF4-FFF2-40B4-BE49-F238E27FC236}">
                <a16:creationId xmlns:a16="http://schemas.microsoft.com/office/drawing/2014/main" id="{29F6A6DF-D96F-4002-BBEA-EFA3FFF52633}"/>
              </a:ext>
            </a:extLst>
          </p:cNvPr>
          <p:cNvSpPr>
            <a:spLocks noGrp="1"/>
          </p:cNvSpPr>
          <p:nvPr>
            <p:ph sz="half" idx="1"/>
          </p:nvPr>
        </p:nvSpPr>
        <p:spPr>
          <a:xfrm>
            <a:off x="114475" y="1095419"/>
            <a:ext cx="10607040" cy="4023360"/>
          </a:xfrm>
        </p:spPr>
        <p:txBody>
          <a:bodyPr/>
          <a:lstStyle/>
          <a:p>
            <a:pPr marL="0" indent="0">
              <a:buNone/>
            </a:pPr>
            <a:r>
              <a:rPr lang="en-US" dirty="0">
                <a:solidFill>
                  <a:schemeClr val="bg2">
                    <a:lumMod val="50000"/>
                    <a:lumOff val="50000"/>
                  </a:schemeClr>
                </a:solidFill>
                <a:latin typeface="Inter"/>
              </a:rPr>
              <a:t>Isabella went up and down the street to find out how many parking spaces each house has. Here are her results:</a:t>
            </a:r>
          </a:p>
          <a:p>
            <a:endParaRPr lang="en-US" dirty="0">
              <a:solidFill>
                <a:srgbClr val="333333"/>
              </a:solidFill>
              <a:latin typeface="Verdana" panose="020B0604030504040204" pitchFamily="34" charset="0"/>
            </a:endParaRPr>
          </a:p>
          <a:p>
            <a:pPr marL="0" indent="0">
              <a:buNone/>
            </a:pPr>
            <a:r>
              <a:rPr lang="en-US" dirty="0">
                <a:solidFill>
                  <a:schemeClr val="bg2">
                    <a:lumMod val="50000"/>
                    <a:lumOff val="50000"/>
                  </a:schemeClr>
                </a:solidFill>
                <a:latin typeface="Inter"/>
              </a:rPr>
              <a:t>What is the mean number of Parking Spaces?</a:t>
            </a:r>
          </a:p>
        </p:txBody>
      </p:sp>
      <p:pic>
        <p:nvPicPr>
          <p:cNvPr id="6" name="Picture 5">
            <a:extLst>
              <a:ext uri="{FF2B5EF4-FFF2-40B4-BE49-F238E27FC236}">
                <a16:creationId xmlns:a16="http://schemas.microsoft.com/office/drawing/2014/main" id="{56085063-4095-4C3B-B988-BF3C9872C324}"/>
              </a:ext>
            </a:extLst>
          </p:cNvPr>
          <p:cNvPicPr>
            <a:picLocks noChangeAspect="1"/>
          </p:cNvPicPr>
          <p:nvPr/>
        </p:nvPicPr>
        <p:blipFill>
          <a:blip r:embed="rId2"/>
          <a:stretch>
            <a:fillRect/>
          </a:stretch>
        </p:blipFill>
        <p:spPr>
          <a:xfrm>
            <a:off x="9171692" y="1486541"/>
            <a:ext cx="2905833" cy="2310663"/>
          </a:xfrm>
          <a:prstGeom prst="rect">
            <a:avLst/>
          </a:prstGeom>
        </p:spPr>
      </p:pic>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2B0AAAE6-4D39-4FB2-8DA0-9D4DDA283891}"/>
                  </a:ext>
                </a:extLst>
              </p14:cNvPr>
              <p14:cNvContentPartPr/>
              <p14:nvPr/>
            </p14:nvContentPartPr>
            <p14:xfrm>
              <a:off x="228480" y="800160"/>
              <a:ext cx="11652960" cy="5537760"/>
            </p14:xfrm>
          </p:contentPart>
        </mc:Choice>
        <mc:Fallback>
          <p:pic>
            <p:nvPicPr>
              <p:cNvPr id="2" name="Ink 1">
                <a:extLst>
                  <a:ext uri="{FF2B5EF4-FFF2-40B4-BE49-F238E27FC236}">
                    <a16:creationId xmlns:a16="http://schemas.microsoft.com/office/drawing/2014/main" id="{2B0AAAE6-4D39-4FB2-8DA0-9D4DDA283891}"/>
                  </a:ext>
                </a:extLst>
              </p:cNvPr>
              <p:cNvPicPr/>
              <p:nvPr/>
            </p:nvPicPr>
            <p:blipFill>
              <a:blip r:embed="rId4"/>
              <a:stretch>
                <a:fillRect/>
              </a:stretch>
            </p:blipFill>
            <p:spPr>
              <a:xfrm>
                <a:off x="219120" y="790800"/>
                <a:ext cx="11671680" cy="5556481"/>
              </a:xfrm>
              <a:prstGeom prst="rect">
                <a:avLst/>
              </a:prstGeom>
            </p:spPr>
          </p:pic>
        </mc:Fallback>
      </mc:AlternateContent>
    </p:spTree>
    <p:extLst>
      <p:ext uri="{BB962C8B-B14F-4D97-AF65-F5344CB8AC3E}">
        <p14:creationId xmlns:p14="http://schemas.microsoft.com/office/powerpoint/2010/main" val="832144514"/>
      </p:ext>
    </p:extLst>
  </p:cSld>
  <p:clrMapOvr>
    <a:masterClrMapping/>
  </p:clrMapOvr>
  <p:transition spd="med">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8465CC-6FD4-40D5-ABD5-0BE485707A80}"/>
              </a:ext>
            </a:extLst>
          </p:cNvPr>
          <p:cNvSpPr>
            <a:spLocks noGrp="1"/>
          </p:cNvSpPr>
          <p:nvPr>
            <p:ph type="title"/>
          </p:nvPr>
        </p:nvSpPr>
        <p:spPr>
          <a:xfrm>
            <a:off x="0" y="37308"/>
            <a:ext cx="10607040" cy="853440"/>
          </a:xfrm>
        </p:spPr>
        <p:txBody>
          <a:bodyPr/>
          <a:lstStyle/>
          <a:p>
            <a:r>
              <a:rPr lang="en-US" dirty="0"/>
              <a:t>Weighted Mean</a:t>
            </a:r>
          </a:p>
        </p:txBody>
      </p:sp>
      <p:sp>
        <p:nvSpPr>
          <p:cNvPr id="4" name="Content Placeholder 3">
            <a:extLst>
              <a:ext uri="{FF2B5EF4-FFF2-40B4-BE49-F238E27FC236}">
                <a16:creationId xmlns:a16="http://schemas.microsoft.com/office/drawing/2014/main" id="{51F75A8C-3E42-4490-9BF3-6D0824C8CED9}"/>
              </a:ext>
            </a:extLst>
          </p:cNvPr>
          <p:cNvSpPr>
            <a:spLocks noGrp="1"/>
          </p:cNvSpPr>
          <p:nvPr>
            <p:ph sz="half" idx="1"/>
          </p:nvPr>
        </p:nvSpPr>
        <p:spPr>
          <a:xfrm>
            <a:off x="0" y="1038782"/>
            <a:ext cx="10339933" cy="5028503"/>
          </a:xfrm>
        </p:spPr>
        <p:txBody>
          <a:bodyPr/>
          <a:lstStyle/>
          <a:p>
            <a:pPr algn="l"/>
            <a:r>
              <a:rPr lang="en-US" dirty="0">
                <a:solidFill>
                  <a:schemeClr val="bg2">
                    <a:lumMod val="50000"/>
                    <a:lumOff val="50000"/>
                  </a:schemeClr>
                </a:solidFill>
                <a:latin typeface="Inter"/>
              </a:rPr>
              <a:t>When we do a simple </a:t>
            </a:r>
            <a:r>
              <a:rPr lang="en-US" dirty="0">
                <a:solidFill>
                  <a:schemeClr val="bg2">
                    <a:lumMod val="50000"/>
                    <a:lumOff val="50000"/>
                  </a:schemeClr>
                </a:solidFill>
                <a:latin typeface="Inter"/>
                <a:hlinkClick r:id="rId2">
                  <a:extLst>
                    <a:ext uri="{A12FA001-AC4F-418D-AE19-62706E023703}">
                      <ahyp:hlinkClr xmlns:ahyp="http://schemas.microsoft.com/office/drawing/2018/hyperlinkcolor" val="tx"/>
                    </a:ext>
                  </a:extLst>
                </a:hlinkClick>
              </a:rPr>
              <a:t>mean</a:t>
            </a:r>
            <a:r>
              <a:rPr lang="en-US" dirty="0">
                <a:solidFill>
                  <a:schemeClr val="bg2">
                    <a:lumMod val="50000"/>
                    <a:lumOff val="50000"/>
                  </a:schemeClr>
                </a:solidFill>
                <a:latin typeface="Inter"/>
              </a:rPr>
              <a:t> (or average), we give equal weight to each number.</a:t>
            </a:r>
          </a:p>
          <a:p>
            <a:pPr algn="l"/>
            <a:r>
              <a:rPr lang="en-US" dirty="0">
                <a:solidFill>
                  <a:schemeClr val="bg2">
                    <a:lumMod val="50000"/>
                    <a:lumOff val="50000"/>
                  </a:schemeClr>
                </a:solidFill>
                <a:latin typeface="Inter"/>
              </a:rPr>
              <a:t>What is the mean of 1, 2, 3 and 4 ? </a:t>
            </a:r>
          </a:p>
          <a:p>
            <a:endParaRPr lang="en-US" dirty="0"/>
          </a:p>
        </p:txBody>
      </p:sp>
      <p:pic>
        <p:nvPicPr>
          <p:cNvPr id="6" name="Picture 5">
            <a:extLst>
              <a:ext uri="{FF2B5EF4-FFF2-40B4-BE49-F238E27FC236}">
                <a16:creationId xmlns:a16="http://schemas.microsoft.com/office/drawing/2014/main" id="{37AAEF72-07AA-4AF0-B6D5-AC806A1EAAEA}"/>
              </a:ext>
            </a:extLst>
          </p:cNvPr>
          <p:cNvPicPr>
            <a:picLocks noChangeAspect="1"/>
          </p:cNvPicPr>
          <p:nvPr/>
        </p:nvPicPr>
        <p:blipFill>
          <a:blip r:embed="rId3"/>
          <a:stretch>
            <a:fillRect/>
          </a:stretch>
        </p:blipFill>
        <p:spPr>
          <a:xfrm>
            <a:off x="10114976" y="1038782"/>
            <a:ext cx="2077025" cy="1436847"/>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C3F33F2B-AB50-4C9F-A62F-3AF5D37E5C22}"/>
                  </a:ext>
                </a:extLst>
              </p14:cNvPr>
              <p14:cNvContentPartPr/>
              <p14:nvPr/>
            </p14:nvContentPartPr>
            <p14:xfrm>
              <a:off x="317280" y="704640"/>
              <a:ext cx="11608320" cy="4947360"/>
            </p14:xfrm>
          </p:contentPart>
        </mc:Choice>
        <mc:Fallback>
          <p:pic>
            <p:nvPicPr>
              <p:cNvPr id="2" name="Ink 1">
                <a:extLst>
                  <a:ext uri="{FF2B5EF4-FFF2-40B4-BE49-F238E27FC236}">
                    <a16:creationId xmlns:a16="http://schemas.microsoft.com/office/drawing/2014/main" id="{C3F33F2B-AB50-4C9F-A62F-3AF5D37E5C22}"/>
                  </a:ext>
                </a:extLst>
              </p:cNvPr>
              <p:cNvPicPr/>
              <p:nvPr/>
            </p:nvPicPr>
            <p:blipFill>
              <a:blip r:embed="rId5"/>
              <a:stretch>
                <a:fillRect/>
              </a:stretch>
            </p:blipFill>
            <p:spPr>
              <a:xfrm>
                <a:off x="307920" y="695280"/>
                <a:ext cx="11627040" cy="4966081"/>
              </a:xfrm>
              <a:prstGeom prst="rect">
                <a:avLst/>
              </a:prstGeom>
            </p:spPr>
          </p:pic>
        </mc:Fallback>
      </mc:AlternateContent>
    </p:spTree>
    <p:extLst>
      <p:ext uri="{BB962C8B-B14F-4D97-AF65-F5344CB8AC3E}">
        <p14:creationId xmlns:p14="http://schemas.microsoft.com/office/powerpoint/2010/main" val="421686646"/>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07897-F972-49B5-A559-CC66DAECA555}"/>
              </a:ext>
            </a:extLst>
          </p:cNvPr>
          <p:cNvSpPr>
            <a:spLocks noGrp="1"/>
          </p:cNvSpPr>
          <p:nvPr>
            <p:ph type="title"/>
          </p:nvPr>
        </p:nvSpPr>
        <p:spPr>
          <a:xfrm>
            <a:off x="95859" y="37308"/>
            <a:ext cx="10607040" cy="853440"/>
          </a:xfrm>
        </p:spPr>
        <p:txBody>
          <a:bodyPr/>
          <a:lstStyle/>
          <a:p>
            <a:r>
              <a:rPr lang="en-US" dirty="0"/>
              <a:t>Weighted Mean</a:t>
            </a:r>
          </a:p>
        </p:txBody>
      </p:sp>
      <p:sp>
        <p:nvSpPr>
          <p:cNvPr id="4" name="Content Placeholder 3">
            <a:extLst>
              <a:ext uri="{FF2B5EF4-FFF2-40B4-BE49-F238E27FC236}">
                <a16:creationId xmlns:a16="http://schemas.microsoft.com/office/drawing/2014/main" id="{8B99626D-700C-462B-8E1D-46027AF50B0A}"/>
              </a:ext>
            </a:extLst>
          </p:cNvPr>
          <p:cNvSpPr>
            <a:spLocks noGrp="1"/>
          </p:cNvSpPr>
          <p:nvPr>
            <p:ph sz="half" idx="1"/>
          </p:nvPr>
        </p:nvSpPr>
        <p:spPr>
          <a:xfrm>
            <a:off x="95859" y="1011656"/>
            <a:ext cx="11007237" cy="4023360"/>
          </a:xfrm>
        </p:spPr>
        <p:txBody>
          <a:bodyPr/>
          <a:lstStyle/>
          <a:p>
            <a:r>
              <a:rPr lang="en-US" dirty="0">
                <a:solidFill>
                  <a:schemeClr val="bg2">
                    <a:lumMod val="50000"/>
                    <a:lumOff val="50000"/>
                  </a:schemeClr>
                </a:solidFill>
                <a:latin typeface="Inter"/>
              </a:rPr>
              <a:t>Now let's change the weight of 3 to 0.7, and the weights of the other numbers to 0.1 </a:t>
            </a:r>
            <a:r>
              <a:rPr lang="en-US" sz="2400" b="1" dirty="0">
                <a:solidFill>
                  <a:schemeClr val="bg2">
                    <a:lumMod val="50000"/>
                    <a:lumOff val="50000"/>
                  </a:schemeClr>
                </a:solidFill>
                <a:latin typeface="Inter"/>
              </a:rPr>
              <a:t>so the total of the weights is still 1:</a:t>
            </a:r>
            <a:endParaRPr lang="en-US" b="1" dirty="0">
              <a:solidFill>
                <a:schemeClr val="bg2">
                  <a:lumMod val="50000"/>
                  <a:lumOff val="50000"/>
                </a:schemeClr>
              </a:solidFill>
              <a:latin typeface="Inter"/>
            </a:endParaRPr>
          </a:p>
        </p:txBody>
      </p:sp>
      <p:pic>
        <p:nvPicPr>
          <p:cNvPr id="6" name="Picture 5">
            <a:extLst>
              <a:ext uri="{FF2B5EF4-FFF2-40B4-BE49-F238E27FC236}">
                <a16:creationId xmlns:a16="http://schemas.microsoft.com/office/drawing/2014/main" id="{0A5A856D-0F57-43ED-9EC3-EAA12B3858F9}"/>
              </a:ext>
            </a:extLst>
          </p:cNvPr>
          <p:cNvPicPr>
            <a:picLocks noChangeAspect="1"/>
          </p:cNvPicPr>
          <p:nvPr/>
        </p:nvPicPr>
        <p:blipFill>
          <a:blip r:embed="rId2"/>
          <a:stretch>
            <a:fillRect/>
          </a:stretch>
        </p:blipFill>
        <p:spPr>
          <a:xfrm>
            <a:off x="9622773" y="1808103"/>
            <a:ext cx="2569228" cy="2119397"/>
          </a:xfrm>
          <a:prstGeom prst="rect">
            <a:avLst/>
          </a:prstGeom>
        </p:spPr>
      </p:pic>
      <p:sp>
        <p:nvSpPr>
          <p:cNvPr id="7" name="TextBox 6">
            <a:extLst>
              <a:ext uri="{FF2B5EF4-FFF2-40B4-BE49-F238E27FC236}">
                <a16:creationId xmlns:a16="http://schemas.microsoft.com/office/drawing/2014/main" id="{586C4650-B4D2-4078-9665-6627666C6CB4}"/>
              </a:ext>
            </a:extLst>
          </p:cNvPr>
          <p:cNvSpPr txBox="1"/>
          <p:nvPr/>
        </p:nvSpPr>
        <p:spPr>
          <a:xfrm>
            <a:off x="1844154" y="5975011"/>
            <a:ext cx="7110449" cy="461665"/>
          </a:xfrm>
          <a:prstGeom prst="rect">
            <a:avLst/>
          </a:prstGeom>
          <a:noFill/>
        </p:spPr>
        <p:txBody>
          <a:bodyPr wrap="square" rtlCol="0">
            <a:spAutoFit/>
          </a:bodyPr>
          <a:lstStyle/>
          <a:p>
            <a:pPr defTabSz="1219170" fontAlgn="base">
              <a:buClr>
                <a:srgbClr val="007DB8"/>
              </a:buClr>
            </a:pPr>
            <a:r>
              <a:rPr lang="en-US" sz="2400" b="1" dirty="0">
                <a:solidFill>
                  <a:srgbClr val="007DB8"/>
                </a:solidFill>
                <a:latin typeface="Arial"/>
              </a:rPr>
              <a:t>When should I use Weighted mean ? </a:t>
            </a:r>
          </a:p>
        </p:txBody>
      </p:sp>
      <p:pic>
        <p:nvPicPr>
          <p:cNvPr id="9" name="Picture 8">
            <a:extLst>
              <a:ext uri="{FF2B5EF4-FFF2-40B4-BE49-F238E27FC236}">
                <a16:creationId xmlns:a16="http://schemas.microsoft.com/office/drawing/2014/main" id="{515CA4EC-C0A9-4FF0-B09F-3C87F72A000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333812" y="5405716"/>
            <a:ext cx="2288960" cy="1353347"/>
          </a:xfrm>
          <a:prstGeom prst="rect">
            <a:avLst/>
          </a:prstGeom>
        </p:spPr>
      </p:pic>
      <mc:AlternateContent xmlns:mc="http://schemas.openxmlformats.org/markup-compatibility/2006">
        <mc:Choice xmlns:p14="http://schemas.microsoft.com/office/powerpoint/2010/main" Requires="p14">
          <p:contentPart p14:bwMode="auto" r:id="rId5">
            <p14:nvContentPartPr>
              <p14:cNvPr id="2" name="Ink 1">
                <a:extLst>
                  <a:ext uri="{FF2B5EF4-FFF2-40B4-BE49-F238E27FC236}">
                    <a16:creationId xmlns:a16="http://schemas.microsoft.com/office/drawing/2014/main" id="{127B59B6-D30F-4E47-91BD-40367B7375DE}"/>
                  </a:ext>
                </a:extLst>
              </p14:cNvPr>
              <p14:cNvContentPartPr/>
              <p14:nvPr/>
            </p14:nvContentPartPr>
            <p14:xfrm>
              <a:off x="324000" y="1498560"/>
              <a:ext cx="8795040" cy="5112480"/>
            </p14:xfrm>
          </p:contentPart>
        </mc:Choice>
        <mc:Fallback>
          <p:pic>
            <p:nvPicPr>
              <p:cNvPr id="2" name="Ink 1">
                <a:extLst>
                  <a:ext uri="{FF2B5EF4-FFF2-40B4-BE49-F238E27FC236}">
                    <a16:creationId xmlns:a16="http://schemas.microsoft.com/office/drawing/2014/main" id="{127B59B6-D30F-4E47-91BD-40367B7375DE}"/>
                  </a:ext>
                </a:extLst>
              </p:cNvPr>
              <p:cNvPicPr/>
              <p:nvPr/>
            </p:nvPicPr>
            <p:blipFill>
              <a:blip r:embed="rId6"/>
              <a:stretch>
                <a:fillRect/>
              </a:stretch>
            </p:blipFill>
            <p:spPr>
              <a:xfrm>
                <a:off x="314640" y="1489200"/>
                <a:ext cx="8813761" cy="5131200"/>
              </a:xfrm>
              <a:prstGeom prst="rect">
                <a:avLst/>
              </a:prstGeom>
            </p:spPr>
          </p:pic>
        </mc:Fallback>
      </mc:AlternateContent>
    </p:spTree>
    <p:extLst>
      <p:ext uri="{BB962C8B-B14F-4D97-AF65-F5344CB8AC3E}">
        <p14:creationId xmlns:p14="http://schemas.microsoft.com/office/powerpoint/2010/main" val="3603259149"/>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51A-6ED4-4C8B-8D44-5EDBA939BABF}"/>
              </a:ext>
            </a:extLst>
          </p:cNvPr>
          <p:cNvSpPr>
            <a:spLocks noGrp="1"/>
          </p:cNvSpPr>
          <p:nvPr>
            <p:ph type="title"/>
          </p:nvPr>
        </p:nvSpPr>
        <p:spPr/>
        <p:txBody>
          <a:bodyPr/>
          <a:lstStyle/>
          <a:p>
            <a:r>
              <a:rPr lang="en-US" dirty="0"/>
              <a:t>What is Statistics ? </a:t>
            </a:r>
          </a:p>
        </p:txBody>
      </p:sp>
      <p:sp>
        <p:nvSpPr>
          <p:cNvPr id="3" name="Content Placeholder 2">
            <a:extLst>
              <a:ext uri="{FF2B5EF4-FFF2-40B4-BE49-F238E27FC236}">
                <a16:creationId xmlns:a16="http://schemas.microsoft.com/office/drawing/2014/main" id="{E8A42226-9FEF-40B1-B486-27D94ECAAFDE}"/>
              </a:ext>
            </a:extLst>
          </p:cNvPr>
          <p:cNvSpPr>
            <a:spLocks noGrp="1"/>
          </p:cNvSpPr>
          <p:nvPr>
            <p:ph sz="half" idx="1"/>
          </p:nvPr>
        </p:nvSpPr>
        <p:spPr/>
        <p:txBody>
          <a:bodyPr/>
          <a:lstStyle/>
          <a:p>
            <a:r>
              <a:rPr lang="en-US" sz="2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Uncertainty is rampant ! we use statistics to answer questions about things that are unknown (e.g. : number of cars in Bangalore ?) , but just as importantly, we use statistics to get an idea of how sure we are of our answers. Sometimes it is useful to know that you don’t know.!! </a:t>
            </a: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sz="2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Statistical tools are used to make most out of limited information!! </a:t>
            </a:r>
          </a:p>
          <a:p>
            <a:endParaRPr lang="en-US" dirty="0"/>
          </a:p>
        </p:txBody>
      </p:sp>
      <p:pic>
        <p:nvPicPr>
          <p:cNvPr id="5" name="Picture 4" descr="Text, whiteboard&#10;&#10;Description automatically generated">
            <a:extLst>
              <a:ext uri="{FF2B5EF4-FFF2-40B4-BE49-F238E27FC236}">
                <a16:creationId xmlns:a16="http://schemas.microsoft.com/office/drawing/2014/main" id="{51F1782B-1A57-4E62-8628-08331F40875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029215" y="232566"/>
            <a:ext cx="1954064" cy="1302709"/>
          </a:xfrm>
          <a:prstGeom prst="rect">
            <a:avLst/>
          </a:prstGeom>
        </p:spPr>
      </p:pic>
    </p:spTree>
    <p:extLst>
      <p:ext uri="{BB962C8B-B14F-4D97-AF65-F5344CB8AC3E}">
        <p14:creationId xmlns:p14="http://schemas.microsoft.com/office/powerpoint/2010/main" val="2976966562"/>
      </p:ext>
    </p:extLst>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E8170F-5441-4F00-8D1A-03BC63DB25FC}"/>
              </a:ext>
            </a:extLst>
          </p:cNvPr>
          <p:cNvSpPr>
            <a:spLocks noGrp="1"/>
          </p:cNvSpPr>
          <p:nvPr>
            <p:ph type="title"/>
          </p:nvPr>
        </p:nvSpPr>
        <p:spPr>
          <a:xfrm>
            <a:off x="0" y="0"/>
            <a:ext cx="10607040" cy="853440"/>
          </a:xfrm>
        </p:spPr>
        <p:txBody>
          <a:bodyPr/>
          <a:lstStyle/>
          <a:p>
            <a:r>
              <a:rPr lang="en-US" dirty="0"/>
              <a:t>Weighted Mean – Example </a:t>
            </a:r>
          </a:p>
        </p:txBody>
      </p:sp>
      <p:pic>
        <p:nvPicPr>
          <p:cNvPr id="6" name="Content Placeholder 5" descr="A camera on a tripod&#10;&#10;Description automatically generated">
            <a:extLst>
              <a:ext uri="{FF2B5EF4-FFF2-40B4-BE49-F238E27FC236}">
                <a16:creationId xmlns:a16="http://schemas.microsoft.com/office/drawing/2014/main" id="{5FA604C4-BA58-4823-9F14-A808A90C361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571459" y="1709249"/>
            <a:ext cx="3508860" cy="2702207"/>
          </a:xfrm>
        </p:spPr>
      </p:pic>
      <p:sp>
        <p:nvSpPr>
          <p:cNvPr id="7" name="TextBox 6">
            <a:extLst>
              <a:ext uri="{FF2B5EF4-FFF2-40B4-BE49-F238E27FC236}">
                <a16:creationId xmlns:a16="http://schemas.microsoft.com/office/drawing/2014/main" id="{9BE58714-D8FF-4A6D-B0FC-0DB2E076BB69}"/>
              </a:ext>
            </a:extLst>
          </p:cNvPr>
          <p:cNvSpPr txBox="1"/>
          <p:nvPr/>
        </p:nvSpPr>
        <p:spPr>
          <a:xfrm>
            <a:off x="0" y="853441"/>
            <a:ext cx="8571459" cy="2842445"/>
          </a:xfrm>
          <a:prstGeom prst="rect">
            <a:avLst/>
          </a:prstGeom>
          <a:noFill/>
        </p:spPr>
        <p:txBody>
          <a:bodyPr wrap="square" rtlCol="0">
            <a:spAutoFit/>
          </a:bodyPr>
          <a:lstStyle/>
          <a:p>
            <a:pPr defTabSz="1219170" fontAlgn="base">
              <a:buClr>
                <a:srgbClr val="007DB8"/>
              </a:buClr>
            </a:pPr>
            <a:r>
              <a:rPr lang="en-US" sz="1867" dirty="0">
                <a:solidFill>
                  <a:srgbClr val="000000">
                    <a:lumMod val="50000"/>
                    <a:lumOff val="50000"/>
                  </a:srgbClr>
                </a:solidFill>
                <a:latin typeface="Inter"/>
                <a:cs typeface="Arial" panose="020B0604020202020204" pitchFamily="34" charset="0"/>
              </a:rPr>
              <a:t>Weighted means can help with decisions where some things are more important than others:</a:t>
            </a:r>
          </a:p>
          <a:p>
            <a:pPr defTabSz="1219170" fontAlgn="base">
              <a:buClr>
                <a:srgbClr val="007DB8"/>
              </a:buClr>
            </a:pPr>
            <a:endParaRPr lang="en-US" sz="1467" dirty="0">
              <a:solidFill>
                <a:srgbClr val="333333"/>
              </a:solidFill>
              <a:latin typeface="Verdana" panose="020B0604030504040204" pitchFamily="34" charset="0"/>
            </a:endParaRPr>
          </a:p>
          <a:p>
            <a:pPr defTabSz="1219170" fontAlgn="base">
              <a:buClr>
                <a:srgbClr val="007DB8"/>
              </a:buClr>
            </a:pPr>
            <a:r>
              <a:rPr lang="en-US" sz="1867" b="1" dirty="0">
                <a:solidFill>
                  <a:srgbClr val="000000">
                    <a:lumMod val="50000"/>
                    <a:lumOff val="50000"/>
                  </a:srgbClr>
                </a:solidFill>
                <a:latin typeface="Inter"/>
                <a:cs typeface="Arial" panose="020B0604020202020204" pitchFamily="34" charset="0"/>
              </a:rPr>
              <a:t>Question : </a:t>
            </a:r>
            <a:r>
              <a:rPr lang="en-US" sz="1867" dirty="0">
                <a:solidFill>
                  <a:srgbClr val="000000">
                    <a:lumMod val="50000"/>
                    <a:lumOff val="50000"/>
                  </a:srgbClr>
                </a:solidFill>
                <a:latin typeface="Inter"/>
                <a:cs typeface="Arial" panose="020B0604020202020204" pitchFamily="34" charset="0"/>
              </a:rPr>
              <a:t>Mike wants to buy a new camera, and decides on the following rating system:</a:t>
            </a:r>
          </a:p>
          <a:p>
            <a:pPr defTabSz="1219170" fontAlgn="base">
              <a:buClr>
                <a:srgbClr val="007DB8"/>
              </a:buClr>
            </a:pPr>
            <a:endParaRPr lang="en-US" sz="1467" dirty="0">
              <a:solidFill>
                <a:srgbClr val="333333"/>
              </a:solidFill>
              <a:latin typeface="Verdana" panose="020B0604030504040204" pitchFamily="34" charset="0"/>
            </a:endParaRPr>
          </a:p>
          <a:p>
            <a:pPr defTabSz="1219170" fontAlgn="base">
              <a:buClr>
                <a:srgbClr val="007DB8"/>
              </a:buClr>
            </a:pPr>
            <a:r>
              <a:rPr lang="en-US" sz="1867" dirty="0">
                <a:solidFill>
                  <a:srgbClr val="000000">
                    <a:lumMod val="50000"/>
                    <a:lumOff val="50000"/>
                  </a:srgbClr>
                </a:solidFill>
                <a:latin typeface="Inter"/>
                <a:cs typeface="Arial" panose="020B0604020202020204" pitchFamily="34" charset="0"/>
              </a:rPr>
              <a:t>Image Quality </a:t>
            </a:r>
            <a:r>
              <a:rPr lang="en-US" sz="1867" b="1" dirty="0">
                <a:solidFill>
                  <a:srgbClr val="000000">
                    <a:lumMod val="50000"/>
                    <a:lumOff val="50000"/>
                  </a:srgbClr>
                </a:solidFill>
                <a:latin typeface="Inter"/>
                <a:cs typeface="Arial" panose="020B0604020202020204" pitchFamily="34" charset="0"/>
              </a:rPr>
              <a:t>50%</a:t>
            </a:r>
          </a:p>
          <a:p>
            <a:pPr defTabSz="1219170" fontAlgn="base">
              <a:buClr>
                <a:srgbClr val="007DB8"/>
              </a:buClr>
            </a:pPr>
            <a:r>
              <a:rPr lang="en-US" sz="1867" dirty="0">
                <a:solidFill>
                  <a:srgbClr val="000000">
                    <a:lumMod val="50000"/>
                    <a:lumOff val="50000"/>
                  </a:srgbClr>
                </a:solidFill>
                <a:latin typeface="Inter"/>
                <a:cs typeface="Arial" panose="020B0604020202020204" pitchFamily="34" charset="0"/>
              </a:rPr>
              <a:t>Battery Life     </a:t>
            </a:r>
            <a:r>
              <a:rPr lang="en-US" sz="1867" b="1" dirty="0">
                <a:solidFill>
                  <a:srgbClr val="000000">
                    <a:lumMod val="50000"/>
                    <a:lumOff val="50000"/>
                  </a:srgbClr>
                </a:solidFill>
                <a:latin typeface="Inter"/>
                <a:cs typeface="Arial" panose="020B0604020202020204" pitchFamily="34" charset="0"/>
              </a:rPr>
              <a:t>30%</a:t>
            </a:r>
          </a:p>
          <a:p>
            <a:pPr defTabSz="1219170" fontAlgn="base">
              <a:buClr>
                <a:srgbClr val="007DB8"/>
              </a:buClr>
            </a:pPr>
            <a:r>
              <a:rPr lang="en-US" sz="1867" dirty="0">
                <a:solidFill>
                  <a:srgbClr val="000000">
                    <a:lumMod val="50000"/>
                    <a:lumOff val="50000"/>
                  </a:srgbClr>
                </a:solidFill>
                <a:latin typeface="Inter"/>
                <a:cs typeface="Arial" panose="020B0604020202020204" pitchFamily="34" charset="0"/>
              </a:rPr>
              <a:t>Zoom Range   </a:t>
            </a:r>
            <a:r>
              <a:rPr lang="en-US" sz="1867" b="1" dirty="0">
                <a:solidFill>
                  <a:srgbClr val="000000">
                    <a:lumMod val="50000"/>
                    <a:lumOff val="50000"/>
                  </a:srgbClr>
                </a:solidFill>
                <a:latin typeface="Inter"/>
                <a:cs typeface="Arial" panose="020B0604020202020204" pitchFamily="34" charset="0"/>
              </a:rPr>
              <a:t>20%</a:t>
            </a:r>
          </a:p>
          <a:p>
            <a:pPr defTabSz="1219170" fontAlgn="base">
              <a:buClr>
                <a:srgbClr val="007DB8"/>
              </a:buClr>
            </a:pPr>
            <a:endParaRPr lang="en-US" sz="1867" dirty="0">
              <a:solidFill>
                <a:srgbClr val="000000"/>
              </a:solidFill>
              <a:latin typeface="Arial"/>
            </a:endParaRPr>
          </a:p>
        </p:txBody>
      </p:sp>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9CD26096-AA19-4527-A4DF-DF5160444148}"/>
                  </a:ext>
                </a:extLst>
              </p14:cNvPr>
              <p14:cNvContentPartPr/>
              <p14:nvPr/>
            </p14:nvContentPartPr>
            <p14:xfrm>
              <a:off x="0" y="2336640"/>
              <a:ext cx="8865120" cy="4363200"/>
            </p14:xfrm>
          </p:contentPart>
        </mc:Choice>
        <mc:Fallback>
          <p:pic>
            <p:nvPicPr>
              <p:cNvPr id="2" name="Ink 1">
                <a:extLst>
                  <a:ext uri="{FF2B5EF4-FFF2-40B4-BE49-F238E27FC236}">
                    <a16:creationId xmlns:a16="http://schemas.microsoft.com/office/drawing/2014/main" id="{9CD26096-AA19-4527-A4DF-DF5160444148}"/>
                  </a:ext>
                </a:extLst>
              </p:cNvPr>
              <p:cNvPicPr/>
              <p:nvPr/>
            </p:nvPicPr>
            <p:blipFill>
              <a:blip r:embed="rId5"/>
              <a:stretch>
                <a:fillRect/>
              </a:stretch>
            </p:blipFill>
            <p:spPr>
              <a:xfrm>
                <a:off x="-9360" y="2327280"/>
                <a:ext cx="8883840" cy="4381920"/>
              </a:xfrm>
              <a:prstGeom prst="rect">
                <a:avLst/>
              </a:prstGeom>
            </p:spPr>
          </p:pic>
        </mc:Fallback>
      </mc:AlternateContent>
    </p:spTree>
    <p:extLst>
      <p:ext uri="{BB962C8B-B14F-4D97-AF65-F5344CB8AC3E}">
        <p14:creationId xmlns:p14="http://schemas.microsoft.com/office/powerpoint/2010/main" val="2701245991"/>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C1809-55AB-431A-963D-57F0E70BE161}"/>
              </a:ext>
            </a:extLst>
          </p:cNvPr>
          <p:cNvSpPr>
            <a:spLocks noGrp="1"/>
          </p:cNvSpPr>
          <p:nvPr>
            <p:ph type="title"/>
          </p:nvPr>
        </p:nvSpPr>
        <p:spPr>
          <a:xfrm>
            <a:off x="98536" y="70240"/>
            <a:ext cx="10607040" cy="853440"/>
          </a:xfrm>
        </p:spPr>
        <p:txBody>
          <a:bodyPr/>
          <a:lstStyle/>
          <a:p>
            <a:r>
              <a:rPr lang="en-US" dirty="0"/>
              <a:t>Terminology </a:t>
            </a:r>
            <a:r>
              <a:rPr lang="en-US" sz="2133" b="1" dirty="0">
                <a:solidFill>
                  <a:schemeClr val="bg2">
                    <a:lumMod val="50000"/>
                    <a:lumOff val="50000"/>
                  </a:schemeClr>
                </a:solidFill>
              </a:rPr>
              <a:t>commonly used terminology in the discipline of statistics</a:t>
            </a:r>
            <a:br>
              <a:rPr lang="en-US" dirty="0"/>
            </a:br>
            <a:endParaRPr lang="en-US" dirty="0"/>
          </a:p>
        </p:txBody>
      </p:sp>
      <p:sp>
        <p:nvSpPr>
          <p:cNvPr id="3" name="Content Placeholder 2">
            <a:extLst>
              <a:ext uri="{FF2B5EF4-FFF2-40B4-BE49-F238E27FC236}">
                <a16:creationId xmlns:a16="http://schemas.microsoft.com/office/drawing/2014/main" id="{3F6397B1-9B77-4F28-B578-85539A60E080}"/>
              </a:ext>
            </a:extLst>
          </p:cNvPr>
          <p:cNvSpPr>
            <a:spLocks noGrp="1"/>
          </p:cNvSpPr>
          <p:nvPr>
            <p:ph sz="half" idx="1"/>
          </p:nvPr>
        </p:nvSpPr>
        <p:spPr>
          <a:xfrm>
            <a:off x="98538" y="923681"/>
            <a:ext cx="10531885" cy="3134753"/>
          </a:xfrm>
        </p:spPr>
        <p:txBody>
          <a:bodyPr/>
          <a:lstStyle/>
          <a:p>
            <a:r>
              <a:rPr lang="en-US" b="1" dirty="0">
                <a:solidFill>
                  <a:schemeClr val="bg1"/>
                </a:solidFill>
              </a:rPr>
              <a:t>Variable : </a:t>
            </a:r>
            <a:r>
              <a:rPr lang="en-US" dirty="0">
                <a:solidFill>
                  <a:schemeClr val="bg2">
                    <a:lumMod val="50000"/>
                    <a:lumOff val="50000"/>
                  </a:schemeClr>
                </a:solidFill>
              </a:rPr>
              <a:t>A variable is defined as an attribute of an object of study. Choosing which variables to measure is central to good experimental design.</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Ex : You are collecting data of weight of adults of male living in Australia, here our variable is weight</a:t>
            </a:r>
          </a:p>
          <a:p>
            <a:pPr lvl="1"/>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B4B84EB2-DAE0-4A07-91E6-E8997FB9F357}"/>
              </a:ext>
            </a:extLst>
          </p:cNvPr>
          <p:cNvPicPr>
            <a:picLocks noChangeAspect="1"/>
          </p:cNvPicPr>
          <p:nvPr/>
        </p:nvPicPr>
        <p:blipFill>
          <a:blip r:embed="rId2"/>
          <a:stretch>
            <a:fillRect/>
          </a:stretch>
        </p:blipFill>
        <p:spPr>
          <a:xfrm>
            <a:off x="98536" y="2307908"/>
            <a:ext cx="9903912" cy="936856"/>
          </a:xfrm>
          <a:prstGeom prst="rect">
            <a:avLst/>
          </a:prstGeom>
        </p:spPr>
      </p:pic>
      <p:sp>
        <p:nvSpPr>
          <p:cNvPr id="6" name="TextBox 5">
            <a:extLst>
              <a:ext uri="{FF2B5EF4-FFF2-40B4-BE49-F238E27FC236}">
                <a16:creationId xmlns:a16="http://schemas.microsoft.com/office/drawing/2014/main" id="{9D05D184-28F2-4052-BB33-D236DFC4C405}"/>
              </a:ext>
            </a:extLst>
          </p:cNvPr>
          <p:cNvSpPr txBox="1"/>
          <p:nvPr/>
        </p:nvSpPr>
        <p:spPr>
          <a:xfrm>
            <a:off x="98536" y="3818492"/>
            <a:ext cx="11433760" cy="2337948"/>
          </a:xfrm>
          <a:prstGeom prst="rect">
            <a:avLst/>
          </a:prstGeom>
          <a:noFill/>
        </p:spPr>
        <p:txBody>
          <a:bodyPr wrap="square" rtlCol="0">
            <a:spAutoFit/>
          </a:bodyPr>
          <a:lstStyle/>
          <a:p>
            <a:pPr marL="380990" indent="-380990" defTabSz="1219170" fontAlgn="base">
              <a:lnSpc>
                <a:spcPct val="107000"/>
              </a:lnSpc>
              <a:spcAft>
                <a:spcPts val="1067"/>
              </a:spcAft>
              <a:buFont typeface="Wingdings" panose="05000000000000000000" pitchFamily="2" charset="2"/>
              <a:buChar char="Ø"/>
            </a:pPr>
            <a:r>
              <a:rPr lang="en-US" sz="1867" dirty="0">
                <a:solidFill>
                  <a:srgbClr val="000000">
                    <a:lumMod val="50000"/>
                    <a:lumOff val="50000"/>
                  </a:srgbClr>
                </a:solidFill>
                <a:latin typeface="Arial" panose="020B0604020202020204" pitchFamily="34" charset="0"/>
                <a:cs typeface="Arial" panose="020B0604020202020204" pitchFamily="34" charset="0"/>
              </a:rPr>
              <a:t>A </a:t>
            </a:r>
            <a:r>
              <a:rPr lang="en-US" sz="1867" dirty="0">
                <a:solidFill>
                  <a:srgbClr val="007DB8"/>
                </a:solidFill>
                <a:latin typeface="Arial" panose="020B0604020202020204" pitchFamily="34" charset="0"/>
                <a:cs typeface="Arial" panose="020B0604020202020204" pitchFamily="34" charset="0"/>
              </a:rPr>
              <a:t>Variables</a:t>
            </a:r>
            <a:r>
              <a:rPr lang="en-US" sz="1867" dirty="0">
                <a:solidFill>
                  <a:srgbClr val="000000">
                    <a:lumMod val="50000"/>
                    <a:lumOff val="50000"/>
                  </a:srgbClr>
                </a:solidFill>
                <a:latin typeface="Arial" panose="020B0604020202020204" pitchFamily="34" charset="0"/>
                <a:cs typeface="Arial" panose="020B0604020202020204" pitchFamily="34" charset="0"/>
              </a:rPr>
              <a:t> are things you measure, manipulate and control in statistics and research. </a:t>
            </a:r>
          </a:p>
          <a:p>
            <a:pPr marL="380990" indent="-380990" defTabSz="1219170" fontAlgn="base">
              <a:lnSpc>
                <a:spcPct val="107000"/>
              </a:lnSpc>
              <a:spcAft>
                <a:spcPts val="1067"/>
              </a:spcAft>
              <a:buFont typeface="Wingdings" panose="05000000000000000000" pitchFamily="2" charset="2"/>
              <a:buChar char="Ø"/>
            </a:pPr>
            <a:r>
              <a:rPr lang="en-US" sz="1867" dirty="0">
                <a:solidFill>
                  <a:srgbClr val="000000">
                    <a:lumMod val="50000"/>
                    <a:lumOff val="50000"/>
                  </a:srgbClr>
                </a:solidFill>
                <a:latin typeface="Arial" panose="020B0604020202020204" pitchFamily="34" charset="0"/>
                <a:cs typeface="Arial" panose="020B0604020202020204" pitchFamily="34" charset="0"/>
              </a:rPr>
              <a:t>All studies analyze a variable, which can describe a person, place, thing or idea. A variable's value can change between groups or over time. </a:t>
            </a:r>
          </a:p>
          <a:p>
            <a:pPr marL="380990" indent="-380990" defTabSz="1219170" fontAlgn="base">
              <a:lnSpc>
                <a:spcPct val="107000"/>
              </a:lnSpc>
              <a:spcAft>
                <a:spcPts val="1067"/>
              </a:spcAft>
              <a:buFont typeface="Wingdings" panose="05000000000000000000" pitchFamily="2" charset="2"/>
              <a:buChar char="Ø"/>
            </a:pPr>
            <a:r>
              <a:rPr lang="en-US" sz="1867" dirty="0">
                <a:solidFill>
                  <a:srgbClr val="000000">
                    <a:lumMod val="50000"/>
                    <a:lumOff val="50000"/>
                  </a:srgbClr>
                </a:solidFill>
                <a:latin typeface="Arial" panose="020B0604020202020204" pitchFamily="34" charset="0"/>
                <a:cs typeface="Arial" panose="020B0604020202020204" pitchFamily="34" charset="0"/>
              </a:rPr>
              <a:t>A variable can also be called as a data item</a:t>
            </a:r>
          </a:p>
          <a:p>
            <a:pPr marL="990575" lvl="1" indent="-380990" defTabSz="1219170" fontAlgn="base">
              <a:lnSpc>
                <a:spcPct val="107000"/>
              </a:lnSpc>
              <a:spcAft>
                <a:spcPts val="1067"/>
              </a:spcAft>
              <a:buFont typeface="Arial" panose="020B0604020202020204" pitchFamily="34" charset="0"/>
              <a:buChar char="•"/>
            </a:pPr>
            <a:r>
              <a:rPr lang="en-US" sz="1867" i="1" dirty="0">
                <a:solidFill>
                  <a:srgbClr val="000000">
                    <a:lumMod val="50000"/>
                    <a:lumOff val="50000"/>
                  </a:srgbClr>
                </a:solidFill>
                <a:latin typeface="Arial" panose="020B0604020202020204" pitchFamily="34" charset="0"/>
                <a:cs typeface="Arial" panose="020B0604020202020204" pitchFamily="34" charset="0"/>
              </a:rPr>
              <a:t>Another example :  if the variable in an experiment is a person's eye color, its value can change from brown to blue to green from person to person</a:t>
            </a:r>
            <a:r>
              <a:rPr lang="en-US" sz="1867" dirty="0">
                <a:solidFill>
                  <a:srgbClr val="000000">
                    <a:lumMod val="50000"/>
                    <a:lumOff val="50000"/>
                  </a:srgb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08532574"/>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DF89-A4C5-4804-873A-9C2CF1B53371}"/>
              </a:ext>
            </a:extLst>
          </p:cNvPr>
          <p:cNvSpPr>
            <a:spLocks noGrp="1"/>
          </p:cNvSpPr>
          <p:nvPr>
            <p:ph type="title"/>
          </p:nvPr>
        </p:nvSpPr>
        <p:spPr>
          <a:xfrm>
            <a:off x="0" y="30480"/>
            <a:ext cx="10607040" cy="853440"/>
          </a:xfrm>
        </p:spPr>
        <p:txBody>
          <a:bodyPr/>
          <a:lstStyle/>
          <a:p>
            <a:r>
              <a:rPr lang="en-US" dirty="0"/>
              <a:t>Types of Variables</a:t>
            </a:r>
          </a:p>
        </p:txBody>
      </p:sp>
      <p:sp>
        <p:nvSpPr>
          <p:cNvPr id="4" name="Rectangle: Rounded Corners 3">
            <a:extLst>
              <a:ext uri="{FF2B5EF4-FFF2-40B4-BE49-F238E27FC236}">
                <a16:creationId xmlns:a16="http://schemas.microsoft.com/office/drawing/2014/main" id="{BECC6AA8-F4E3-4A94-9BD8-274D67D0E341}"/>
              </a:ext>
            </a:extLst>
          </p:cNvPr>
          <p:cNvSpPr/>
          <p:nvPr/>
        </p:nvSpPr>
        <p:spPr>
          <a:xfrm>
            <a:off x="5129242" y="726509"/>
            <a:ext cx="1979113" cy="509392"/>
          </a:xfrm>
          <a:prstGeom prst="roundRect">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r>
              <a:rPr lang="en-US" sz="2667" dirty="0">
                <a:solidFill>
                  <a:srgbClr val="FFFFFF"/>
                </a:solidFill>
                <a:latin typeface="Arial"/>
              </a:rPr>
              <a:t>Variable</a:t>
            </a:r>
          </a:p>
        </p:txBody>
      </p:sp>
      <p:sp>
        <p:nvSpPr>
          <p:cNvPr id="5" name="Rectangle: Rounded Corners 4">
            <a:extLst>
              <a:ext uri="{FF2B5EF4-FFF2-40B4-BE49-F238E27FC236}">
                <a16:creationId xmlns:a16="http://schemas.microsoft.com/office/drawing/2014/main" id="{B64A9950-C095-4508-A8D1-BCDB18FD97C6}"/>
              </a:ext>
            </a:extLst>
          </p:cNvPr>
          <p:cNvSpPr/>
          <p:nvPr/>
        </p:nvSpPr>
        <p:spPr>
          <a:xfrm>
            <a:off x="1366727" y="1915089"/>
            <a:ext cx="2304788" cy="509392"/>
          </a:xfrm>
          <a:prstGeom prst="roundRect">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r>
              <a:rPr lang="en-US" sz="2667" dirty="0">
                <a:solidFill>
                  <a:srgbClr val="FFFFFF"/>
                </a:solidFill>
                <a:latin typeface="Arial"/>
              </a:rPr>
              <a:t>Quantitative</a:t>
            </a:r>
          </a:p>
        </p:txBody>
      </p:sp>
      <p:sp>
        <p:nvSpPr>
          <p:cNvPr id="6" name="Rectangle: Rounded Corners 5">
            <a:extLst>
              <a:ext uri="{FF2B5EF4-FFF2-40B4-BE49-F238E27FC236}">
                <a16:creationId xmlns:a16="http://schemas.microsoft.com/office/drawing/2014/main" id="{EBE4729C-1083-4C4B-A47A-5656FE677822}"/>
              </a:ext>
            </a:extLst>
          </p:cNvPr>
          <p:cNvSpPr/>
          <p:nvPr/>
        </p:nvSpPr>
        <p:spPr>
          <a:xfrm>
            <a:off x="7596342" y="1915089"/>
            <a:ext cx="2304788" cy="509392"/>
          </a:xfrm>
          <a:prstGeom prst="roundRect">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r>
              <a:rPr lang="en-US" sz="2667" dirty="0">
                <a:solidFill>
                  <a:srgbClr val="FFFFFF"/>
                </a:solidFill>
                <a:latin typeface="Arial"/>
              </a:rPr>
              <a:t>Qualitative</a:t>
            </a:r>
          </a:p>
        </p:txBody>
      </p:sp>
      <p:sp>
        <p:nvSpPr>
          <p:cNvPr id="7" name="Rectangle: Rounded Corners 6">
            <a:extLst>
              <a:ext uri="{FF2B5EF4-FFF2-40B4-BE49-F238E27FC236}">
                <a16:creationId xmlns:a16="http://schemas.microsoft.com/office/drawing/2014/main" id="{61D08891-F878-4FDF-B9A0-8D80D90B40A7}"/>
              </a:ext>
            </a:extLst>
          </p:cNvPr>
          <p:cNvSpPr/>
          <p:nvPr/>
        </p:nvSpPr>
        <p:spPr>
          <a:xfrm>
            <a:off x="83506" y="3409516"/>
            <a:ext cx="2207364" cy="509392"/>
          </a:xfrm>
          <a:prstGeom prst="roundRect">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r>
              <a:rPr lang="en-US" sz="2667" dirty="0">
                <a:solidFill>
                  <a:srgbClr val="FFFFFF"/>
                </a:solidFill>
                <a:latin typeface="Arial"/>
              </a:rPr>
              <a:t>Discrete</a:t>
            </a:r>
          </a:p>
        </p:txBody>
      </p:sp>
      <p:sp>
        <p:nvSpPr>
          <p:cNvPr id="8" name="Rectangle: Rounded Corners 7">
            <a:extLst>
              <a:ext uri="{FF2B5EF4-FFF2-40B4-BE49-F238E27FC236}">
                <a16:creationId xmlns:a16="http://schemas.microsoft.com/office/drawing/2014/main" id="{F4AC69C5-E593-414D-A1C2-B3A0A0562FEC}"/>
              </a:ext>
            </a:extLst>
          </p:cNvPr>
          <p:cNvSpPr/>
          <p:nvPr/>
        </p:nvSpPr>
        <p:spPr>
          <a:xfrm>
            <a:off x="2519122" y="3409516"/>
            <a:ext cx="2207364" cy="509392"/>
          </a:xfrm>
          <a:prstGeom prst="roundRect">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r>
              <a:rPr lang="en-US" sz="2667" dirty="0">
                <a:solidFill>
                  <a:srgbClr val="FFFFFF"/>
                </a:solidFill>
                <a:latin typeface="Arial"/>
              </a:rPr>
              <a:t>Continuous</a:t>
            </a:r>
          </a:p>
        </p:txBody>
      </p:sp>
      <p:sp>
        <p:nvSpPr>
          <p:cNvPr id="9" name="Rectangle: Rounded Corners 8">
            <a:extLst>
              <a:ext uri="{FF2B5EF4-FFF2-40B4-BE49-F238E27FC236}">
                <a16:creationId xmlns:a16="http://schemas.microsoft.com/office/drawing/2014/main" id="{CEBE0F36-E7A6-4554-AC12-BB9D6401B2AD}"/>
              </a:ext>
            </a:extLst>
          </p:cNvPr>
          <p:cNvSpPr/>
          <p:nvPr/>
        </p:nvSpPr>
        <p:spPr>
          <a:xfrm>
            <a:off x="5209439" y="3429000"/>
            <a:ext cx="2207364" cy="509392"/>
          </a:xfrm>
          <a:prstGeom prst="roundRect">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r>
              <a:rPr lang="en-US" sz="2667" dirty="0">
                <a:solidFill>
                  <a:srgbClr val="FFFFFF"/>
                </a:solidFill>
                <a:latin typeface="Arial"/>
              </a:rPr>
              <a:t>Nominal</a:t>
            </a:r>
          </a:p>
        </p:txBody>
      </p:sp>
      <p:sp>
        <p:nvSpPr>
          <p:cNvPr id="10" name="Rectangle: Rounded Corners 9">
            <a:extLst>
              <a:ext uri="{FF2B5EF4-FFF2-40B4-BE49-F238E27FC236}">
                <a16:creationId xmlns:a16="http://schemas.microsoft.com/office/drawing/2014/main" id="{9BF4BCFE-0120-4B93-9D0A-C9340569D1E9}"/>
              </a:ext>
            </a:extLst>
          </p:cNvPr>
          <p:cNvSpPr/>
          <p:nvPr/>
        </p:nvSpPr>
        <p:spPr>
          <a:xfrm>
            <a:off x="7645055" y="3429000"/>
            <a:ext cx="2207364" cy="509392"/>
          </a:xfrm>
          <a:prstGeom prst="roundRect">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r>
              <a:rPr lang="en-US" sz="2667" dirty="0">
                <a:solidFill>
                  <a:srgbClr val="FFFFFF"/>
                </a:solidFill>
                <a:latin typeface="Arial"/>
              </a:rPr>
              <a:t>Ordinal</a:t>
            </a:r>
          </a:p>
        </p:txBody>
      </p:sp>
      <p:cxnSp>
        <p:nvCxnSpPr>
          <p:cNvPr id="12" name="Straight Arrow Connector 11">
            <a:extLst>
              <a:ext uri="{FF2B5EF4-FFF2-40B4-BE49-F238E27FC236}">
                <a16:creationId xmlns:a16="http://schemas.microsoft.com/office/drawing/2014/main" id="{323013C9-7B22-4459-8F28-57188F3D6C86}"/>
              </a:ext>
            </a:extLst>
          </p:cNvPr>
          <p:cNvCxnSpPr>
            <a:stCxn id="4" idx="2"/>
            <a:endCxn id="5" idx="0"/>
          </p:cNvCxnSpPr>
          <p:nvPr/>
        </p:nvCxnSpPr>
        <p:spPr>
          <a:xfrm flipH="1">
            <a:off x="2519122" y="1235902"/>
            <a:ext cx="3599677" cy="679188"/>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48DFC0C-56EA-44CD-A6EF-93B7072AA5E3}"/>
              </a:ext>
            </a:extLst>
          </p:cNvPr>
          <p:cNvCxnSpPr>
            <a:stCxn id="4" idx="2"/>
            <a:endCxn id="6" idx="0"/>
          </p:cNvCxnSpPr>
          <p:nvPr/>
        </p:nvCxnSpPr>
        <p:spPr>
          <a:xfrm>
            <a:off x="6118800" y="1235902"/>
            <a:ext cx="2629937" cy="679188"/>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C2D531C1-8606-4599-84EB-2A76929B7660}"/>
              </a:ext>
            </a:extLst>
          </p:cNvPr>
          <p:cNvCxnSpPr>
            <a:stCxn id="5" idx="2"/>
            <a:endCxn id="7" idx="0"/>
          </p:cNvCxnSpPr>
          <p:nvPr/>
        </p:nvCxnSpPr>
        <p:spPr>
          <a:xfrm flipH="1">
            <a:off x="1187188" y="2424481"/>
            <a:ext cx="1331933" cy="98503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9B3A31-CC3D-40E6-9F48-2572EFF66818}"/>
              </a:ext>
            </a:extLst>
          </p:cNvPr>
          <p:cNvCxnSpPr>
            <a:stCxn id="5" idx="2"/>
            <a:endCxn id="8" idx="0"/>
          </p:cNvCxnSpPr>
          <p:nvPr/>
        </p:nvCxnSpPr>
        <p:spPr>
          <a:xfrm>
            <a:off x="2519121" y="2424481"/>
            <a:ext cx="1103683" cy="98503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24F81249-C776-473E-A656-690BABC69384}"/>
              </a:ext>
            </a:extLst>
          </p:cNvPr>
          <p:cNvCxnSpPr>
            <a:stCxn id="6" idx="2"/>
            <a:endCxn id="9" idx="0"/>
          </p:cNvCxnSpPr>
          <p:nvPr/>
        </p:nvCxnSpPr>
        <p:spPr>
          <a:xfrm flipH="1">
            <a:off x="6313122" y="2424482"/>
            <a:ext cx="2435615" cy="100451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0A44C45-020F-4EC0-9ABC-F2019CABD76E}"/>
              </a:ext>
            </a:extLst>
          </p:cNvPr>
          <p:cNvCxnSpPr>
            <a:stCxn id="6" idx="2"/>
            <a:endCxn id="10" idx="0"/>
          </p:cNvCxnSpPr>
          <p:nvPr/>
        </p:nvCxnSpPr>
        <p:spPr>
          <a:xfrm>
            <a:off x="8748737" y="2424482"/>
            <a:ext cx="1" cy="100451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415D3D-289F-475B-8CC7-72AF925B85AF}"/>
              </a:ext>
            </a:extLst>
          </p:cNvPr>
          <p:cNvSpPr txBox="1"/>
          <p:nvPr/>
        </p:nvSpPr>
        <p:spPr>
          <a:xfrm>
            <a:off x="139603" y="4439377"/>
            <a:ext cx="791084" cy="379656"/>
          </a:xfrm>
          <a:prstGeom prst="rect">
            <a:avLst/>
          </a:prstGeom>
          <a:noFill/>
        </p:spPr>
        <p:txBody>
          <a:bodyPr wrap="square" rtlCol="0">
            <a:spAutoFit/>
          </a:bodyPr>
          <a:lstStyle/>
          <a:p>
            <a:pPr defTabSz="1219170" fontAlgn="base">
              <a:buClr>
                <a:srgbClr val="007DB8"/>
              </a:buClr>
            </a:pPr>
            <a:r>
              <a:rPr lang="en-US" sz="1867" b="1" dirty="0">
                <a:solidFill>
                  <a:srgbClr val="000000">
                    <a:lumMod val="50000"/>
                    <a:lumOff val="50000"/>
                  </a:srgbClr>
                </a:solidFill>
                <a:latin typeface="Arial"/>
              </a:rPr>
              <a:t>Ex: </a:t>
            </a:r>
          </a:p>
        </p:txBody>
      </p:sp>
      <p:sp>
        <p:nvSpPr>
          <p:cNvPr id="36" name="Rectangle: Rounded Corners 35">
            <a:extLst>
              <a:ext uri="{FF2B5EF4-FFF2-40B4-BE49-F238E27FC236}">
                <a16:creationId xmlns:a16="http://schemas.microsoft.com/office/drawing/2014/main" id="{D1006B51-EEAC-497A-B4E7-A2CD7FFAAEF9}"/>
              </a:ext>
            </a:extLst>
          </p:cNvPr>
          <p:cNvSpPr/>
          <p:nvPr/>
        </p:nvSpPr>
        <p:spPr>
          <a:xfrm>
            <a:off x="9901131" y="3429000"/>
            <a:ext cx="2207364" cy="509392"/>
          </a:xfrm>
          <a:prstGeom prst="roundRect">
            <a:avLst/>
          </a:prstGeom>
          <a:solidFill>
            <a:schemeClr val="bg1"/>
          </a:solidFill>
          <a:ln w="12700" cmpd="sng">
            <a:noFill/>
          </a:ln>
          <a:effectLst/>
        </p:spPr>
        <p:txBody>
          <a:bodyPr wrap="square" lIns="243840" tIns="182880" rIns="182880" bIns="182880" rtlCol="0" anchor="ctr">
            <a:noAutofit/>
          </a:bodyPr>
          <a:lstStyle/>
          <a:p>
            <a:pPr algn="ctr" defTabSz="1219170" fontAlgn="base">
              <a:lnSpc>
                <a:spcPct val="90000"/>
              </a:lnSpc>
              <a:spcBef>
                <a:spcPts val="800"/>
              </a:spcBef>
            </a:pPr>
            <a:r>
              <a:rPr lang="en-US" sz="2667" dirty="0">
                <a:solidFill>
                  <a:srgbClr val="FFFFFF"/>
                </a:solidFill>
                <a:latin typeface="Arial"/>
              </a:rPr>
              <a:t>Binary</a:t>
            </a:r>
          </a:p>
        </p:txBody>
      </p:sp>
      <p:cxnSp>
        <p:nvCxnSpPr>
          <p:cNvPr id="40" name="Straight Arrow Connector 39">
            <a:extLst>
              <a:ext uri="{FF2B5EF4-FFF2-40B4-BE49-F238E27FC236}">
                <a16:creationId xmlns:a16="http://schemas.microsoft.com/office/drawing/2014/main" id="{7B8FE297-E963-4754-B22F-8F1EFC3DF06E}"/>
              </a:ext>
            </a:extLst>
          </p:cNvPr>
          <p:cNvCxnSpPr>
            <a:cxnSpLocks/>
            <a:stCxn id="6" idx="2"/>
            <a:endCxn id="36" idx="0"/>
          </p:cNvCxnSpPr>
          <p:nvPr/>
        </p:nvCxnSpPr>
        <p:spPr>
          <a:xfrm>
            <a:off x="8748736" y="2424482"/>
            <a:ext cx="2256077" cy="100451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9912247"/>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46AE-501D-4355-A8E1-28F43339BBB6}"/>
              </a:ext>
            </a:extLst>
          </p:cNvPr>
          <p:cNvSpPr>
            <a:spLocks noGrp="1"/>
          </p:cNvSpPr>
          <p:nvPr>
            <p:ph type="title"/>
          </p:nvPr>
        </p:nvSpPr>
        <p:spPr/>
        <p:txBody>
          <a:bodyPr/>
          <a:lstStyle/>
          <a:p>
            <a:r>
              <a:rPr lang="en-US" dirty="0"/>
              <a:t>Quick exercise – Identify type of Data</a:t>
            </a:r>
          </a:p>
        </p:txBody>
      </p:sp>
      <p:pic>
        <p:nvPicPr>
          <p:cNvPr id="5" name="Picture 4">
            <a:extLst>
              <a:ext uri="{FF2B5EF4-FFF2-40B4-BE49-F238E27FC236}">
                <a16:creationId xmlns:a16="http://schemas.microsoft.com/office/drawing/2014/main" id="{28799CAD-4172-4A37-BF57-65BC88923644}"/>
              </a:ext>
            </a:extLst>
          </p:cNvPr>
          <p:cNvPicPr>
            <a:picLocks noChangeAspect="1"/>
          </p:cNvPicPr>
          <p:nvPr/>
        </p:nvPicPr>
        <p:blipFill>
          <a:blip r:embed="rId2"/>
          <a:stretch>
            <a:fillRect/>
          </a:stretch>
        </p:blipFill>
        <p:spPr>
          <a:xfrm>
            <a:off x="365760" y="1336944"/>
            <a:ext cx="10854985" cy="1008387"/>
          </a:xfrm>
          <a:prstGeom prst="rect">
            <a:avLst/>
          </a:prstGeom>
        </p:spPr>
      </p:pic>
    </p:spTree>
    <p:extLst>
      <p:ext uri="{BB962C8B-B14F-4D97-AF65-F5344CB8AC3E}">
        <p14:creationId xmlns:p14="http://schemas.microsoft.com/office/powerpoint/2010/main" val="347885641"/>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heme/theme1.xml><?xml version="1.0" encoding="utf-8"?>
<a:theme xmlns:a="http://schemas.openxmlformats.org/drawingml/2006/main" name="Dell PPT Theme_201609">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PPT Theme_201609" id="{FF30C829-293E-4456-BF26-F010FAA61FD1}" vid="{671CC896-344E-4270-8267-102DA59EDD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3803</Words>
  <Application>Microsoft Office PowerPoint</Application>
  <PresentationFormat>Widescreen</PresentationFormat>
  <Paragraphs>322</Paragraphs>
  <Slides>60</Slides>
  <Notes>5</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3" baseType="lpstr">
      <vt:lpstr>Inter</vt:lpstr>
      <vt:lpstr>Museo For Dell 300</vt:lpstr>
      <vt:lpstr>Museo Sans For Dell</vt:lpstr>
      <vt:lpstr>Arial</vt:lpstr>
      <vt:lpstr>Arial Black</vt:lpstr>
      <vt:lpstr>Calibri</vt:lpstr>
      <vt:lpstr>Courier New</vt:lpstr>
      <vt:lpstr>Open Sans</vt:lpstr>
      <vt:lpstr>Raleway</vt:lpstr>
      <vt:lpstr>Verdana</vt:lpstr>
      <vt:lpstr>Wingdings</vt:lpstr>
      <vt:lpstr>Dell PPT Theme_201609</vt:lpstr>
      <vt:lpstr>think-cell Slide</vt:lpstr>
      <vt:lpstr>Statistics for  Data Science   </vt:lpstr>
      <vt:lpstr>What is Statistics ? </vt:lpstr>
      <vt:lpstr>Some examples of how statistics shape our life</vt:lpstr>
      <vt:lpstr>Worksheet</vt:lpstr>
      <vt:lpstr>Some statistical statements</vt:lpstr>
      <vt:lpstr>What is Statistics ? </vt:lpstr>
      <vt:lpstr>Terminology commonly used terminology in the discipline of statistics </vt:lpstr>
      <vt:lpstr>Types of Variables</vt:lpstr>
      <vt:lpstr>Quick exercise – Identify type of Data</vt:lpstr>
      <vt:lpstr>Worksheet</vt:lpstr>
      <vt:lpstr>Population &amp; Sample</vt:lpstr>
      <vt:lpstr>Worksheet</vt:lpstr>
      <vt:lpstr>Why Sample should be Random &amp; Representative? </vt:lpstr>
      <vt:lpstr>Bias in sampling : </vt:lpstr>
      <vt:lpstr>Worksheet</vt:lpstr>
      <vt:lpstr>PowerPoint Presentation</vt:lpstr>
      <vt:lpstr>Inferential Statistics</vt:lpstr>
      <vt:lpstr>Descriptive Statistics</vt:lpstr>
      <vt:lpstr>Descriptive Statistics – Example You’ve performed a survey to 40 respondents about their favorite car color. And now you have a spreadsheet with the results.</vt:lpstr>
      <vt:lpstr>Difference between Descriptive &amp; Inferential Statistics</vt:lpstr>
      <vt:lpstr>Independent, Dependent &amp; Control variable</vt:lpstr>
      <vt:lpstr>Types of Statistical Studies</vt:lpstr>
      <vt:lpstr>Understanding Observational Study &amp; Experiment              With an Example</vt:lpstr>
      <vt:lpstr>Understanding Observational Study &amp; Experiment              With an Example</vt:lpstr>
      <vt:lpstr>Understanding Observational Study &amp; Experiment              With an Example</vt:lpstr>
      <vt:lpstr>Control Experiment – drug test example</vt:lpstr>
      <vt:lpstr>Controlled Experiment</vt:lpstr>
      <vt:lpstr>Correlation and Causation</vt:lpstr>
      <vt:lpstr>Confounding Variable</vt:lpstr>
      <vt:lpstr>Confounding variable – another example</vt:lpstr>
      <vt:lpstr>What is hypothesis ? </vt:lpstr>
      <vt:lpstr>Blinding</vt:lpstr>
      <vt:lpstr>Double Blinding</vt:lpstr>
      <vt:lpstr>Why blinding is important in Statistics?</vt:lpstr>
      <vt:lpstr>Describing Data through Statistics   </vt:lpstr>
      <vt:lpstr>Measure of   Central Tendency   </vt:lpstr>
      <vt:lpstr>Finding Central Value</vt:lpstr>
      <vt:lpstr>Measure of Central Tendency</vt:lpstr>
      <vt:lpstr>Ready ??????????????</vt:lpstr>
      <vt:lpstr>Mean </vt:lpstr>
      <vt:lpstr>Median</vt:lpstr>
      <vt:lpstr>Median – Two middle numbers</vt:lpstr>
      <vt:lpstr>Mode</vt:lpstr>
      <vt:lpstr>Mode</vt:lpstr>
      <vt:lpstr>Grouping</vt:lpstr>
      <vt:lpstr>Grouping another example</vt:lpstr>
      <vt:lpstr>Outlier </vt:lpstr>
      <vt:lpstr>Outlier - continued</vt:lpstr>
      <vt:lpstr>Mean – Continued Different types of Mean</vt:lpstr>
      <vt:lpstr>Geometric Mean</vt:lpstr>
      <vt:lpstr>Harmonic Mean</vt:lpstr>
      <vt:lpstr>Harmonic Mean - Continued</vt:lpstr>
      <vt:lpstr>Harmonic Mean</vt:lpstr>
      <vt:lpstr>Conclusion : Mean, Median, Mode</vt:lpstr>
      <vt:lpstr>The Mean from a Frequency Table</vt:lpstr>
      <vt:lpstr>The Mean from a Frequency Table - Continued</vt:lpstr>
      <vt:lpstr>Another example of Mean from a Freq Table</vt:lpstr>
      <vt:lpstr>Weighted Mean</vt:lpstr>
      <vt:lpstr>Weighted Mean</vt:lpstr>
      <vt:lpstr>Weighted Mean – Exampl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istics for  Data Science   </dc:title>
  <dc:creator>R2, Arun</dc:creator>
  <cp:lastModifiedBy>R2, Arun</cp:lastModifiedBy>
  <cp:revision>1</cp:revision>
  <dcterms:created xsi:type="dcterms:W3CDTF">2022-01-30T16:02:46Z</dcterms:created>
  <dcterms:modified xsi:type="dcterms:W3CDTF">2022-01-30T16:0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3dd1fcc-24d7-4f55-9dc2-c1518f171327_Enabled">
    <vt:lpwstr>true</vt:lpwstr>
  </property>
  <property fmtid="{D5CDD505-2E9C-101B-9397-08002B2CF9AE}" pid="3" name="MSIP_Label_73dd1fcc-24d7-4f55-9dc2-c1518f171327_SetDate">
    <vt:lpwstr>2022-01-30T16:03:41Z</vt:lpwstr>
  </property>
  <property fmtid="{D5CDD505-2E9C-101B-9397-08002B2CF9AE}" pid="4" name="MSIP_Label_73dd1fcc-24d7-4f55-9dc2-c1518f171327_Method">
    <vt:lpwstr>Privileged</vt:lpwstr>
  </property>
  <property fmtid="{D5CDD505-2E9C-101B-9397-08002B2CF9AE}" pid="5" name="MSIP_Label_73dd1fcc-24d7-4f55-9dc2-c1518f171327_Name">
    <vt:lpwstr>No Protection (Label Only) - Internal Use</vt:lpwstr>
  </property>
  <property fmtid="{D5CDD505-2E9C-101B-9397-08002B2CF9AE}" pid="6" name="MSIP_Label_73dd1fcc-24d7-4f55-9dc2-c1518f171327_SiteId">
    <vt:lpwstr>945c199a-83a2-4e80-9f8c-5a91be5752dd</vt:lpwstr>
  </property>
  <property fmtid="{D5CDD505-2E9C-101B-9397-08002B2CF9AE}" pid="7" name="MSIP_Label_73dd1fcc-24d7-4f55-9dc2-c1518f171327_ActionId">
    <vt:lpwstr>402dc99b-cfb2-4828-a20c-7ef3aa831399</vt:lpwstr>
  </property>
  <property fmtid="{D5CDD505-2E9C-101B-9397-08002B2CF9AE}" pid="8" name="MSIP_Label_73dd1fcc-24d7-4f55-9dc2-c1518f171327_ContentBits">
    <vt:lpwstr>2</vt:lpwstr>
  </property>
</Properties>
</file>